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avi" ContentType="video/avi"/>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88" r:id="rId2"/>
    <p:sldMasterId id="2147483710" r:id="rId3"/>
    <p:sldMasterId id="2147483731" r:id="rId4"/>
    <p:sldMasterId id="2147483746" r:id="rId5"/>
    <p:sldMasterId id="2147483766" r:id="rId6"/>
    <p:sldMasterId id="2147483786" r:id="rId7"/>
    <p:sldMasterId id="2147483804" r:id="rId8"/>
  </p:sldMasterIdLst>
  <p:notesMasterIdLst>
    <p:notesMasterId r:id="rId34"/>
  </p:notesMasterIdLst>
  <p:handoutMasterIdLst>
    <p:handoutMasterId r:id="rId35"/>
  </p:handoutMasterIdLst>
  <p:sldIdLst>
    <p:sldId id="256" r:id="rId9"/>
    <p:sldId id="855" r:id="rId10"/>
    <p:sldId id="930" r:id="rId11"/>
    <p:sldId id="879" r:id="rId12"/>
    <p:sldId id="863" r:id="rId13"/>
    <p:sldId id="888" r:id="rId14"/>
    <p:sldId id="872" r:id="rId15"/>
    <p:sldId id="880" r:id="rId16"/>
    <p:sldId id="999" r:id="rId17"/>
    <p:sldId id="984" r:id="rId18"/>
    <p:sldId id="982" r:id="rId19"/>
    <p:sldId id="985" r:id="rId20"/>
    <p:sldId id="994" r:id="rId21"/>
    <p:sldId id="993" r:id="rId22"/>
    <p:sldId id="997" r:id="rId23"/>
    <p:sldId id="996" r:id="rId24"/>
    <p:sldId id="998" r:id="rId25"/>
    <p:sldId id="1000" r:id="rId26"/>
    <p:sldId id="1001" r:id="rId27"/>
    <p:sldId id="987" r:id="rId28"/>
    <p:sldId id="1002" r:id="rId29"/>
    <p:sldId id="1004" r:id="rId30"/>
    <p:sldId id="1003" r:id="rId31"/>
    <p:sldId id="934" r:id="rId32"/>
    <p:sldId id="981" r:id="rId33"/>
  </p:sldIdLst>
  <p:sldSz cx="9906000" cy="6858000" type="A4"/>
  <p:notesSz cx="6797675" cy="9926638"/>
  <p:custDataLst>
    <p:tags r:id="rId3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CEAF4C92-1AAB-4C00-8BA1-441435C455CB}">
          <p14:sldIdLst>
            <p14:sldId id="256"/>
            <p14:sldId id="855"/>
            <p14:sldId id="930"/>
            <p14:sldId id="879"/>
            <p14:sldId id="863"/>
            <p14:sldId id="888"/>
            <p14:sldId id="872"/>
            <p14:sldId id="880"/>
            <p14:sldId id="999"/>
            <p14:sldId id="984"/>
            <p14:sldId id="982"/>
            <p14:sldId id="985"/>
            <p14:sldId id="994"/>
            <p14:sldId id="993"/>
            <p14:sldId id="997"/>
            <p14:sldId id="996"/>
            <p14:sldId id="998"/>
            <p14:sldId id="1000"/>
            <p14:sldId id="1001"/>
            <p14:sldId id="987"/>
            <p14:sldId id="1002"/>
            <p14:sldId id="1004"/>
            <p14:sldId id="1003"/>
            <p14:sldId id="934"/>
            <p14:sldId id="981"/>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ard" initials="ch" lastIdx="2" clrIdx="0"/>
  <p:cmAuthor id="1" name="Katja Leist" initials="KL" lastIdx="6"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C6600"/>
    <a:srgbClr val="FF9900"/>
    <a:srgbClr val="FFCC00"/>
    <a:srgbClr val="FFFFFF"/>
    <a:srgbClr val="FFFFFD"/>
    <a:srgbClr val="FDFFFF"/>
    <a:srgbClr val="FFFEFE"/>
    <a:srgbClr val="FEFEFF"/>
    <a:srgbClr val="FEFFFE"/>
    <a:srgbClr val="FEFEFE"/>
  </p:clrMru>
  <p:extLst>
    <p:ext uri="{E76CE94A-603C-4142-B9EB-6D1370010A27}">
      <p14:discardImageEditData xmlns:p14="http://schemas.microsoft.com/office/powerpoint/2010/main" val="0"/>
    </p:ext>
    <p:ext uri="{D31A062A-798A-4329-ABDD-BBA856620510}">
      <p14:defaultImageDpi xmlns:p14="http://schemas.microsoft.com/office/powerpoint/2010/main" val="96"/>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625" autoAdjust="0"/>
    <p:restoredTop sz="87875" autoAdjust="0"/>
  </p:normalViewPr>
  <p:slideViewPr>
    <p:cSldViewPr snapToObjects="1" showGuides="1">
      <p:cViewPr varScale="1">
        <p:scale>
          <a:sx n="75" d="100"/>
          <a:sy n="75" d="100"/>
        </p:scale>
        <p:origin x="-1014" y="-246"/>
      </p:cViewPr>
      <p:guideLst>
        <p:guide orient="horz" pos="2376"/>
        <p:guide orient="horz" pos="4156"/>
        <p:guide orient="horz" pos="595"/>
        <p:guide pos="3120"/>
        <p:guide pos="330"/>
        <p:guide pos="5910"/>
      </p:guideLst>
    </p:cSldViewPr>
  </p:slideViewPr>
  <p:outlineViewPr>
    <p:cViewPr>
      <p:scale>
        <a:sx n="33" d="100"/>
        <a:sy n="33" d="100"/>
      </p:scale>
      <p:origin x="0" y="12888"/>
    </p:cViewPr>
  </p:outlineViewPr>
  <p:notesTextViewPr>
    <p:cViewPr>
      <p:scale>
        <a:sx n="100" d="100"/>
        <a:sy n="100" d="100"/>
      </p:scale>
      <p:origin x="0" y="0"/>
    </p:cViewPr>
  </p:notesTextViewPr>
  <p:sorterViewPr>
    <p:cViewPr>
      <p:scale>
        <a:sx n="125" d="100"/>
        <a:sy n="125" d="100"/>
      </p:scale>
      <p:origin x="0" y="1572"/>
    </p:cViewPr>
  </p:sorterViewPr>
  <p:notesViewPr>
    <p:cSldViewPr snapToObjects="1" showGuides="1">
      <p:cViewPr varScale="1">
        <p:scale>
          <a:sx n="98" d="100"/>
          <a:sy n="98" d="100"/>
        </p:scale>
        <p:origin x="-2664" y="-96"/>
      </p:cViewPr>
      <p:guideLst>
        <p:guide orient="horz" pos="3127"/>
        <p:guide pos="2142"/>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60" cy="496332"/>
          </a:xfrm>
          <a:prstGeom prst="rect">
            <a:avLst/>
          </a:prstGeom>
        </p:spPr>
        <p:txBody>
          <a:bodyPr vert="horz" lIns="92108" tIns="46054" rIns="92108" bIns="46054" rtlCol="0"/>
          <a:lstStyle>
            <a:lvl1pPr algn="l">
              <a:defRPr sz="1200"/>
            </a:lvl1pPr>
          </a:lstStyle>
          <a:p>
            <a:endParaRPr lang="de-DE"/>
          </a:p>
        </p:txBody>
      </p:sp>
      <p:sp>
        <p:nvSpPr>
          <p:cNvPr id="3" name="Datumsplatzhalter 2"/>
          <p:cNvSpPr>
            <a:spLocks noGrp="1"/>
          </p:cNvSpPr>
          <p:nvPr>
            <p:ph type="dt" sz="quarter" idx="1"/>
          </p:nvPr>
        </p:nvSpPr>
        <p:spPr>
          <a:xfrm>
            <a:off x="3850442" y="0"/>
            <a:ext cx="2945660" cy="496332"/>
          </a:xfrm>
          <a:prstGeom prst="rect">
            <a:avLst/>
          </a:prstGeom>
        </p:spPr>
        <p:txBody>
          <a:bodyPr vert="horz" lIns="92108" tIns="46054" rIns="92108" bIns="46054" rtlCol="0"/>
          <a:lstStyle>
            <a:lvl1pPr algn="r">
              <a:defRPr sz="1200"/>
            </a:lvl1pPr>
          </a:lstStyle>
          <a:p>
            <a:r>
              <a:rPr lang="en-US" smtClean="0"/>
              <a:t>Datum</a:t>
            </a:r>
            <a:endParaRPr lang="de-DE"/>
          </a:p>
        </p:txBody>
      </p:sp>
      <p:sp>
        <p:nvSpPr>
          <p:cNvPr id="4" name="Fußzeilenplatzhalter 3"/>
          <p:cNvSpPr>
            <a:spLocks noGrp="1"/>
          </p:cNvSpPr>
          <p:nvPr>
            <p:ph type="ftr" sz="quarter" idx="2"/>
          </p:nvPr>
        </p:nvSpPr>
        <p:spPr>
          <a:xfrm>
            <a:off x="0" y="9428583"/>
            <a:ext cx="2945660" cy="496332"/>
          </a:xfrm>
          <a:prstGeom prst="rect">
            <a:avLst/>
          </a:prstGeom>
        </p:spPr>
        <p:txBody>
          <a:bodyPr vert="horz" lIns="92108" tIns="46054" rIns="92108" bIns="46054" rtlCol="0" anchor="b"/>
          <a:lstStyle>
            <a:lvl1pPr algn="l">
              <a:defRPr sz="1200"/>
            </a:lvl1pPr>
          </a:lstStyle>
          <a:p>
            <a:r>
              <a:rPr lang="de-DE" smtClean="0"/>
              <a:t>Name</a:t>
            </a:r>
            <a:endParaRPr lang="de-DE"/>
          </a:p>
        </p:txBody>
      </p:sp>
      <p:sp>
        <p:nvSpPr>
          <p:cNvPr id="5" name="Foliennummernplatzhalter 4"/>
          <p:cNvSpPr>
            <a:spLocks noGrp="1"/>
          </p:cNvSpPr>
          <p:nvPr>
            <p:ph type="sldNum" sz="quarter" idx="3"/>
          </p:nvPr>
        </p:nvSpPr>
        <p:spPr>
          <a:xfrm>
            <a:off x="3850442" y="9428583"/>
            <a:ext cx="2945660" cy="496332"/>
          </a:xfrm>
          <a:prstGeom prst="rect">
            <a:avLst/>
          </a:prstGeom>
        </p:spPr>
        <p:txBody>
          <a:bodyPr vert="horz" lIns="92108" tIns="46054" rIns="92108" bIns="46054" rtlCol="0" anchor="b"/>
          <a:lstStyle>
            <a:lvl1pPr algn="r">
              <a:defRPr sz="1200"/>
            </a:lvl1pPr>
          </a:lstStyle>
          <a:p>
            <a:fld id="{29427083-4E52-4C46-9272-144354517AF2}" type="slidenum">
              <a:rPr lang="de-DE" smtClean="0"/>
              <a:t>‹#›</a:t>
            </a:fld>
            <a:endParaRPr lang="de-DE"/>
          </a:p>
        </p:txBody>
      </p:sp>
    </p:spTree>
    <p:extLst>
      <p:ext uri="{BB962C8B-B14F-4D97-AF65-F5344CB8AC3E}">
        <p14:creationId xmlns:p14="http://schemas.microsoft.com/office/powerpoint/2010/main" val="1347751693"/>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60" cy="496332"/>
          </a:xfrm>
          <a:prstGeom prst="rect">
            <a:avLst/>
          </a:prstGeom>
        </p:spPr>
        <p:txBody>
          <a:bodyPr vert="horz" lIns="92108" tIns="46054" rIns="92108" bIns="46054" rtlCol="0"/>
          <a:lstStyle>
            <a:lvl1pPr algn="l">
              <a:defRPr sz="1200"/>
            </a:lvl1pPr>
          </a:lstStyle>
          <a:p>
            <a:endParaRPr lang="de-DE"/>
          </a:p>
        </p:txBody>
      </p:sp>
      <p:sp>
        <p:nvSpPr>
          <p:cNvPr id="3" name="Datumsplatzhalter 2"/>
          <p:cNvSpPr>
            <a:spLocks noGrp="1"/>
          </p:cNvSpPr>
          <p:nvPr>
            <p:ph type="dt" idx="1"/>
          </p:nvPr>
        </p:nvSpPr>
        <p:spPr>
          <a:xfrm>
            <a:off x="3850442" y="0"/>
            <a:ext cx="2945660" cy="496332"/>
          </a:xfrm>
          <a:prstGeom prst="rect">
            <a:avLst/>
          </a:prstGeom>
        </p:spPr>
        <p:txBody>
          <a:bodyPr vert="horz" lIns="92108" tIns="46054" rIns="92108" bIns="46054" rtlCol="0"/>
          <a:lstStyle>
            <a:lvl1pPr algn="r">
              <a:defRPr sz="1200"/>
            </a:lvl1pPr>
          </a:lstStyle>
          <a:p>
            <a:r>
              <a:rPr lang="en-US" smtClean="0"/>
              <a:t>Datum</a:t>
            </a:r>
            <a:endParaRPr lang="de-DE"/>
          </a:p>
        </p:txBody>
      </p:sp>
      <p:sp>
        <p:nvSpPr>
          <p:cNvPr id="4" name="Folienbildplatzhalter 3"/>
          <p:cNvSpPr>
            <a:spLocks noGrp="1" noRot="1" noChangeAspect="1"/>
          </p:cNvSpPr>
          <p:nvPr>
            <p:ph type="sldImg" idx="2"/>
          </p:nvPr>
        </p:nvSpPr>
        <p:spPr>
          <a:xfrm>
            <a:off x="709613" y="744538"/>
            <a:ext cx="5378450" cy="3722687"/>
          </a:xfrm>
          <a:prstGeom prst="rect">
            <a:avLst/>
          </a:prstGeom>
          <a:noFill/>
          <a:ln w="12700">
            <a:solidFill>
              <a:prstClr val="black"/>
            </a:solidFill>
          </a:ln>
        </p:spPr>
        <p:txBody>
          <a:bodyPr vert="horz" lIns="92108" tIns="46054" rIns="92108" bIns="46054" rtlCol="0" anchor="ctr"/>
          <a:lstStyle/>
          <a:p>
            <a:endParaRPr lang="de-DE"/>
          </a:p>
        </p:txBody>
      </p:sp>
      <p:sp>
        <p:nvSpPr>
          <p:cNvPr id="5" name="Notizenplatzhalter 4"/>
          <p:cNvSpPr>
            <a:spLocks noGrp="1"/>
          </p:cNvSpPr>
          <p:nvPr>
            <p:ph type="body" sz="quarter" idx="3"/>
          </p:nvPr>
        </p:nvSpPr>
        <p:spPr>
          <a:xfrm>
            <a:off x="679768" y="4715154"/>
            <a:ext cx="5438140" cy="4466987"/>
          </a:xfrm>
          <a:prstGeom prst="rect">
            <a:avLst/>
          </a:prstGeom>
        </p:spPr>
        <p:txBody>
          <a:bodyPr vert="horz" lIns="92108" tIns="46054" rIns="92108" bIns="46054"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28583"/>
            <a:ext cx="2945660" cy="496332"/>
          </a:xfrm>
          <a:prstGeom prst="rect">
            <a:avLst/>
          </a:prstGeom>
        </p:spPr>
        <p:txBody>
          <a:bodyPr vert="horz" lIns="92108" tIns="46054" rIns="92108" bIns="46054" rtlCol="0" anchor="b"/>
          <a:lstStyle>
            <a:lvl1pPr algn="l">
              <a:defRPr sz="1200"/>
            </a:lvl1pPr>
          </a:lstStyle>
          <a:p>
            <a:r>
              <a:rPr lang="de-DE" smtClean="0"/>
              <a:t>Name</a:t>
            </a:r>
            <a:endParaRPr lang="de-DE"/>
          </a:p>
        </p:txBody>
      </p:sp>
      <p:sp>
        <p:nvSpPr>
          <p:cNvPr id="7" name="Foliennummernplatzhalter 6"/>
          <p:cNvSpPr>
            <a:spLocks noGrp="1"/>
          </p:cNvSpPr>
          <p:nvPr>
            <p:ph type="sldNum" sz="quarter" idx="5"/>
          </p:nvPr>
        </p:nvSpPr>
        <p:spPr>
          <a:xfrm>
            <a:off x="3850442" y="9428583"/>
            <a:ext cx="2945660" cy="496332"/>
          </a:xfrm>
          <a:prstGeom prst="rect">
            <a:avLst/>
          </a:prstGeom>
        </p:spPr>
        <p:txBody>
          <a:bodyPr vert="horz" lIns="92108" tIns="46054" rIns="92108" bIns="46054" rtlCol="0" anchor="b"/>
          <a:lstStyle>
            <a:lvl1pPr algn="r">
              <a:defRPr sz="1200"/>
            </a:lvl1pPr>
          </a:lstStyle>
          <a:p>
            <a:fld id="{4013D0E2-90BF-48AE-9492-216AE54D0C80}" type="slidenum">
              <a:rPr lang="de-DE" smtClean="0"/>
              <a:t>‹#›</a:t>
            </a:fld>
            <a:endParaRPr lang="de-DE"/>
          </a:p>
        </p:txBody>
      </p:sp>
    </p:spTree>
    <p:extLst>
      <p:ext uri="{BB962C8B-B14F-4D97-AF65-F5344CB8AC3E}">
        <p14:creationId xmlns:p14="http://schemas.microsoft.com/office/powerpoint/2010/main" val="3395443299"/>
      </p:ext>
    </p:extLst>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r>
              <a:rPr lang="en-US" smtClean="0"/>
              <a:t>Datum</a:t>
            </a:r>
            <a:endParaRPr lang="de-DE"/>
          </a:p>
        </p:txBody>
      </p:sp>
      <p:sp>
        <p:nvSpPr>
          <p:cNvPr id="5" name="Fußzeilenplatzhalter 4"/>
          <p:cNvSpPr>
            <a:spLocks noGrp="1"/>
          </p:cNvSpPr>
          <p:nvPr>
            <p:ph type="ftr" sz="quarter" idx="11"/>
          </p:nvPr>
        </p:nvSpPr>
        <p:spPr/>
        <p:txBody>
          <a:bodyPr/>
          <a:lstStyle/>
          <a:p>
            <a:r>
              <a:rPr lang="de-DE" smtClean="0"/>
              <a:t>Name</a:t>
            </a:r>
            <a:endParaRPr lang="de-DE"/>
          </a:p>
        </p:txBody>
      </p:sp>
      <p:sp>
        <p:nvSpPr>
          <p:cNvPr id="6" name="Foliennummernplatzhalter 5"/>
          <p:cNvSpPr>
            <a:spLocks noGrp="1"/>
          </p:cNvSpPr>
          <p:nvPr>
            <p:ph type="sldNum" sz="quarter" idx="12"/>
          </p:nvPr>
        </p:nvSpPr>
        <p:spPr/>
        <p:txBody>
          <a:bodyPr/>
          <a:lstStyle/>
          <a:p>
            <a:fld id="{4013D0E2-90BF-48AE-9492-216AE54D0C80}" type="slidenum">
              <a:rPr lang="de-DE" smtClean="0"/>
              <a:t>1</a:t>
            </a:fld>
            <a:endParaRPr lang="de-DE"/>
          </a:p>
        </p:txBody>
      </p:sp>
    </p:spTree>
    <p:extLst>
      <p:ext uri="{BB962C8B-B14F-4D97-AF65-F5344CB8AC3E}">
        <p14:creationId xmlns:p14="http://schemas.microsoft.com/office/powerpoint/2010/main" val="35993522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21075">
              <a:defRPr/>
            </a:pPr>
            <a:r>
              <a:rPr lang="en-US" noProof="0" dirty="0" smtClean="0"/>
              <a:t>The transducers in combination with the FLOWSIC600-XT electronics have an up to four times better performance with 6dB better SNR. Thus, it makes FLOWSIC600-XT more resistant</a:t>
            </a:r>
            <a:r>
              <a:rPr lang="en-US" baseline="0" noProof="0" dirty="0" smtClean="0"/>
              <a:t> against noise.</a:t>
            </a:r>
          </a:p>
          <a:p>
            <a:pPr defTabSz="921075">
              <a:defRPr/>
            </a:pPr>
            <a:r>
              <a:rPr lang="en-US" baseline="0" noProof="0" dirty="0" smtClean="0"/>
              <a:t>The transducer path layout is still a direct path layout according to Westinghouse design, even for the XT Forte (eight path device) – from 3 to 48 inch. This ensures an extremely precise measurement result even in the event of corrosion or contamination.</a:t>
            </a:r>
          </a:p>
          <a:p>
            <a:pPr defTabSz="921075">
              <a:defRPr/>
            </a:pPr>
            <a:endParaRPr lang="en-US" baseline="0" noProof="0" dirty="0" smtClean="0"/>
          </a:p>
          <a:p>
            <a:pPr defTabSz="921075">
              <a:defRPr/>
            </a:pPr>
            <a:r>
              <a:rPr lang="en-US" baseline="0" noProof="0" dirty="0" smtClean="0"/>
              <a:t>If operation conditions change the automatic correction of geometry and Reynolds compensates for gas losses. Also an automatic transfer from calibration to application conditions is supported.</a:t>
            </a:r>
          </a:p>
          <a:p>
            <a:pPr defTabSz="921075">
              <a:defRPr/>
            </a:pPr>
            <a:r>
              <a:rPr lang="en-US" baseline="0" noProof="0" dirty="0" smtClean="0"/>
              <a:t>The correction is realized by using one optional integrated p/T sensor, using external p/T data from transmitters or from the flow computer / SCADA system via serial link or Ethernet.</a:t>
            </a:r>
          </a:p>
          <a:p>
            <a:pPr defTabSz="921075">
              <a:defRPr/>
            </a:pPr>
            <a:r>
              <a:rPr lang="en-US" baseline="0" noProof="0" dirty="0" smtClean="0"/>
              <a:t>---------------------------------------</a:t>
            </a:r>
          </a:p>
          <a:p>
            <a:pPr rtl="0"/>
            <a:r>
              <a:rPr lang="en-US" dirty="0"/>
              <a:t>The geometry parameters of the meter body are based on ambient temperature of 20 °C and 1 bar(a) and have been optimized to minimize deviations due to the influence of pressure and temperature. However, there is still an impact of pressure and temperature on the geometry of the meter body and thus on the measured value. This impact is corrected as follows: </a:t>
            </a:r>
          </a:p>
          <a:p>
            <a:pPr rtl="0"/>
            <a:endParaRPr lang="de-DE" dirty="0"/>
          </a:p>
          <a:p>
            <a:pPr rtl="0"/>
            <a:r>
              <a:rPr lang="de-DE" dirty="0" err="1"/>
              <a:t>Q</a:t>
            </a:r>
            <a:r>
              <a:rPr lang="de-DE" baseline="-25000" dirty="0" err="1"/>
              <a:t>v</a:t>
            </a:r>
            <a:r>
              <a:rPr lang="de-DE" baseline="-25000" dirty="0"/>
              <a:t>, </a:t>
            </a:r>
            <a:r>
              <a:rPr lang="de-DE" baseline="-25000" dirty="0" err="1"/>
              <a:t>corr</a:t>
            </a:r>
            <a:r>
              <a:rPr lang="de-DE" dirty="0"/>
              <a:t> = </a:t>
            </a:r>
            <a:r>
              <a:rPr lang="de-DE" dirty="0" err="1"/>
              <a:t>Q</a:t>
            </a:r>
            <a:r>
              <a:rPr lang="de-DE" baseline="-25000" dirty="0" err="1"/>
              <a:t>v</a:t>
            </a:r>
            <a:r>
              <a:rPr lang="de-DE" dirty="0"/>
              <a:t> · (1 + K</a:t>
            </a:r>
            <a:r>
              <a:rPr lang="de-DE" baseline="-25000" dirty="0"/>
              <a:t>T</a:t>
            </a:r>
            <a:r>
              <a:rPr lang="de-DE" dirty="0"/>
              <a:t> · (T – 293.15) + K</a:t>
            </a:r>
            <a:r>
              <a:rPr lang="de-DE" baseline="-25000" dirty="0"/>
              <a:t>p</a:t>
            </a:r>
            <a:r>
              <a:rPr lang="de-DE" dirty="0"/>
              <a:t> · p)	</a:t>
            </a:r>
          </a:p>
          <a:p>
            <a:pPr rtl="0"/>
            <a:r>
              <a:rPr lang="en-US" dirty="0"/>
              <a:t/>
            </a:r>
            <a:br>
              <a:rPr lang="en-US" dirty="0"/>
            </a:br>
            <a:r>
              <a:rPr lang="en-US" dirty="0"/>
              <a:t>The geometry changes caused by temperature and pressure effects are linear. Therefore the correction is based on a linear factor. </a:t>
            </a:r>
            <a:br>
              <a:rPr lang="en-US" dirty="0"/>
            </a:br>
            <a:r>
              <a:rPr lang="en-US" dirty="0"/>
              <a:t>Mainly radial changes are compensated by the correction. Means changes of the inner diameter as well as path length.</a:t>
            </a:r>
            <a:br>
              <a:rPr lang="en-US" dirty="0"/>
            </a:br>
            <a:r>
              <a:rPr lang="en-US" dirty="0"/>
              <a:t>The </a:t>
            </a:r>
            <a:r>
              <a:rPr lang="en-US" dirty="0" err="1"/>
              <a:t>formular</a:t>
            </a:r>
            <a:r>
              <a:rPr lang="en-US" dirty="0"/>
              <a:t> above is the result of an FEM analysis. It is different to the ISO standard as the SICK meter can be assumed as one block (mechanically)</a:t>
            </a:r>
            <a:br>
              <a:rPr lang="en-US" dirty="0"/>
            </a:br>
            <a:r>
              <a:rPr lang="en-US" dirty="0"/>
              <a:t>instead of a pipe.</a:t>
            </a:r>
            <a:endParaRPr lang="en-US" noProof="0" dirty="0" smtClean="0"/>
          </a:p>
          <a:p>
            <a:endParaRPr lang="de-DE" dirty="0"/>
          </a:p>
        </p:txBody>
      </p:sp>
      <p:sp>
        <p:nvSpPr>
          <p:cNvPr id="4" name="Datumsplatzhalter 3"/>
          <p:cNvSpPr>
            <a:spLocks noGrp="1"/>
          </p:cNvSpPr>
          <p:nvPr>
            <p:ph type="dt" idx="10"/>
          </p:nvPr>
        </p:nvSpPr>
        <p:spPr/>
        <p:txBody>
          <a:bodyPr/>
          <a:lstStyle/>
          <a:p>
            <a:r>
              <a:rPr lang="en-US" smtClean="0"/>
              <a:t>Datum</a:t>
            </a:r>
            <a:endParaRPr lang="de-DE"/>
          </a:p>
        </p:txBody>
      </p:sp>
      <p:sp>
        <p:nvSpPr>
          <p:cNvPr id="5" name="Fußzeilenplatzhalter 4"/>
          <p:cNvSpPr>
            <a:spLocks noGrp="1"/>
          </p:cNvSpPr>
          <p:nvPr>
            <p:ph type="ftr" sz="quarter" idx="11"/>
          </p:nvPr>
        </p:nvSpPr>
        <p:spPr/>
        <p:txBody>
          <a:bodyPr/>
          <a:lstStyle/>
          <a:p>
            <a:r>
              <a:rPr lang="de-DE" smtClean="0"/>
              <a:t>Name</a:t>
            </a:r>
            <a:endParaRPr lang="de-DE"/>
          </a:p>
        </p:txBody>
      </p:sp>
      <p:sp>
        <p:nvSpPr>
          <p:cNvPr id="6" name="Foliennummernplatzhalter 5"/>
          <p:cNvSpPr>
            <a:spLocks noGrp="1"/>
          </p:cNvSpPr>
          <p:nvPr>
            <p:ph type="sldNum" sz="quarter" idx="12"/>
          </p:nvPr>
        </p:nvSpPr>
        <p:spPr/>
        <p:txBody>
          <a:bodyPr/>
          <a:lstStyle/>
          <a:p>
            <a:fld id="{4013D0E2-90BF-48AE-9492-216AE54D0C80}" type="slidenum">
              <a:rPr lang="de-DE" smtClean="0"/>
              <a:t>13</a:t>
            </a:fld>
            <a:endParaRPr lang="de-DE"/>
          </a:p>
        </p:txBody>
      </p:sp>
    </p:spTree>
    <p:extLst>
      <p:ext uri="{BB962C8B-B14F-4D97-AF65-F5344CB8AC3E}">
        <p14:creationId xmlns:p14="http://schemas.microsoft.com/office/powerpoint/2010/main" val="13450687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noProof="0" dirty="0" err="1" smtClean="0"/>
              <a:t>PowerIn</a:t>
            </a:r>
            <a:r>
              <a:rPr lang="en-US" b="1" noProof="0" dirty="0" smtClean="0"/>
              <a:t> Technology™ supports a safe backup operations</a:t>
            </a:r>
          </a:p>
          <a:p>
            <a:pPr marL="171450" indent="-171450">
              <a:buFontTx/>
              <a:buChar char="-"/>
            </a:pPr>
            <a:r>
              <a:rPr lang="en-US" noProof="0" dirty="0" smtClean="0"/>
              <a:t>Improved measurement</a:t>
            </a:r>
            <a:r>
              <a:rPr lang="en-US" baseline="0" noProof="0" dirty="0" smtClean="0"/>
              <a:t> algorithms and electronic hardware enable a low power electronics with down to half a Watt of power consumption in operation. By using the intrinsically safe electronics (Ex </a:t>
            </a:r>
            <a:r>
              <a:rPr lang="en-US" baseline="0" noProof="0" dirty="0" err="1" smtClean="0"/>
              <a:t>i</a:t>
            </a:r>
            <a:r>
              <a:rPr lang="en-US" baseline="0" noProof="0" dirty="0" smtClean="0"/>
              <a:t>) the power consumption is less than 0.1 W in normal operation mode.</a:t>
            </a:r>
          </a:p>
          <a:p>
            <a:pPr marL="171450" indent="-171450">
              <a:buFontTx/>
              <a:buChar char="-"/>
            </a:pPr>
            <a:r>
              <a:rPr lang="en-US" baseline="0" noProof="0" dirty="0" smtClean="0"/>
              <a:t>In the event of a main power fail, the electronic can reduces the measurement rate down to 1Hz and optimizes the power consumption down to 100 </a:t>
            </a:r>
            <a:r>
              <a:rPr lang="en-US" baseline="0" noProof="0" dirty="0" err="1" smtClean="0"/>
              <a:t>mW</a:t>
            </a:r>
            <a:r>
              <a:rPr lang="en-US" baseline="0" noProof="0" dirty="0" smtClean="0"/>
              <a:t> or even less.</a:t>
            </a:r>
          </a:p>
          <a:p>
            <a:pPr marL="171450" indent="-171450">
              <a:buFontTx/>
              <a:buChar char="-"/>
            </a:pPr>
            <a:r>
              <a:rPr lang="en-US" baseline="0" noProof="0" dirty="0" smtClean="0"/>
              <a:t>Thus with the integrated back-up-battery </a:t>
            </a:r>
            <a:r>
              <a:rPr lang="en-US" baseline="0" noProof="0" dirty="0" err="1" smtClean="0"/>
              <a:t>PowerIn</a:t>
            </a:r>
            <a:r>
              <a:rPr lang="en-US" baseline="0" noProof="0" dirty="0" smtClean="0"/>
              <a:t> Technology™ allows a save back-up-operation/measurement up to three weeks.</a:t>
            </a:r>
          </a:p>
          <a:p>
            <a:pPr marL="171450" indent="-171450">
              <a:buFontTx/>
              <a:buChar char="-"/>
            </a:pPr>
            <a:r>
              <a:rPr lang="en-US" baseline="0" noProof="0" dirty="0" smtClean="0"/>
              <a:t>In addition the low power concept enables an energy autarkic operation by using e.g. a solar module.</a:t>
            </a:r>
            <a:endParaRPr lang="en-US" noProof="0" dirty="0"/>
          </a:p>
        </p:txBody>
      </p:sp>
      <p:sp>
        <p:nvSpPr>
          <p:cNvPr id="4" name="Datumsplatzhalter 3"/>
          <p:cNvSpPr>
            <a:spLocks noGrp="1"/>
          </p:cNvSpPr>
          <p:nvPr>
            <p:ph type="dt" idx="10"/>
          </p:nvPr>
        </p:nvSpPr>
        <p:spPr/>
        <p:txBody>
          <a:bodyPr/>
          <a:lstStyle/>
          <a:p>
            <a:r>
              <a:rPr lang="en-US" smtClean="0"/>
              <a:t>Datum</a:t>
            </a:r>
            <a:endParaRPr lang="de-DE"/>
          </a:p>
        </p:txBody>
      </p:sp>
      <p:sp>
        <p:nvSpPr>
          <p:cNvPr id="5" name="Fußzeilenplatzhalter 4"/>
          <p:cNvSpPr>
            <a:spLocks noGrp="1"/>
          </p:cNvSpPr>
          <p:nvPr>
            <p:ph type="ftr" sz="quarter" idx="11"/>
          </p:nvPr>
        </p:nvSpPr>
        <p:spPr/>
        <p:txBody>
          <a:bodyPr/>
          <a:lstStyle/>
          <a:p>
            <a:r>
              <a:rPr lang="de-DE" smtClean="0"/>
              <a:t>Name</a:t>
            </a:r>
            <a:endParaRPr lang="de-DE"/>
          </a:p>
        </p:txBody>
      </p:sp>
      <p:sp>
        <p:nvSpPr>
          <p:cNvPr id="6" name="Foliennummernplatzhalter 5"/>
          <p:cNvSpPr>
            <a:spLocks noGrp="1"/>
          </p:cNvSpPr>
          <p:nvPr>
            <p:ph type="sldNum" sz="quarter" idx="12"/>
          </p:nvPr>
        </p:nvSpPr>
        <p:spPr/>
        <p:txBody>
          <a:bodyPr/>
          <a:lstStyle/>
          <a:p>
            <a:fld id="{4013D0E2-90BF-48AE-9492-216AE54D0C80}" type="slidenum">
              <a:rPr lang="de-DE" smtClean="0"/>
              <a:t>14</a:t>
            </a:fld>
            <a:endParaRPr lang="de-DE"/>
          </a:p>
        </p:txBody>
      </p:sp>
    </p:spTree>
    <p:extLst>
      <p:ext uri="{BB962C8B-B14F-4D97-AF65-F5344CB8AC3E}">
        <p14:creationId xmlns:p14="http://schemas.microsoft.com/office/powerpoint/2010/main" val="37818319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Folienbildplatzhalter 1"/>
          <p:cNvSpPr>
            <a:spLocks noGrp="1" noRot="1" noChangeAspect="1"/>
          </p:cNvSpPr>
          <p:nvPr>
            <p:ph type="sldImg"/>
          </p:nvPr>
        </p:nvSpPr>
        <p:spPr bwMode="auto">
          <a:noFill/>
          <a:ln>
            <a:solidFill>
              <a:srgbClr val="000000"/>
            </a:solidFill>
            <a:miter lim="800000"/>
            <a:headEnd/>
            <a:tailEnd/>
          </a:ln>
        </p:spPr>
      </p:sp>
      <p:sp>
        <p:nvSpPr>
          <p:cNvPr id="104450" name="Notizenplatzhalt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mtClean="0"/>
              <a:t>FLOWSIC600-XT extensively collects data to evaluate the whole application. That enables to identify application failures.</a:t>
            </a:r>
          </a:p>
          <a:p>
            <a:pPr>
              <a:spcBef>
                <a:spcPct val="0"/>
              </a:spcBef>
            </a:pPr>
            <a:endParaRPr lang="en-US" smtClean="0"/>
          </a:p>
          <a:p>
            <a:pPr>
              <a:spcBef>
                <a:spcPct val="0"/>
              </a:spcBef>
            </a:pPr>
            <a:r>
              <a:rPr lang="en-US" smtClean="0"/>
              <a:t>FLOWgate™ the new intuitive software supports i-diagnostics™. With its integrated solution assistant the application failures will be named with a certain probability and recommended actions will be given.</a:t>
            </a:r>
          </a:p>
        </p:txBody>
      </p:sp>
      <p:sp>
        <p:nvSpPr>
          <p:cNvPr id="104451" name="Datumsplatzhalter 3"/>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r>
              <a:rPr lang="en-US">
                <a:solidFill>
                  <a:prstClr val="black"/>
                </a:solidFill>
              </a:rPr>
              <a:t>Datum</a:t>
            </a:r>
            <a:endParaRPr lang="de-DE">
              <a:solidFill>
                <a:prstClr val="black"/>
              </a:solidFill>
            </a:endParaRPr>
          </a:p>
        </p:txBody>
      </p:sp>
      <p:sp>
        <p:nvSpPr>
          <p:cNvPr id="104452" name="Fußzeilenplatzhalter 4"/>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r>
              <a:rPr lang="de-DE">
                <a:solidFill>
                  <a:prstClr val="black"/>
                </a:solidFill>
              </a:rPr>
              <a:t>Name</a:t>
            </a:r>
          </a:p>
        </p:txBody>
      </p:sp>
      <p:sp>
        <p:nvSpPr>
          <p:cNvPr id="104453" name="Foliennummernplatzhalter 5"/>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E521F65-B16B-4FF4-8DC1-E80519B80A76}" type="slidenum">
              <a:rPr lang="de-DE">
                <a:solidFill>
                  <a:prstClr val="black"/>
                </a:solidFill>
              </a:rPr>
              <a:pPr/>
              <a:t>15</a:t>
            </a:fld>
            <a:endParaRPr lang="de-DE">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smtClean="0"/>
              <a:t>For a fast and easy data access</a:t>
            </a:r>
            <a:r>
              <a:rPr lang="en-US" baseline="0" noProof="0" dirty="0" smtClean="0"/>
              <a:t> FLOWSIC600-XT hat an infrared interface at the display. No need to open the electronics to get access. </a:t>
            </a:r>
            <a:endParaRPr lang="en-US" noProof="0" dirty="0"/>
          </a:p>
        </p:txBody>
      </p:sp>
      <p:sp>
        <p:nvSpPr>
          <p:cNvPr id="4" name="Datumsplatzhalter 3"/>
          <p:cNvSpPr>
            <a:spLocks noGrp="1"/>
          </p:cNvSpPr>
          <p:nvPr>
            <p:ph type="dt" idx="10"/>
          </p:nvPr>
        </p:nvSpPr>
        <p:spPr/>
        <p:txBody>
          <a:bodyPr/>
          <a:lstStyle/>
          <a:p>
            <a:r>
              <a:rPr lang="en-US" smtClean="0">
                <a:solidFill>
                  <a:prstClr val="black"/>
                </a:solidFill>
              </a:rPr>
              <a:t>Datum</a:t>
            </a:r>
            <a:endParaRPr lang="de-DE">
              <a:solidFill>
                <a:prstClr val="black"/>
              </a:solidFill>
            </a:endParaRPr>
          </a:p>
        </p:txBody>
      </p:sp>
      <p:sp>
        <p:nvSpPr>
          <p:cNvPr id="5" name="Fußzeilenplatzhalter 4"/>
          <p:cNvSpPr>
            <a:spLocks noGrp="1"/>
          </p:cNvSpPr>
          <p:nvPr>
            <p:ph type="ftr" sz="quarter" idx="11"/>
          </p:nvPr>
        </p:nvSpPr>
        <p:spPr/>
        <p:txBody>
          <a:bodyPr/>
          <a:lstStyle/>
          <a:p>
            <a:r>
              <a:rPr lang="de-DE" smtClean="0">
                <a:solidFill>
                  <a:prstClr val="black"/>
                </a:solidFill>
              </a:rPr>
              <a:t>Name</a:t>
            </a:r>
            <a:endParaRPr lang="de-DE">
              <a:solidFill>
                <a:prstClr val="black"/>
              </a:solidFill>
            </a:endParaRPr>
          </a:p>
        </p:txBody>
      </p:sp>
      <p:sp>
        <p:nvSpPr>
          <p:cNvPr id="6" name="Foliennummernplatzhalter 5"/>
          <p:cNvSpPr>
            <a:spLocks noGrp="1"/>
          </p:cNvSpPr>
          <p:nvPr>
            <p:ph type="sldNum" sz="quarter" idx="12"/>
          </p:nvPr>
        </p:nvSpPr>
        <p:spPr/>
        <p:txBody>
          <a:bodyPr/>
          <a:lstStyle/>
          <a:p>
            <a:fld id="{4013D0E2-90BF-48AE-9492-216AE54D0C80}" type="slidenum">
              <a:rPr lang="de-DE" smtClean="0">
                <a:solidFill>
                  <a:prstClr val="black"/>
                </a:solidFill>
              </a:rPr>
              <a:pPr/>
              <a:t>16</a:t>
            </a:fld>
            <a:endParaRPr lang="de-DE">
              <a:solidFill>
                <a:prstClr val="black"/>
              </a:solidFill>
            </a:endParaRPr>
          </a:p>
        </p:txBody>
      </p:sp>
    </p:spTree>
    <p:extLst>
      <p:ext uri="{BB962C8B-B14F-4D97-AF65-F5344CB8AC3E}">
        <p14:creationId xmlns:p14="http://schemas.microsoft.com/office/powerpoint/2010/main" val="27620221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smtClean="0"/>
              <a:t>The six shown features are explained in detail on the next slides. </a:t>
            </a:r>
          </a:p>
          <a:p>
            <a:r>
              <a:rPr lang="en-US" noProof="0" dirty="0" smtClean="0"/>
              <a:t>Everybody</a:t>
            </a:r>
            <a:r>
              <a:rPr lang="en-US" baseline="0" noProof="0" dirty="0" smtClean="0"/>
              <a:t> needs to have the same understanding about the features and its story lines.</a:t>
            </a:r>
            <a:endParaRPr lang="en-US" noProof="0" dirty="0"/>
          </a:p>
        </p:txBody>
      </p:sp>
      <p:sp>
        <p:nvSpPr>
          <p:cNvPr id="4" name="Datumsplatzhalter 3"/>
          <p:cNvSpPr>
            <a:spLocks noGrp="1"/>
          </p:cNvSpPr>
          <p:nvPr>
            <p:ph type="dt" idx="10"/>
          </p:nvPr>
        </p:nvSpPr>
        <p:spPr/>
        <p:txBody>
          <a:bodyPr/>
          <a:lstStyle/>
          <a:p>
            <a:r>
              <a:rPr lang="en-US" smtClean="0">
                <a:solidFill>
                  <a:prstClr val="black"/>
                </a:solidFill>
              </a:rPr>
              <a:t>Datum</a:t>
            </a:r>
            <a:endParaRPr lang="de-DE">
              <a:solidFill>
                <a:prstClr val="black"/>
              </a:solidFill>
            </a:endParaRPr>
          </a:p>
        </p:txBody>
      </p:sp>
      <p:sp>
        <p:nvSpPr>
          <p:cNvPr id="5" name="Fußzeilenplatzhalter 4"/>
          <p:cNvSpPr>
            <a:spLocks noGrp="1"/>
          </p:cNvSpPr>
          <p:nvPr>
            <p:ph type="ftr" sz="quarter" idx="11"/>
          </p:nvPr>
        </p:nvSpPr>
        <p:spPr/>
        <p:txBody>
          <a:bodyPr/>
          <a:lstStyle/>
          <a:p>
            <a:r>
              <a:rPr lang="de-DE" smtClean="0">
                <a:solidFill>
                  <a:prstClr val="black"/>
                </a:solidFill>
              </a:rPr>
              <a:t>Name</a:t>
            </a:r>
            <a:endParaRPr lang="de-DE">
              <a:solidFill>
                <a:prstClr val="black"/>
              </a:solidFill>
            </a:endParaRPr>
          </a:p>
        </p:txBody>
      </p:sp>
      <p:sp>
        <p:nvSpPr>
          <p:cNvPr id="6" name="Foliennummernplatzhalter 5"/>
          <p:cNvSpPr>
            <a:spLocks noGrp="1"/>
          </p:cNvSpPr>
          <p:nvPr>
            <p:ph type="sldNum" sz="quarter" idx="12"/>
          </p:nvPr>
        </p:nvSpPr>
        <p:spPr/>
        <p:txBody>
          <a:bodyPr/>
          <a:lstStyle/>
          <a:p>
            <a:fld id="{4013D0E2-90BF-48AE-9492-216AE54D0C80}" type="slidenum">
              <a:rPr lang="de-DE" smtClean="0">
                <a:solidFill>
                  <a:prstClr val="black"/>
                </a:solidFill>
              </a:rPr>
              <a:pPr/>
              <a:t>17</a:t>
            </a:fld>
            <a:endParaRPr lang="de-DE">
              <a:solidFill>
                <a:prstClr val="black"/>
              </a:solidFill>
            </a:endParaRPr>
          </a:p>
        </p:txBody>
      </p:sp>
    </p:spTree>
    <p:extLst>
      <p:ext uri="{BB962C8B-B14F-4D97-AF65-F5344CB8AC3E}">
        <p14:creationId xmlns:p14="http://schemas.microsoft.com/office/powerpoint/2010/main" val="38716474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smtClean="0"/>
              <a:t>The FLOWSIC600-XT Forte</a:t>
            </a:r>
            <a:r>
              <a:rPr lang="en-US" baseline="0" noProof="0" dirty="0" smtClean="0"/>
              <a:t> does need just 2 DN inlet piping to reach OIML class 1.0 requirements. That supports technology leader ship!</a:t>
            </a:r>
          </a:p>
          <a:p>
            <a:r>
              <a:rPr lang="en-US" baseline="0" noProof="0" dirty="0" smtClean="0"/>
              <a:t>To be class 0.5 conform FLOWSIC600-XT does need just 5 DN inlet piping without flow conditioner. This applies for low and high level disturbances.</a:t>
            </a:r>
            <a:endParaRPr lang="en-US" noProof="0" dirty="0"/>
          </a:p>
        </p:txBody>
      </p:sp>
      <p:sp>
        <p:nvSpPr>
          <p:cNvPr id="4" name="Datumsplatzhalter 3"/>
          <p:cNvSpPr>
            <a:spLocks noGrp="1"/>
          </p:cNvSpPr>
          <p:nvPr>
            <p:ph type="dt" idx="10"/>
          </p:nvPr>
        </p:nvSpPr>
        <p:spPr/>
        <p:txBody>
          <a:bodyPr/>
          <a:lstStyle/>
          <a:p>
            <a:r>
              <a:rPr lang="en-US" smtClean="0">
                <a:solidFill>
                  <a:prstClr val="black"/>
                </a:solidFill>
              </a:rPr>
              <a:t>Datum</a:t>
            </a:r>
            <a:endParaRPr lang="de-DE">
              <a:solidFill>
                <a:prstClr val="black"/>
              </a:solidFill>
            </a:endParaRPr>
          </a:p>
        </p:txBody>
      </p:sp>
      <p:sp>
        <p:nvSpPr>
          <p:cNvPr id="5" name="Fußzeilenplatzhalter 4"/>
          <p:cNvSpPr>
            <a:spLocks noGrp="1"/>
          </p:cNvSpPr>
          <p:nvPr>
            <p:ph type="ftr" sz="quarter" idx="11"/>
          </p:nvPr>
        </p:nvSpPr>
        <p:spPr/>
        <p:txBody>
          <a:bodyPr/>
          <a:lstStyle/>
          <a:p>
            <a:r>
              <a:rPr lang="de-DE" smtClean="0">
                <a:solidFill>
                  <a:prstClr val="black"/>
                </a:solidFill>
              </a:rPr>
              <a:t>Name</a:t>
            </a:r>
            <a:endParaRPr lang="de-DE">
              <a:solidFill>
                <a:prstClr val="black"/>
              </a:solidFill>
            </a:endParaRPr>
          </a:p>
        </p:txBody>
      </p:sp>
      <p:sp>
        <p:nvSpPr>
          <p:cNvPr id="6" name="Foliennummernplatzhalter 5"/>
          <p:cNvSpPr>
            <a:spLocks noGrp="1"/>
          </p:cNvSpPr>
          <p:nvPr>
            <p:ph type="sldNum" sz="quarter" idx="12"/>
          </p:nvPr>
        </p:nvSpPr>
        <p:spPr/>
        <p:txBody>
          <a:bodyPr/>
          <a:lstStyle/>
          <a:p>
            <a:fld id="{4013D0E2-90BF-48AE-9492-216AE54D0C80}" type="slidenum">
              <a:rPr lang="de-DE" smtClean="0">
                <a:solidFill>
                  <a:prstClr val="black"/>
                </a:solidFill>
              </a:rPr>
              <a:pPr/>
              <a:t>24</a:t>
            </a:fld>
            <a:endParaRPr lang="de-DE">
              <a:solidFill>
                <a:prstClr val="black"/>
              </a:solidFill>
            </a:endParaRPr>
          </a:p>
        </p:txBody>
      </p:sp>
    </p:spTree>
    <p:extLst>
      <p:ext uri="{BB962C8B-B14F-4D97-AF65-F5344CB8AC3E}">
        <p14:creationId xmlns:p14="http://schemas.microsoft.com/office/powerpoint/2010/main" val="1859440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2813" eaLnBrk="0" hangingPunct="0">
              <a:spcBef>
                <a:spcPct val="30000"/>
              </a:spcBef>
              <a:defRPr sz="1200">
                <a:solidFill>
                  <a:schemeClr val="tx1"/>
                </a:solidFill>
                <a:latin typeface="Calibri" pitchFamily="34" charset="0"/>
              </a:defRPr>
            </a:lvl1pPr>
            <a:lvl2pPr marL="742950" indent="-285750" defTabSz="912813" eaLnBrk="0" hangingPunct="0">
              <a:spcBef>
                <a:spcPct val="30000"/>
              </a:spcBef>
              <a:defRPr sz="1200">
                <a:solidFill>
                  <a:schemeClr val="tx1"/>
                </a:solidFill>
                <a:latin typeface="Calibri" pitchFamily="34" charset="0"/>
              </a:defRPr>
            </a:lvl2pPr>
            <a:lvl3pPr marL="1143000" indent="-228600" defTabSz="912813" eaLnBrk="0" hangingPunct="0">
              <a:spcBef>
                <a:spcPct val="30000"/>
              </a:spcBef>
              <a:defRPr sz="1200">
                <a:solidFill>
                  <a:schemeClr val="tx1"/>
                </a:solidFill>
                <a:latin typeface="Calibri" pitchFamily="34" charset="0"/>
              </a:defRPr>
            </a:lvl3pPr>
            <a:lvl4pPr marL="1600200" indent="-228600" defTabSz="912813" eaLnBrk="0" hangingPunct="0">
              <a:spcBef>
                <a:spcPct val="30000"/>
              </a:spcBef>
              <a:defRPr sz="1200">
                <a:solidFill>
                  <a:schemeClr val="tx1"/>
                </a:solidFill>
                <a:latin typeface="Calibri" pitchFamily="34" charset="0"/>
              </a:defRPr>
            </a:lvl4pPr>
            <a:lvl5pPr marL="2057400" indent="-228600" defTabSz="912813" eaLnBrk="0" hangingPunct="0">
              <a:spcBef>
                <a:spcPct val="30000"/>
              </a:spcBef>
              <a:defRPr sz="1200">
                <a:solidFill>
                  <a:schemeClr val="tx1"/>
                </a:solidFill>
                <a:latin typeface="Calibri" pitchFamily="34" charset="0"/>
              </a:defRPr>
            </a:lvl5pPr>
            <a:lvl6pPr marL="2514600" indent="-228600" defTabSz="912813" eaLnBrk="0" fontAlgn="base" hangingPunct="0">
              <a:spcBef>
                <a:spcPct val="30000"/>
              </a:spcBef>
              <a:spcAft>
                <a:spcPct val="0"/>
              </a:spcAft>
              <a:defRPr sz="1200">
                <a:solidFill>
                  <a:schemeClr val="tx1"/>
                </a:solidFill>
                <a:latin typeface="Calibri" pitchFamily="34" charset="0"/>
              </a:defRPr>
            </a:lvl6pPr>
            <a:lvl7pPr marL="2971800" indent="-228600" defTabSz="912813" eaLnBrk="0" fontAlgn="base" hangingPunct="0">
              <a:spcBef>
                <a:spcPct val="30000"/>
              </a:spcBef>
              <a:spcAft>
                <a:spcPct val="0"/>
              </a:spcAft>
              <a:defRPr sz="1200">
                <a:solidFill>
                  <a:schemeClr val="tx1"/>
                </a:solidFill>
                <a:latin typeface="Calibri" pitchFamily="34" charset="0"/>
              </a:defRPr>
            </a:lvl7pPr>
            <a:lvl8pPr marL="3429000" indent="-228600" defTabSz="912813" eaLnBrk="0" fontAlgn="base" hangingPunct="0">
              <a:spcBef>
                <a:spcPct val="30000"/>
              </a:spcBef>
              <a:spcAft>
                <a:spcPct val="0"/>
              </a:spcAft>
              <a:defRPr sz="1200">
                <a:solidFill>
                  <a:schemeClr val="tx1"/>
                </a:solidFill>
                <a:latin typeface="Calibri" pitchFamily="34" charset="0"/>
              </a:defRPr>
            </a:lvl8pPr>
            <a:lvl9pPr marL="3886200" indent="-228600" defTabSz="912813"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4E8287DA-3DF2-4455-B2A4-222A1C14C729}" type="slidenum">
              <a:rPr lang="de-DE" altLang="ru-RU" smtClean="0">
                <a:solidFill>
                  <a:prstClr val="black"/>
                </a:solidFill>
                <a:latin typeface="Arial" charset="0"/>
              </a:rPr>
              <a:pPr eaLnBrk="1" hangingPunct="1">
                <a:spcBef>
                  <a:spcPct val="0"/>
                </a:spcBef>
              </a:pPr>
              <a:t>25</a:t>
            </a:fld>
            <a:endParaRPr lang="de-DE" altLang="ru-RU" smtClean="0">
              <a:solidFill>
                <a:prstClr val="black"/>
              </a:solidFill>
              <a:latin typeface="Arial" charset="0"/>
            </a:endParaRPr>
          </a:p>
        </p:txBody>
      </p:sp>
      <p:sp>
        <p:nvSpPr>
          <p:cNvPr id="9011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ru-RU"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p>
            <a:fld id="{F5A87E3E-03E5-4F29-AFD5-6EDC1A2AE3F4}" type="slidenum">
              <a:rPr lang="de-DE" smtClean="0">
                <a:solidFill>
                  <a:prstClr val="black"/>
                </a:solidFill>
              </a:rPr>
              <a:pPr/>
              <a:t>2</a:t>
            </a:fld>
            <a:endParaRPr lang="de-DE" smtClean="0">
              <a:solidFill>
                <a:prstClr val="black"/>
              </a:solidFill>
            </a:endParaRPr>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accent1"/>
              </a:buClr>
              <a:buChar char="-"/>
              <a:defRPr sz="1100">
                <a:solidFill>
                  <a:schemeClr val="tx1"/>
                </a:solidFill>
                <a:latin typeface="Arial" charset="0"/>
                <a:cs typeface="Arial" charset="0"/>
              </a:defRPr>
            </a:lvl1pPr>
            <a:lvl2pPr marL="685817" indent="-263776" eaLnBrk="0" hangingPunct="0">
              <a:spcBef>
                <a:spcPct val="30000"/>
              </a:spcBef>
              <a:buClr>
                <a:schemeClr val="accent1"/>
              </a:buClr>
              <a:buChar char="-"/>
              <a:defRPr sz="1100">
                <a:solidFill>
                  <a:schemeClr val="tx1"/>
                </a:solidFill>
                <a:latin typeface="Arial" charset="0"/>
                <a:cs typeface="Arial" charset="0"/>
              </a:defRPr>
            </a:lvl2pPr>
            <a:lvl3pPr marL="1055103" indent="-211021" eaLnBrk="0" hangingPunct="0">
              <a:spcBef>
                <a:spcPct val="30000"/>
              </a:spcBef>
              <a:buClr>
                <a:schemeClr val="accent1"/>
              </a:buClr>
              <a:buChar char="-"/>
              <a:defRPr sz="1100">
                <a:solidFill>
                  <a:schemeClr val="tx1"/>
                </a:solidFill>
                <a:latin typeface="Arial" charset="0"/>
                <a:cs typeface="Arial" charset="0"/>
              </a:defRPr>
            </a:lvl3pPr>
            <a:lvl4pPr marL="1477145" indent="-211021" eaLnBrk="0" hangingPunct="0">
              <a:spcBef>
                <a:spcPct val="30000"/>
              </a:spcBef>
              <a:buClr>
                <a:schemeClr val="accent1"/>
              </a:buClr>
              <a:buChar char="-"/>
              <a:defRPr sz="1100">
                <a:solidFill>
                  <a:schemeClr val="tx1"/>
                </a:solidFill>
                <a:latin typeface="Arial" charset="0"/>
                <a:cs typeface="Arial" charset="0"/>
              </a:defRPr>
            </a:lvl4pPr>
            <a:lvl5pPr marL="1899186" indent="-211021" eaLnBrk="0" hangingPunct="0">
              <a:spcBef>
                <a:spcPct val="30000"/>
              </a:spcBef>
              <a:buClr>
                <a:schemeClr val="accent1"/>
              </a:buClr>
              <a:buChar char="-"/>
              <a:defRPr sz="1100">
                <a:solidFill>
                  <a:schemeClr val="tx1"/>
                </a:solidFill>
                <a:latin typeface="Arial" charset="0"/>
                <a:cs typeface="Arial" charset="0"/>
              </a:defRPr>
            </a:lvl5pPr>
            <a:lvl6pPr marL="2321227"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6pPr>
            <a:lvl7pPr marL="2743269"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7pPr>
            <a:lvl8pPr marL="3165310"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8pPr>
            <a:lvl9pPr marL="3587351"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9pPr>
          </a:lstStyle>
          <a:p>
            <a:pPr eaLnBrk="1" hangingPunct="1">
              <a:spcBef>
                <a:spcPct val="0"/>
              </a:spcBef>
              <a:buClrTx/>
              <a:buFontTx/>
              <a:buNone/>
            </a:pPr>
            <a:fld id="{C88A624F-BED3-454F-98E0-102E03590130}" type="datetime1">
              <a:rPr lang="de-DE" altLang="de-DE" smtClean="0">
                <a:solidFill>
                  <a:prstClr val="black"/>
                </a:solidFill>
              </a:rPr>
              <a:pPr eaLnBrk="1" hangingPunct="1">
                <a:spcBef>
                  <a:spcPct val="0"/>
                </a:spcBef>
                <a:buClrTx/>
                <a:buFontTx/>
                <a:buNone/>
              </a:pPr>
              <a:t>26.10.2016</a:t>
            </a:fld>
            <a:endParaRPr lang="de-DE" altLang="de-DE" smtClean="0">
              <a:solidFill>
                <a:prstClr val="black"/>
              </a:solidFill>
            </a:endParaRPr>
          </a:p>
        </p:txBody>
      </p:sp>
      <p:sp>
        <p:nvSpPr>
          <p:cNvPr id="9318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accent1"/>
              </a:buClr>
              <a:buChar char="-"/>
              <a:defRPr sz="1100">
                <a:solidFill>
                  <a:schemeClr val="tx1"/>
                </a:solidFill>
                <a:latin typeface="Arial" charset="0"/>
                <a:cs typeface="Arial" charset="0"/>
              </a:defRPr>
            </a:lvl1pPr>
            <a:lvl2pPr marL="685817" indent="-263776" eaLnBrk="0" hangingPunct="0">
              <a:spcBef>
                <a:spcPct val="30000"/>
              </a:spcBef>
              <a:buClr>
                <a:schemeClr val="accent1"/>
              </a:buClr>
              <a:buChar char="-"/>
              <a:defRPr sz="1100">
                <a:solidFill>
                  <a:schemeClr val="tx1"/>
                </a:solidFill>
                <a:latin typeface="Arial" charset="0"/>
                <a:cs typeface="Arial" charset="0"/>
              </a:defRPr>
            </a:lvl2pPr>
            <a:lvl3pPr marL="1055103" indent="-211021" eaLnBrk="0" hangingPunct="0">
              <a:spcBef>
                <a:spcPct val="30000"/>
              </a:spcBef>
              <a:buClr>
                <a:schemeClr val="accent1"/>
              </a:buClr>
              <a:buChar char="-"/>
              <a:defRPr sz="1100">
                <a:solidFill>
                  <a:schemeClr val="tx1"/>
                </a:solidFill>
                <a:latin typeface="Arial" charset="0"/>
                <a:cs typeface="Arial" charset="0"/>
              </a:defRPr>
            </a:lvl3pPr>
            <a:lvl4pPr marL="1477145" indent="-211021" eaLnBrk="0" hangingPunct="0">
              <a:spcBef>
                <a:spcPct val="30000"/>
              </a:spcBef>
              <a:buClr>
                <a:schemeClr val="accent1"/>
              </a:buClr>
              <a:buChar char="-"/>
              <a:defRPr sz="1100">
                <a:solidFill>
                  <a:schemeClr val="tx1"/>
                </a:solidFill>
                <a:latin typeface="Arial" charset="0"/>
                <a:cs typeface="Arial" charset="0"/>
              </a:defRPr>
            </a:lvl4pPr>
            <a:lvl5pPr marL="1899186" indent="-211021" eaLnBrk="0" hangingPunct="0">
              <a:spcBef>
                <a:spcPct val="30000"/>
              </a:spcBef>
              <a:buClr>
                <a:schemeClr val="accent1"/>
              </a:buClr>
              <a:buChar char="-"/>
              <a:defRPr sz="1100">
                <a:solidFill>
                  <a:schemeClr val="tx1"/>
                </a:solidFill>
                <a:latin typeface="Arial" charset="0"/>
                <a:cs typeface="Arial" charset="0"/>
              </a:defRPr>
            </a:lvl5pPr>
            <a:lvl6pPr marL="2321227"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6pPr>
            <a:lvl7pPr marL="2743269"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7pPr>
            <a:lvl8pPr marL="3165310"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8pPr>
            <a:lvl9pPr marL="3587351"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9pPr>
          </a:lstStyle>
          <a:p>
            <a:pPr eaLnBrk="1" hangingPunct="1">
              <a:spcBef>
                <a:spcPct val="0"/>
              </a:spcBef>
              <a:buClrTx/>
              <a:buFontTx/>
              <a:buNone/>
            </a:pPr>
            <a:fld id="{7182943B-B7FC-41F6-B7D3-674D2CF7A378}" type="slidenum">
              <a:rPr lang="de-DE" altLang="de-DE" smtClean="0">
                <a:solidFill>
                  <a:prstClr val="black"/>
                </a:solidFill>
              </a:rPr>
              <a:pPr eaLnBrk="1" hangingPunct="1">
                <a:spcBef>
                  <a:spcPct val="0"/>
                </a:spcBef>
                <a:buClrTx/>
                <a:buFontTx/>
                <a:buNone/>
              </a:pPr>
              <a:t>5</a:t>
            </a:fld>
            <a:endParaRPr lang="de-DE" altLang="de-DE" smtClean="0">
              <a:solidFill>
                <a:prstClr val="black"/>
              </a:solidFill>
            </a:endParaRPr>
          </a:p>
        </p:txBody>
      </p:sp>
      <p:sp>
        <p:nvSpPr>
          <p:cNvPr id="93188" name="Rectangle 2"/>
          <p:cNvSpPr>
            <a:spLocks noGrp="1" noRot="1" noChangeAspect="1" noChangeArrowheads="1" noTextEdit="1"/>
          </p:cNvSpPr>
          <p:nvPr>
            <p:ph type="sldImg"/>
          </p:nvPr>
        </p:nvSpPr>
        <p:spPr>
          <a:xfrm>
            <a:off x="717550" y="773113"/>
            <a:ext cx="5364163" cy="3714750"/>
          </a:xfrm>
          <a:ln/>
        </p:spPr>
      </p:sp>
      <p:sp>
        <p:nvSpPr>
          <p:cNvPr id="93189" name="Rectangle 3"/>
          <p:cNvSpPr>
            <a:spLocks noGrp="1" noChangeArrowheads="1"/>
          </p:cNvSpPr>
          <p:nvPr>
            <p:ph type="body" idx="1"/>
          </p:nvPr>
        </p:nvSpPr>
        <p:spPr>
          <a:xfrm>
            <a:off x="905952" y="4717733"/>
            <a:ext cx="4985772" cy="44883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e-DE"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accent1"/>
              </a:buClr>
              <a:buChar char="-"/>
              <a:defRPr sz="1100">
                <a:solidFill>
                  <a:schemeClr val="tx1"/>
                </a:solidFill>
                <a:latin typeface="Arial" charset="0"/>
                <a:cs typeface="Arial" charset="0"/>
              </a:defRPr>
            </a:lvl1pPr>
            <a:lvl2pPr marL="685817" indent="-263776" eaLnBrk="0" hangingPunct="0">
              <a:spcBef>
                <a:spcPct val="30000"/>
              </a:spcBef>
              <a:buClr>
                <a:schemeClr val="accent1"/>
              </a:buClr>
              <a:buChar char="-"/>
              <a:defRPr sz="1100">
                <a:solidFill>
                  <a:schemeClr val="tx1"/>
                </a:solidFill>
                <a:latin typeface="Arial" charset="0"/>
                <a:cs typeface="Arial" charset="0"/>
              </a:defRPr>
            </a:lvl2pPr>
            <a:lvl3pPr marL="1055103" indent="-211021" eaLnBrk="0" hangingPunct="0">
              <a:spcBef>
                <a:spcPct val="30000"/>
              </a:spcBef>
              <a:buClr>
                <a:schemeClr val="accent1"/>
              </a:buClr>
              <a:buChar char="-"/>
              <a:defRPr sz="1100">
                <a:solidFill>
                  <a:schemeClr val="tx1"/>
                </a:solidFill>
                <a:latin typeface="Arial" charset="0"/>
                <a:cs typeface="Arial" charset="0"/>
              </a:defRPr>
            </a:lvl3pPr>
            <a:lvl4pPr marL="1477145" indent="-211021" eaLnBrk="0" hangingPunct="0">
              <a:spcBef>
                <a:spcPct val="30000"/>
              </a:spcBef>
              <a:buClr>
                <a:schemeClr val="accent1"/>
              </a:buClr>
              <a:buChar char="-"/>
              <a:defRPr sz="1100">
                <a:solidFill>
                  <a:schemeClr val="tx1"/>
                </a:solidFill>
                <a:latin typeface="Arial" charset="0"/>
                <a:cs typeface="Arial" charset="0"/>
              </a:defRPr>
            </a:lvl4pPr>
            <a:lvl5pPr marL="1899186" indent="-211021" eaLnBrk="0" hangingPunct="0">
              <a:spcBef>
                <a:spcPct val="30000"/>
              </a:spcBef>
              <a:buClr>
                <a:schemeClr val="accent1"/>
              </a:buClr>
              <a:buChar char="-"/>
              <a:defRPr sz="1100">
                <a:solidFill>
                  <a:schemeClr val="tx1"/>
                </a:solidFill>
                <a:latin typeface="Arial" charset="0"/>
                <a:cs typeface="Arial" charset="0"/>
              </a:defRPr>
            </a:lvl5pPr>
            <a:lvl6pPr marL="2321227"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6pPr>
            <a:lvl7pPr marL="2743269"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7pPr>
            <a:lvl8pPr marL="3165310"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8pPr>
            <a:lvl9pPr marL="3587351"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9pPr>
          </a:lstStyle>
          <a:p>
            <a:pPr eaLnBrk="1" hangingPunct="1">
              <a:spcBef>
                <a:spcPct val="0"/>
              </a:spcBef>
              <a:buClrTx/>
              <a:buFontTx/>
              <a:buNone/>
            </a:pPr>
            <a:fld id="{883F4EF7-C650-4ADA-B397-EB4ADBFA9790}" type="datetime1">
              <a:rPr lang="de-DE" altLang="de-DE" smtClean="0">
                <a:solidFill>
                  <a:prstClr val="black"/>
                </a:solidFill>
              </a:rPr>
              <a:pPr eaLnBrk="1" hangingPunct="1">
                <a:spcBef>
                  <a:spcPct val="0"/>
                </a:spcBef>
                <a:buClrTx/>
                <a:buFontTx/>
                <a:buNone/>
              </a:pPr>
              <a:t>26.10.2016</a:t>
            </a:fld>
            <a:endParaRPr lang="de-DE" altLang="de-DE" smtClean="0">
              <a:solidFill>
                <a:prstClr val="black"/>
              </a:solidFill>
            </a:endParaRPr>
          </a:p>
        </p:txBody>
      </p:sp>
      <p:sp>
        <p:nvSpPr>
          <p:cNvPr id="94211"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accent1"/>
              </a:buClr>
              <a:buChar char="-"/>
              <a:defRPr sz="1100">
                <a:solidFill>
                  <a:schemeClr val="tx1"/>
                </a:solidFill>
                <a:latin typeface="Arial" charset="0"/>
                <a:cs typeface="Arial" charset="0"/>
              </a:defRPr>
            </a:lvl1pPr>
            <a:lvl2pPr marL="685817" indent="-263776" eaLnBrk="0" hangingPunct="0">
              <a:spcBef>
                <a:spcPct val="30000"/>
              </a:spcBef>
              <a:buClr>
                <a:schemeClr val="accent1"/>
              </a:buClr>
              <a:buChar char="-"/>
              <a:defRPr sz="1100">
                <a:solidFill>
                  <a:schemeClr val="tx1"/>
                </a:solidFill>
                <a:latin typeface="Arial" charset="0"/>
                <a:cs typeface="Arial" charset="0"/>
              </a:defRPr>
            </a:lvl2pPr>
            <a:lvl3pPr marL="1055103" indent="-211021" eaLnBrk="0" hangingPunct="0">
              <a:spcBef>
                <a:spcPct val="30000"/>
              </a:spcBef>
              <a:buClr>
                <a:schemeClr val="accent1"/>
              </a:buClr>
              <a:buChar char="-"/>
              <a:defRPr sz="1100">
                <a:solidFill>
                  <a:schemeClr val="tx1"/>
                </a:solidFill>
                <a:latin typeface="Arial" charset="0"/>
                <a:cs typeface="Arial" charset="0"/>
              </a:defRPr>
            </a:lvl3pPr>
            <a:lvl4pPr marL="1477145" indent="-211021" eaLnBrk="0" hangingPunct="0">
              <a:spcBef>
                <a:spcPct val="30000"/>
              </a:spcBef>
              <a:buClr>
                <a:schemeClr val="accent1"/>
              </a:buClr>
              <a:buChar char="-"/>
              <a:defRPr sz="1100">
                <a:solidFill>
                  <a:schemeClr val="tx1"/>
                </a:solidFill>
                <a:latin typeface="Arial" charset="0"/>
                <a:cs typeface="Arial" charset="0"/>
              </a:defRPr>
            </a:lvl4pPr>
            <a:lvl5pPr marL="1899186" indent="-211021" eaLnBrk="0" hangingPunct="0">
              <a:spcBef>
                <a:spcPct val="30000"/>
              </a:spcBef>
              <a:buClr>
                <a:schemeClr val="accent1"/>
              </a:buClr>
              <a:buChar char="-"/>
              <a:defRPr sz="1100">
                <a:solidFill>
                  <a:schemeClr val="tx1"/>
                </a:solidFill>
                <a:latin typeface="Arial" charset="0"/>
                <a:cs typeface="Arial" charset="0"/>
              </a:defRPr>
            </a:lvl5pPr>
            <a:lvl6pPr marL="2321227"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6pPr>
            <a:lvl7pPr marL="2743269"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7pPr>
            <a:lvl8pPr marL="3165310"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8pPr>
            <a:lvl9pPr marL="3587351" indent="-211021" eaLnBrk="0" fontAlgn="base" hangingPunct="0">
              <a:spcBef>
                <a:spcPct val="30000"/>
              </a:spcBef>
              <a:spcAft>
                <a:spcPct val="0"/>
              </a:spcAft>
              <a:buClr>
                <a:schemeClr val="accent1"/>
              </a:buClr>
              <a:buChar char="-"/>
              <a:defRPr sz="1100">
                <a:solidFill>
                  <a:schemeClr val="tx1"/>
                </a:solidFill>
                <a:latin typeface="Arial" charset="0"/>
                <a:cs typeface="Arial" charset="0"/>
              </a:defRPr>
            </a:lvl9pPr>
          </a:lstStyle>
          <a:p>
            <a:pPr eaLnBrk="1" hangingPunct="1">
              <a:spcBef>
                <a:spcPct val="0"/>
              </a:spcBef>
              <a:buClrTx/>
              <a:buFontTx/>
              <a:buNone/>
            </a:pPr>
            <a:fld id="{13BD3F67-D5E4-40F1-AADA-E3412CB845CF}" type="slidenum">
              <a:rPr lang="de-DE" altLang="de-DE" smtClean="0">
                <a:solidFill>
                  <a:prstClr val="black"/>
                </a:solidFill>
              </a:rPr>
              <a:pPr eaLnBrk="1" hangingPunct="1">
                <a:spcBef>
                  <a:spcPct val="0"/>
                </a:spcBef>
                <a:buClrTx/>
                <a:buFontTx/>
                <a:buNone/>
              </a:pPr>
              <a:t>7</a:t>
            </a:fld>
            <a:endParaRPr lang="de-DE" altLang="de-DE" smtClean="0">
              <a:solidFill>
                <a:prstClr val="black"/>
              </a:solidFill>
            </a:endParaRPr>
          </a:p>
        </p:txBody>
      </p:sp>
      <p:sp>
        <p:nvSpPr>
          <p:cNvPr id="94212" name="Rectangle 2"/>
          <p:cNvSpPr>
            <a:spLocks noGrp="1" noRot="1" noChangeAspect="1" noChangeArrowheads="1" noTextEdit="1"/>
          </p:cNvSpPr>
          <p:nvPr>
            <p:ph type="sldImg"/>
          </p:nvPr>
        </p:nvSpPr>
        <p:spPr>
          <a:xfrm>
            <a:off x="717550" y="773113"/>
            <a:ext cx="5364163" cy="3714750"/>
          </a:xfrm>
          <a:ln/>
        </p:spPr>
      </p:sp>
      <p:sp>
        <p:nvSpPr>
          <p:cNvPr id="94213" name="Rectangle 3"/>
          <p:cNvSpPr>
            <a:spLocks noGrp="1" noChangeArrowheads="1"/>
          </p:cNvSpPr>
          <p:nvPr>
            <p:ph type="body" idx="1"/>
          </p:nvPr>
        </p:nvSpPr>
        <p:spPr>
          <a:xfrm>
            <a:off x="905952" y="4717733"/>
            <a:ext cx="4985772" cy="44883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de-DE"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Образ слайда 1"/>
          <p:cNvSpPr>
            <a:spLocks noGrp="1" noRot="1" noChangeAspect="1" noTextEdit="1"/>
          </p:cNvSpPr>
          <p:nvPr>
            <p:ph type="sldImg"/>
          </p:nvPr>
        </p:nvSpPr>
        <p:spPr>
          <a:ln/>
        </p:spPr>
      </p:sp>
      <p:sp>
        <p:nvSpPr>
          <p:cNvPr id="73731" name="Заметки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en-US" dirty="0" smtClean="0"/>
          </a:p>
        </p:txBody>
      </p:sp>
      <p:sp>
        <p:nvSpPr>
          <p:cNvPr id="73732" name="Нижний колонтитул 3"/>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accent1"/>
              </a:buClr>
              <a:buChar char="-"/>
              <a:defRPr sz="1200">
                <a:solidFill>
                  <a:schemeClr val="tx1"/>
                </a:solidFill>
                <a:latin typeface="Arial" charset="0"/>
                <a:cs typeface="Arial" charset="0"/>
              </a:defRPr>
            </a:lvl1pPr>
            <a:lvl2pPr marL="716728" indent="-275665" eaLnBrk="0" hangingPunct="0">
              <a:spcBef>
                <a:spcPct val="30000"/>
              </a:spcBef>
              <a:buClr>
                <a:schemeClr val="accent1"/>
              </a:buClr>
              <a:buChar char="-"/>
              <a:defRPr sz="1200">
                <a:solidFill>
                  <a:schemeClr val="tx1"/>
                </a:solidFill>
                <a:latin typeface="Arial" charset="0"/>
                <a:cs typeface="Arial" charset="0"/>
              </a:defRPr>
            </a:lvl2pPr>
            <a:lvl3pPr marL="1102658" indent="-220532" eaLnBrk="0" hangingPunct="0">
              <a:spcBef>
                <a:spcPct val="30000"/>
              </a:spcBef>
              <a:buClr>
                <a:schemeClr val="accent1"/>
              </a:buClr>
              <a:buChar char="-"/>
              <a:defRPr sz="1200">
                <a:solidFill>
                  <a:schemeClr val="tx1"/>
                </a:solidFill>
                <a:latin typeface="Arial" charset="0"/>
                <a:cs typeface="Arial" charset="0"/>
              </a:defRPr>
            </a:lvl3pPr>
            <a:lvl4pPr marL="1543721" indent="-220532" eaLnBrk="0" hangingPunct="0">
              <a:spcBef>
                <a:spcPct val="30000"/>
              </a:spcBef>
              <a:buClr>
                <a:schemeClr val="accent1"/>
              </a:buClr>
              <a:buChar char="-"/>
              <a:defRPr sz="1200">
                <a:solidFill>
                  <a:schemeClr val="tx1"/>
                </a:solidFill>
                <a:latin typeface="Arial" charset="0"/>
                <a:cs typeface="Arial" charset="0"/>
              </a:defRPr>
            </a:lvl4pPr>
            <a:lvl5pPr marL="1984785" indent="-220532" eaLnBrk="0" hangingPunct="0">
              <a:spcBef>
                <a:spcPct val="30000"/>
              </a:spcBef>
              <a:buClr>
                <a:schemeClr val="accent1"/>
              </a:buClr>
              <a:buChar char="-"/>
              <a:defRPr sz="1200">
                <a:solidFill>
                  <a:schemeClr val="tx1"/>
                </a:solidFill>
                <a:latin typeface="Arial" charset="0"/>
                <a:cs typeface="Arial" charset="0"/>
              </a:defRPr>
            </a:lvl5pPr>
            <a:lvl6pPr marL="2425848" indent="-220532" eaLnBrk="0" fontAlgn="base" hangingPunct="0">
              <a:spcBef>
                <a:spcPct val="30000"/>
              </a:spcBef>
              <a:spcAft>
                <a:spcPct val="0"/>
              </a:spcAft>
              <a:buClr>
                <a:schemeClr val="accent1"/>
              </a:buClr>
              <a:buChar char="-"/>
              <a:defRPr sz="1200">
                <a:solidFill>
                  <a:schemeClr val="tx1"/>
                </a:solidFill>
                <a:latin typeface="Arial" charset="0"/>
                <a:cs typeface="Arial" charset="0"/>
              </a:defRPr>
            </a:lvl6pPr>
            <a:lvl7pPr marL="2866912" indent="-220532" eaLnBrk="0" fontAlgn="base" hangingPunct="0">
              <a:spcBef>
                <a:spcPct val="30000"/>
              </a:spcBef>
              <a:spcAft>
                <a:spcPct val="0"/>
              </a:spcAft>
              <a:buClr>
                <a:schemeClr val="accent1"/>
              </a:buClr>
              <a:buChar char="-"/>
              <a:defRPr sz="1200">
                <a:solidFill>
                  <a:schemeClr val="tx1"/>
                </a:solidFill>
                <a:latin typeface="Arial" charset="0"/>
                <a:cs typeface="Arial" charset="0"/>
              </a:defRPr>
            </a:lvl7pPr>
            <a:lvl8pPr marL="3307975" indent="-220532" eaLnBrk="0" fontAlgn="base" hangingPunct="0">
              <a:spcBef>
                <a:spcPct val="30000"/>
              </a:spcBef>
              <a:spcAft>
                <a:spcPct val="0"/>
              </a:spcAft>
              <a:buClr>
                <a:schemeClr val="accent1"/>
              </a:buClr>
              <a:buChar char="-"/>
              <a:defRPr sz="1200">
                <a:solidFill>
                  <a:schemeClr val="tx1"/>
                </a:solidFill>
                <a:latin typeface="Arial" charset="0"/>
                <a:cs typeface="Arial" charset="0"/>
              </a:defRPr>
            </a:lvl8pPr>
            <a:lvl9pPr marL="3749038" indent="-220532" eaLnBrk="0" fontAlgn="base" hangingPunct="0">
              <a:spcBef>
                <a:spcPct val="30000"/>
              </a:spcBef>
              <a:spcAft>
                <a:spcPct val="0"/>
              </a:spcAft>
              <a:buClr>
                <a:schemeClr val="accent1"/>
              </a:buClr>
              <a:buChar char="-"/>
              <a:defRPr sz="1200">
                <a:solidFill>
                  <a:schemeClr val="tx1"/>
                </a:solidFill>
                <a:latin typeface="Arial" charset="0"/>
                <a:cs typeface="Arial" charset="0"/>
              </a:defRPr>
            </a:lvl9pPr>
          </a:lstStyle>
          <a:p>
            <a:pPr eaLnBrk="1" hangingPunct="1">
              <a:spcBef>
                <a:spcPct val="0"/>
              </a:spcBef>
              <a:buClrTx/>
              <a:buFontTx/>
              <a:buNone/>
            </a:pPr>
            <a:endParaRPr lang="ru-RU" altLang="en-US" dirty="0" smtClean="0">
              <a:solidFill>
                <a:prstClr val="black"/>
              </a:solidFill>
            </a:endParaRPr>
          </a:p>
        </p:txBody>
      </p:sp>
      <p:sp>
        <p:nvSpPr>
          <p:cNvPr id="73733" name="Номер слайда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accent1"/>
              </a:buClr>
              <a:buChar char="-"/>
              <a:defRPr sz="1200">
                <a:solidFill>
                  <a:schemeClr val="tx1"/>
                </a:solidFill>
                <a:latin typeface="Arial" charset="0"/>
                <a:cs typeface="Arial" charset="0"/>
              </a:defRPr>
            </a:lvl1pPr>
            <a:lvl2pPr marL="716728" indent="-275665" eaLnBrk="0" hangingPunct="0">
              <a:spcBef>
                <a:spcPct val="30000"/>
              </a:spcBef>
              <a:buClr>
                <a:schemeClr val="accent1"/>
              </a:buClr>
              <a:buChar char="-"/>
              <a:defRPr sz="1200">
                <a:solidFill>
                  <a:schemeClr val="tx1"/>
                </a:solidFill>
                <a:latin typeface="Arial" charset="0"/>
                <a:cs typeface="Arial" charset="0"/>
              </a:defRPr>
            </a:lvl2pPr>
            <a:lvl3pPr marL="1102658" indent="-220532" eaLnBrk="0" hangingPunct="0">
              <a:spcBef>
                <a:spcPct val="30000"/>
              </a:spcBef>
              <a:buClr>
                <a:schemeClr val="accent1"/>
              </a:buClr>
              <a:buChar char="-"/>
              <a:defRPr sz="1200">
                <a:solidFill>
                  <a:schemeClr val="tx1"/>
                </a:solidFill>
                <a:latin typeface="Arial" charset="0"/>
                <a:cs typeface="Arial" charset="0"/>
              </a:defRPr>
            </a:lvl3pPr>
            <a:lvl4pPr marL="1543721" indent="-220532" eaLnBrk="0" hangingPunct="0">
              <a:spcBef>
                <a:spcPct val="30000"/>
              </a:spcBef>
              <a:buClr>
                <a:schemeClr val="accent1"/>
              </a:buClr>
              <a:buChar char="-"/>
              <a:defRPr sz="1200">
                <a:solidFill>
                  <a:schemeClr val="tx1"/>
                </a:solidFill>
                <a:latin typeface="Arial" charset="0"/>
                <a:cs typeface="Arial" charset="0"/>
              </a:defRPr>
            </a:lvl4pPr>
            <a:lvl5pPr marL="1984785" indent="-220532" eaLnBrk="0" hangingPunct="0">
              <a:spcBef>
                <a:spcPct val="30000"/>
              </a:spcBef>
              <a:buClr>
                <a:schemeClr val="accent1"/>
              </a:buClr>
              <a:buChar char="-"/>
              <a:defRPr sz="1200">
                <a:solidFill>
                  <a:schemeClr val="tx1"/>
                </a:solidFill>
                <a:latin typeface="Arial" charset="0"/>
                <a:cs typeface="Arial" charset="0"/>
              </a:defRPr>
            </a:lvl5pPr>
            <a:lvl6pPr marL="2425848" indent="-220532" eaLnBrk="0" fontAlgn="base" hangingPunct="0">
              <a:spcBef>
                <a:spcPct val="30000"/>
              </a:spcBef>
              <a:spcAft>
                <a:spcPct val="0"/>
              </a:spcAft>
              <a:buClr>
                <a:schemeClr val="accent1"/>
              </a:buClr>
              <a:buChar char="-"/>
              <a:defRPr sz="1200">
                <a:solidFill>
                  <a:schemeClr val="tx1"/>
                </a:solidFill>
                <a:latin typeface="Arial" charset="0"/>
                <a:cs typeface="Arial" charset="0"/>
              </a:defRPr>
            </a:lvl6pPr>
            <a:lvl7pPr marL="2866912" indent="-220532" eaLnBrk="0" fontAlgn="base" hangingPunct="0">
              <a:spcBef>
                <a:spcPct val="30000"/>
              </a:spcBef>
              <a:spcAft>
                <a:spcPct val="0"/>
              </a:spcAft>
              <a:buClr>
                <a:schemeClr val="accent1"/>
              </a:buClr>
              <a:buChar char="-"/>
              <a:defRPr sz="1200">
                <a:solidFill>
                  <a:schemeClr val="tx1"/>
                </a:solidFill>
                <a:latin typeface="Arial" charset="0"/>
                <a:cs typeface="Arial" charset="0"/>
              </a:defRPr>
            </a:lvl7pPr>
            <a:lvl8pPr marL="3307975" indent="-220532" eaLnBrk="0" fontAlgn="base" hangingPunct="0">
              <a:spcBef>
                <a:spcPct val="30000"/>
              </a:spcBef>
              <a:spcAft>
                <a:spcPct val="0"/>
              </a:spcAft>
              <a:buClr>
                <a:schemeClr val="accent1"/>
              </a:buClr>
              <a:buChar char="-"/>
              <a:defRPr sz="1200">
                <a:solidFill>
                  <a:schemeClr val="tx1"/>
                </a:solidFill>
                <a:latin typeface="Arial" charset="0"/>
                <a:cs typeface="Arial" charset="0"/>
              </a:defRPr>
            </a:lvl8pPr>
            <a:lvl9pPr marL="3749038" indent="-220532" eaLnBrk="0" fontAlgn="base" hangingPunct="0">
              <a:spcBef>
                <a:spcPct val="30000"/>
              </a:spcBef>
              <a:spcAft>
                <a:spcPct val="0"/>
              </a:spcAft>
              <a:buClr>
                <a:schemeClr val="accent1"/>
              </a:buClr>
              <a:buChar char="-"/>
              <a:defRPr sz="1200">
                <a:solidFill>
                  <a:schemeClr val="tx1"/>
                </a:solidFill>
                <a:latin typeface="Arial" charset="0"/>
                <a:cs typeface="Arial" charset="0"/>
              </a:defRPr>
            </a:lvl9pPr>
          </a:lstStyle>
          <a:p>
            <a:pPr eaLnBrk="1" hangingPunct="1">
              <a:spcBef>
                <a:spcPct val="0"/>
              </a:spcBef>
              <a:buClrTx/>
              <a:buFontTx/>
              <a:buNone/>
            </a:pPr>
            <a:fld id="{21C4A16D-791B-4191-805A-A24B62FC0D06}" type="slidenum">
              <a:rPr lang="de-DE" altLang="en-US" smtClean="0">
                <a:solidFill>
                  <a:prstClr val="black"/>
                </a:solidFill>
              </a:rPr>
              <a:pPr eaLnBrk="1" hangingPunct="1">
                <a:spcBef>
                  <a:spcPct val="0"/>
                </a:spcBef>
                <a:buClrTx/>
                <a:buFontTx/>
                <a:buNone/>
              </a:pPr>
              <a:t>8</a:t>
            </a:fld>
            <a:endParaRPr lang="de-DE" altLang="en-US" dirty="0" smtClean="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Folienbildplatzhalter 1"/>
          <p:cNvSpPr>
            <a:spLocks noGrp="1" noRot="1" noChangeAspect="1"/>
          </p:cNvSpPr>
          <p:nvPr>
            <p:ph type="sldImg"/>
          </p:nvPr>
        </p:nvSpPr>
        <p:spPr bwMode="auto">
          <a:noFill/>
          <a:ln>
            <a:solidFill>
              <a:srgbClr val="000000"/>
            </a:solidFill>
            <a:miter lim="800000"/>
            <a:headEnd/>
            <a:tailEnd/>
          </a:ln>
        </p:spPr>
      </p:sp>
      <p:sp>
        <p:nvSpPr>
          <p:cNvPr id="96258" name="Notizenplatzhalt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mtClean="0"/>
              <a:t>The six shown features are explained in detail on the next slides. </a:t>
            </a:r>
          </a:p>
          <a:p>
            <a:pPr>
              <a:spcBef>
                <a:spcPct val="0"/>
              </a:spcBef>
            </a:pPr>
            <a:r>
              <a:rPr lang="en-US" smtClean="0"/>
              <a:t>Everybody needs to have the same understanding about the features and its story lines.</a:t>
            </a:r>
          </a:p>
        </p:txBody>
      </p:sp>
      <p:sp>
        <p:nvSpPr>
          <p:cNvPr id="96259" name="Datumsplatzhalter 3"/>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r>
              <a:rPr lang="en-US">
                <a:solidFill>
                  <a:srgbClr val="000000"/>
                </a:solidFill>
                <a:cs typeface="Arial" charset="0"/>
              </a:rPr>
              <a:t>Datum</a:t>
            </a:r>
            <a:endParaRPr lang="de-DE">
              <a:solidFill>
                <a:srgbClr val="000000"/>
              </a:solidFill>
              <a:cs typeface="Arial" charset="0"/>
            </a:endParaRPr>
          </a:p>
        </p:txBody>
      </p:sp>
      <p:sp>
        <p:nvSpPr>
          <p:cNvPr id="96260" name="Fußzeilenplatzhalter 4"/>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de-DE">
                <a:solidFill>
                  <a:srgbClr val="000000"/>
                </a:solidFill>
                <a:cs typeface="Arial" charset="0"/>
              </a:rPr>
              <a:t>Name</a:t>
            </a:r>
          </a:p>
        </p:txBody>
      </p:sp>
      <p:sp>
        <p:nvSpPr>
          <p:cNvPr id="96261" name="Foliennummernplatzhalter 5"/>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B376612-CAEC-4387-BEF2-85C23861FECE}" type="slidenum">
              <a:rPr lang="de-DE">
                <a:solidFill>
                  <a:srgbClr val="000000"/>
                </a:solidFill>
                <a:cs typeface="Arial" charset="0"/>
              </a:rPr>
              <a:pPr fontAlgn="base">
                <a:spcBef>
                  <a:spcPct val="0"/>
                </a:spcBef>
                <a:spcAft>
                  <a:spcPct val="0"/>
                </a:spcAft>
              </a:pPr>
              <a:t>9</a:t>
            </a:fld>
            <a:endParaRPr lang="de-DE">
              <a:solidFill>
                <a:srgbClr val="000000"/>
              </a:solidFill>
              <a:cs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Folienbildplatzhalter 1"/>
          <p:cNvSpPr>
            <a:spLocks noGrp="1" noRot="1" noChangeAspect="1"/>
          </p:cNvSpPr>
          <p:nvPr>
            <p:ph type="sldImg"/>
          </p:nvPr>
        </p:nvSpPr>
        <p:spPr bwMode="auto">
          <a:noFill/>
          <a:ln>
            <a:solidFill>
              <a:srgbClr val="000000"/>
            </a:solidFill>
            <a:miter lim="800000"/>
            <a:headEnd/>
            <a:tailEnd/>
          </a:ln>
        </p:spPr>
      </p:sp>
      <p:sp>
        <p:nvSpPr>
          <p:cNvPr id="3" name="Notizenplatzhalter 2"/>
          <p:cNvSpPr>
            <a:spLocks noGrp="1"/>
          </p:cNvSpPr>
          <p:nvPr>
            <p:ph type="body" idx="1"/>
          </p:nvPr>
        </p:nvSpPr>
        <p:spPr/>
        <p:txBody>
          <a:bodyPr/>
          <a:lstStyle/>
          <a:p>
            <a:pPr fontAlgn="auto">
              <a:spcBef>
                <a:spcPts val="0"/>
              </a:spcBef>
              <a:spcAft>
                <a:spcPts val="0"/>
              </a:spcAft>
              <a:defRPr/>
            </a:pPr>
            <a:r>
              <a:rPr lang="en-US" b="1" dirty="0" smtClean="0"/>
              <a:t>The user-friendly product family is supported by four FLOWSIC600-XT derivatives</a:t>
            </a:r>
          </a:p>
          <a:p>
            <a:pPr marL="171450" indent="-171450" fontAlgn="auto">
              <a:spcBef>
                <a:spcPts val="0"/>
              </a:spcBef>
              <a:spcAft>
                <a:spcPts val="0"/>
              </a:spcAft>
              <a:buFontTx/>
              <a:buChar char="-"/>
              <a:defRPr/>
            </a:pPr>
            <a:r>
              <a:rPr lang="en-US" dirty="0" smtClean="0"/>
              <a:t>The FLOWSIC600-XT is the standard device </a:t>
            </a:r>
            <a:r>
              <a:rPr lang="en-US" u="sng" dirty="0" smtClean="0"/>
              <a:t>for all custody transfer natural gas applications</a:t>
            </a:r>
            <a:r>
              <a:rPr lang="en-US" dirty="0" smtClean="0"/>
              <a:t> based on the FLOWSIC600 experience</a:t>
            </a:r>
          </a:p>
          <a:p>
            <a:pPr marL="171450" indent="-171450" fontAlgn="auto">
              <a:spcBef>
                <a:spcPts val="0"/>
              </a:spcBef>
              <a:spcAft>
                <a:spcPts val="0"/>
              </a:spcAft>
              <a:buFontTx/>
              <a:buChar char="-"/>
              <a:defRPr/>
            </a:pPr>
            <a:r>
              <a:rPr lang="en-US" dirty="0" smtClean="0"/>
              <a:t>The FLOWSIC600-XT 2-plex </a:t>
            </a:r>
            <a:r>
              <a:rPr lang="en-US" u="sng" dirty="0" smtClean="0"/>
              <a:t>combines the fiscal meter with a check meter</a:t>
            </a:r>
            <a:r>
              <a:rPr lang="en-US" dirty="0" smtClean="0"/>
              <a:t> for diagnostic purpose</a:t>
            </a:r>
          </a:p>
          <a:p>
            <a:pPr marL="171450" indent="-171450" fontAlgn="auto">
              <a:spcBef>
                <a:spcPts val="0"/>
              </a:spcBef>
              <a:spcAft>
                <a:spcPts val="0"/>
              </a:spcAft>
              <a:buFontTx/>
              <a:buChar char="-"/>
              <a:defRPr/>
            </a:pPr>
            <a:r>
              <a:rPr lang="en-US" dirty="0" smtClean="0"/>
              <a:t>The FLOWSIC600-XT </a:t>
            </a:r>
            <a:r>
              <a:rPr lang="en-US" dirty="0" err="1" smtClean="0"/>
              <a:t>Quatro</a:t>
            </a:r>
            <a:r>
              <a:rPr lang="en-US" dirty="0" smtClean="0"/>
              <a:t> is a </a:t>
            </a:r>
            <a:r>
              <a:rPr lang="en-US" u="sng" dirty="0" smtClean="0"/>
              <a:t>redundant measurement</a:t>
            </a:r>
            <a:r>
              <a:rPr lang="en-US" dirty="0" smtClean="0"/>
              <a:t> system for custody transfer applications</a:t>
            </a:r>
          </a:p>
          <a:p>
            <a:pPr marL="171450" indent="-171450" fontAlgn="auto">
              <a:spcBef>
                <a:spcPts val="0"/>
              </a:spcBef>
              <a:spcAft>
                <a:spcPts val="0"/>
              </a:spcAft>
              <a:buFontTx/>
              <a:buChar char="-"/>
              <a:defRPr/>
            </a:pPr>
            <a:r>
              <a:rPr lang="en-US" dirty="0" smtClean="0"/>
              <a:t>The NEW FLOWSIC600-XT Forte is a designed to </a:t>
            </a:r>
            <a:r>
              <a:rPr lang="en-US" u="sng" dirty="0" smtClean="0"/>
              <a:t>operate with short inlet piping</a:t>
            </a:r>
          </a:p>
        </p:txBody>
      </p:sp>
      <p:sp>
        <p:nvSpPr>
          <p:cNvPr id="98307" name="Datumsplatzhalter 3"/>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r>
              <a:rPr lang="en-US">
                <a:cs typeface="Arial" charset="0"/>
              </a:rPr>
              <a:t>Datum</a:t>
            </a:r>
            <a:endParaRPr lang="de-DE">
              <a:cs typeface="Arial" charset="0"/>
            </a:endParaRPr>
          </a:p>
        </p:txBody>
      </p:sp>
      <p:sp>
        <p:nvSpPr>
          <p:cNvPr id="98308" name="Fußzeilenplatzhalter 4"/>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de-DE">
                <a:cs typeface="Arial" charset="0"/>
              </a:rPr>
              <a:t>Name</a:t>
            </a:r>
          </a:p>
        </p:txBody>
      </p:sp>
      <p:sp>
        <p:nvSpPr>
          <p:cNvPr id="98309" name="Foliennummernplatzhalter 5"/>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6DCCBD2-1EC9-4B19-91FD-50491B223097}" type="slidenum">
              <a:rPr lang="de-DE">
                <a:cs typeface="Arial" charset="0"/>
              </a:rPr>
              <a:pPr fontAlgn="base">
                <a:spcBef>
                  <a:spcPct val="0"/>
                </a:spcBef>
                <a:spcAft>
                  <a:spcPct val="0"/>
                </a:spcAft>
              </a:pPr>
              <a:t>10</a:t>
            </a:fld>
            <a:endParaRPr lang="de-DE">
              <a:cs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Folienbildplatzhalter 1"/>
          <p:cNvSpPr>
            <a:spLocks noGrp="1" noRot="1" noChangeAspect="1"/>
          </p:cNvSpPr>
          <p:nvPr>
            <p:ph type="sldImg"/>
          </p:nvPr>
        </p:nvSpPr>
        <p:spPr bwMode="auto">
          <a:noFill/>
          <a:ln>
            <a:solidFill>
              <a:srgbClr val="000000"/>
            </a:solidFill>
            <a:miter lim="800000"/>
            <a:headEnd/>
            <a:tailEnd/>
          </a:ln>
        </p:spPr>
      </p:sp>
      <p:sp>
        <p:nvSpPr>
          <p:cNvPr id="100354" name="Notizenplatzhalt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mtClean="0"/>
              <a:t>The FLOWSIC600-XT Forte does need just 2 DN inlet piping to reach OIML class 1.0 requirements. That supports technology leader ship!</a:t>
            </a:r>
          </a:p>
          <a:p>
            <a:pPr>
              <a:spcBef>
                <a:spcPct val="0"/>
              </a:spcBef>
            </a:pPr>
            <a:r>
              <a:rPr lang="en-US" smtClean="0"/>
              <a:t>To be class 0.5 conform FLOWSIC600-XT does need just 5 DN inlet piping without flow conditioner. This applies for low and high level disturbances.</a:t>
            </a:r>
          </a:p>
        </p:txBody>
      </p:sp>
      <p:sp>
        <p:nvSpPr>
          <p:cNvPr id="100355" name="Datumsplatzhalter 3"/>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r>
              <a:rPr lang="en-US">
                <a:solidFill>
                  <a:srgbClr val="000000"/>
                </a:solidFill>
                <a:cs typeface="Arial" charset="0"/>
              </a:rPr>
              <a:t>Datum</a:t>
            </a:r>
            <a:endParaRPr lang="de-DE">
              <a:solidFill>
                <a:srgbClr val="000000"/>
              </a:solidFill>
              <a:cs typeface="Arial" charset="0"/>
            </a:endParaRPr>
          </a:p>
        </p:txBody>
      </p:sp>
      <p:sp>
        <p:nvSpPr>
          <p:cNvPr id="100356" name="Fußzeilenplatzhalter 4"/>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de-DE">
                <a:solidFill>
                  <a:srgbClr val="000000"/>
                </a:solidFill>
                <a:cs typeface="Arial" charset="0"/>
              </a:rPr>
              <a:t>Name</a:t>
            </a:r>
          </a:p>
        </p:txBody>
      </p:sp>
      <p:sp>
        <p:nvSpPr>
          <p:cNvPr id="100357" name="Foliennummernplatzhalter 5"/>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26279DE-8A5D-4A36-B802-39BADA6C6DF8}" type="slidenum">
              <a:rPr lang="de-DE">
                <a:solidFill>
                  <a:srgbClr val="000000"/>
                </a:solidFill>
                <a:cs typeface="Arial" charset="0"/>
              </a:rPr>
              <a:pPr fontAlgn="base">
                <a:spcBef>
                  <a:spcPct val="0"/>
                </a:spcBef>
                <a:spcAft>
                  <a:spcPct val="0"/>
                </a:spcAft>
              </a:pPr>
              <a:t>11</a:t>
            </a:fld>
            <a:endParaRPr lang="de-DE">
              <a:solidFill>
                <a:srgbClr val="000000"/>
              </a:solidFill>
              <a:cs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smtClean="0"/>
              <a:t>For a fast and easy data access</a:t>
            </a:r>
            <a:r>
              <a:rPr lang="en-US" baseline="0" noProof="0" dirty="0" smtClean="0"/>
              <a:t> FLOWSIC600-XT hat an infrared interface at the display. No need to open the electronics to get access. </a:t>
            </a:r>
            <a:endParaRPr lang="en-US" noProof="0" dirty="0"/>
          </a:p>
        </p:txBody>
      </p:sp>
      <p:sp>
        <p:nvSpPr>
          <p:cNvPr id="4" name="Datumsplatzhalter 3"/>
          <p:cNvSpPr>
            <a:spLocks noGrp="1"/>
          </p:cNvSpPr>
          <p:nvPr>
            <p:ph type="dt" idx="10"/>
          </p:nvPr>
        </p:nvSpPr>
        <p:spPr/>
        <p:txBody>
          <a:bodyPr/>
          <a:lstStyle/>
          <a:p>
            <a:r>
              <a:rPr lang="en-US" smtClean="0">
                <a:solidFill>
                  <a:prstClr val="black"/>
                </a:solidFill>
              </a:rPr>
              <a:t>Datum</a:t>
            </a:r>
            <a:endParaRPr lang="de-DE">
              <a:solidFill>
                <a:prstClr val="black"/>
              </a:solidFill>
            </a:endParaRPr>
          </a:p>
        </p:txBody>
      </p:sp>
      <p:sp>
        <p:nvSpPr>
          <p:cNvPr id="5" name="Fußzeilenplatzhalter 4"/>
          <p:cNvSpPr>
            <a:spLocks noGrp="1"/>
          </p:cNvSpPr>
          <p:nvPr>
            <p:ph type="ftr" sz="quarter" idx="11"/>
          </p:nvPr>
        </p:nvSpPr>
        <p:spPr/>
        <p:txBody>
          <a:bodyPr/>
          <a:lstStyle/>
          <a:p>
            <a:r>
              <a:rPr lang="de-DE" smtClean="0">
                <a:solidFill>
                  <a:prstClr val="black"/>
                </a:solidFill>
              </a:rPr>
              <a:t>Name</a:t>
            </a:r>
            <a:endParaRPr lang="de-DE">
              <a:solidFill>
                <a:prstClr val="black"/>
              </a:solidFill>
            </a:endParaRPr>
          </a:p>
        </p:txBody>
      </p:sp>
      <p:sp>
        <p:nvSpPr>
          <p:cNvPr id="6" name="Foliennummernplatzhalter 5"/>
          <p:cNvSpPr>
            <a:spLocks noGrp="1"/>
          </p:cNvSpPr>
          <p:nvPr>
            <p:ph type="sldNum" sz="quarter" idx="12"/>
          </p:nvPr>
        </p:nvSpPr>
        <p:spPr/>
        <p:txBody>
          <a:bodyPr/>
          <a:lstStyle/>
          <a:p>
            <a:fld id="{4013D0E2-90BF-48AE-9492-216AE54D0C80}" type="slidenum">
              <a:rPr lang="de-DE" smtClean="0">
                <a:solidFill>
                  <a:prstClr val="black"/>
                </a:solidFill>
              </a:rPr>
              <a:pPr/>
              <a:t>12</a:t>
            </a:fld>
            <a:endParaRPr lang="de-DE">
              <a:solidFill>
                <a:prstClr val="black"/>
              </a:solidFill>
            </a:endParaRPr>
          </a:p>
        </p:txBody>
      </p:sp>
    </p:spTree>
    <p:extLst>
      <p:ext uri="{BB962C8B-B14F-4D97-AF65-F5344CB8AC3E}">
        <p14:creationId xmlns:p14="http://schemas.microsoft.com/office/powerpoint/2010/main" val="2762022118"/>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gi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7.xml"/><Relationship Id="rId4" Type="http://schemas.openxmlformats.org/officeDocument/2006/relationships/image" Target="../media/image9.pn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gi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5.xml"/><Relationship Id="rId7" Type="http://schemas.microsoft.com/office/2007/relationships/hdphoto" Target="../media/hdphoto1.wdp"/><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6.xml"/><Relationship Id="rId7" Type="http://schemas.microsoft.com/office/2007/relationships/hdphoto" Target="../media/hdphoto1.wdp"/><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jpe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5.emf"/><Relationship Id="rId4" Type="http://schemas.openxmlformats.org/officeDocument/2006/relationships/oleObject" Target="../embeddings/oleObject2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neutral">
    <p:spTree>
      <p:nvGrpSpPr>
        <p:cNvPr id="1" name=""/>
        <p:cNvGrpSpPr/>
        <p:nvPr/>
      </p:nvGrpSpPr>
      <p:grpSpPr>
        <a:xfrm>
          <a:off x="0" y="0"/>
          <a:ext cx="0" cy="0"/>
          <a:chOff x="0" y="0"/>
          <a:chExt cx="0" cy="0"/>
        </a:xfrm>
      </p:grpSpPr>
      <p:pic>
        <p:nvPicPr>
          <p:cNvPr id="7" name="Grafik"/>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5751"/>
          <a:stretch/>
        </p:blipFill>
        <p:spPr>
          <a:xfrm>
            <a:off x="0" y="0"/>
            <a:ext cx="9906000" cy="6858000"/>
          </a:xfrm>
          <a:prstGeom prst="rect">
            <a:avLst/>
          </a:prstGeom>
        </p:spPr>
      </p:pic>
      <p:sp>
        <p:nvSpPr>
          <p:cNvPr id="8" name="Titel"/>
          <p:cNvSpPr>
            <a:spLocks noGrp="1"/>
          </p:cNvSpPr>
          <p:nvPr>
            <p:ph type="ctrTitle" hasCustomPrompt="1"/>
          </p:nvPr>
        </p:nvSpPr>
        <p:spPr>
          <a:xfrm>
            <a:off x="0" y="2876400"/>
            <a:ext cx="9906000" cy="1440000"/>
          </a:xfrm>
          <a:blipFill dpi="0" rotWithShape="1">
            <a:blip r:embed="rId4">
              <a:extLst>
                <a:ext uri="{28A0092B-C50C-407E-A947-70E740481C1C}">
                  <a14:useLocalDpi xmlns:a14="http://schemas.microsoft.com/office/drawing/2010/main" val="0"/>
                </a:ext>
              </a:extLst>
            </a:blip>
            <a:srcRect/>
            <a:stretch>
              <a:fillRect/>
            </a:stretch>
          </a:blipFill>
        </p:spPr>
        <p:txBody>
          <a:bodyPr lIns="525600" rIns="2340000" bIns="298800" anchor="b" anchorCtr="0"/>
          <a:lstStyle>
            <a:lvl1pPr>
              <a:lnSpc>
                <a:spcPct val="90000"/>
              </a:lnSpc>
              <a:defRPr sz="3200" baseline="0">
                <a:solidFill>
                  <a:schemeClr val="tx2"/>
                </a:solidFill>
              </a:defRPr>
            </a:lvl1pPr>
          </a:lstStyle>
          <a:p>
            <a:r>
              <a:rPr lang="en-US" noProof="0" dirty="0" smtClean="0"/>
              <a:t>Presentation title</a:t>
            </a:r>
            <a:br>
              <a:rPr lang="en-US" noProof="0" dirty="0" smtClean="0"/>
            </a:br>
            <a:r>
              <a:rPr lang="en-US" noProof="0" dirty="0" smtClean="0"/>
              <a:t>optionally double spaced</a:t>
            </a:r>
            <a:endParaRPr lang="en-US" noProof="0" dirty="0"/>
          </a:p>
        </p:txBody>
      </p:sp>
      <p:sp>
        <p:nvSpPr>
          <p:cNvPr id="12" name="Untertitel"/>
          <p:cNvSpPr>
            <a:spLocks noGrp="1"/>
          </p:cNvSpPr>
          <p:nvPr>
            <p:ph type="subTitle" idx="1" hasCustomPrompt="1"/>
          </p:nvPr>
        </p:nvSpPr>
        <p:spPr>
          <a:xfrm>
            <a:off x="0" y="4456800"/>
            <a:ext cx="9906000" cy="2401200"/>
          </a:xfrm>
          <a:noFill/>
        </p:spPr>
        <p:txBody>
          <a:bodyPr lIns="525600" tIns="216000" rIns="2340000" bIns="396000"/>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Author</a:t>
            </a:r>
            <a:br>
              <a:rPr lang="en-US" noProof="0" dirty="0" smtClean="0"/>
            </a:br>
            <a:r>
              <a:rPr lang="en-US" noProof="0" dirty="0" smtClean="0"/>
              <a:t>Department</a:t>
            </a:r>
            <a:br>
              <a:rPr lang="en-US" noProof="0" dirty="0" smtClean="0"/>
            </a:br>
            <a:r>
              <a:rPr lang="en-US" noProof="0" dirty="0" smtClean="0"/>
              <a:t>Date</a:t>
            </a:r>
            <a:endParaRPr lang="en-US" noProof="0" dirty="0"/>
          </a:p>
        </p:txBody>
      </p:sp>
      <p:sp>
        <p:nvSpPr>
          <p:cNvPr id="13" name="Sensorstrahl"/>
          <p:cNvSpPr/>
          <p:nvPr userDrawn="1"/>
        </p:nvSpPr>
        <p:spPr>
          <a:xfrm>
            <a:off x="0" y="4316400"/>
            <a:ext cx="9906000" cy="136800"/>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1554647353"/>
      </p:ext>
    </p:extLst>
  </p:cSld>
  <p:clrMapOvr>
    <a:masterClrMapping/>
  </p:clrMapOvr>
  <p:transition>
    <p:zoom/>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pictures 2 contents">
    <p:spTree>
      <p:nvGrpSpPr>
        <p:cNvPr id="1" name=""/>
        <p:cNvGrpSpPr/>
        <p:nvPr/>
      </p:nvGrpSpPr>
      <p:grpSpPr>
        <a:xfrm>
          <a:off x="0" y="0"/>
          <a:ext cx="0" cy="0"/>
          <a:chOff x="0" y="0"/>
          <a:chExt cx="0" cy="0"/>
        </a:xfrm>
      </p:grpSpPr>
      <p:sp>
        <p:nvSpPr>
          <p:cNvPr id="6"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5" name="Fußzeilenplatzhalter"/>
          <p:cNvSpPr>
            <a:spLocks noGrp="1"/>
          </p:cNvSpPr>
          <p:nvPr>
            <p:ph type="ftr" sz="quarter" idx="11"/>
          </p:nvPr>
        </p:nvSpPr>
        <p:spPr/>
        <p:txBody>
          <a:bodyPr/>
          <a:lstStyle/>
          <a:p>
            <a:endParaRPr lang="en-US" noProof="0" dirty="0"/>
          </a:p>
        </p:txBody>
      </p:sp>
      <p:sp>
        <p:nvSpPr>
          <p:cNvPr id="4" name="Datumsplatzhalter"/>
          <p:cNvSpPr>
            <a:spLocks noGrp="1"/>
          </p:cNvSpPr>
          <p:nvPr>
            <p:ph type="dt" sz="half" idx="10"/>
          </p:nvPr>
        </p:nvSpPr>
        <p:spPr/>
        <p:txBody>
          <a:bodyPr/>
          <a:lstStyle/>
          <a:p>
            <a:endParaRPr lang="en-US" noProof="0" dirty="0"/>
          </a:p>
        </p:txBody>
      </p:sp>
      <p:sp>
        <p:nvSpPr>
          <p:cNvPr id="11" name="Inhaltsplatzhalter 2"/>
          <p:cNvSpPr>
            <a:spLocks noGrp="1"/>
          </p:cNvSpPr>
          <p:nvPr>
            <p:ph idx="16"/>
          </p:nvPr>
        </p:nvSpPr>
        <p:spPr>
          <a:xfrm>
            <a:off x="3476836" y="3770313"/>
            <a:ext cx="5904656" cy="2827337"/>
          </a:xfrm>
        </p:spPr>
        <p:txBody>
          <a:bodyPr bIns="72000"/>
          <a:lstStyle/>
          <a:p>
            <a:pPr lvl="0"/>
            <a:r>
              <a:rPr lang="de-DE" noProof="0" smtClean="0"/>
              <a:t>Textmasterformat bearbeiten</a:t>
            </a:r>
          </a:p>
          <a:p>
            <a:pPr lvl="1"/>
            <a:r>
              <a:rPr lang="de-DE" noProof="0" smtClean="0"/>
              <a:t>Zweite Ebene</a:t>
            </a:r>
          </a:p>
          <a:p>
            <a:pPr lvl="2"/>
            <a:r>
              <a:rPr lang="de-DE" noProof="0" smtClean="0"/>
              <a:t>Dritte Ebene</a:t>
            </a:r>
          </a:p>
        </p:txBody>
      </p:sp>
      <p:sp>
        <p:nvSpPr>
          <p:cNvPr id="3" name="Inhaltsplatzhalter 1"/>
          <p:cNvSpPr>
            <a:spLocks noGrp="1"/>
          </p:cNvSpPr>
          <p:nvPr>
            <p:ph idx="1"/>
          </p:nvPr>
        </p:nvSpPr>
        <p:spPr>
          <a:xfrm>
            <a:off x="3476836" y="944563"/>
            <a:ext cx="5904656" cy="2825749"/>
          </a:xfrm>
        </p:spPr>
        <p:txBody>
          <a:bodyPr bIns="72000"/>
          <a:lstStyle/>
          <a:p>
            <a:pPr lvl="0"/>
            <a:r>
              <a:rPr lang="de-DE" noProof="0" smtClean="0"/>
              <a:t>Textmasterformat bearbeiten</a:t>
            </a:r>
          </a:p>
          <a:p>
            <a:pPr lvl="1"/>
            <a:r>
              <a:rPr lang="de-DE" noProof="0" smtClean="0"/>
              <a:t>Zweite Ebene</a:t>
            </a:r>
          </a:p>
          <a:p>
            <a:pPr lvl="2"/>
            <a:r>
              <a:rPr lang="de-DE" noProof="0" smtClean="0"/>
              <a:t>Dritte Ebene</a:t>
            </a:r>
          </a:p>
        </p:txBody>
      </p:sp>
      <p:sp>
        <p:nvSpPr>
          <p:cNvPr id="10" name="Bildplatzhalter 2"/>
          <p:cNvSpPr>
            <a:spLocks noGrp="1"/>
          </p:cNvSpPr>
          <p:nvPr>
            <p:ph type="pic" sz="quarter" idx="15"/>
          </p:nvPr>
        </p:nvSpPr>
        <p:spPr>
          <a:xfrm>
            <a:off x="524816" y="3825650"/>
            <a:ext cx="2772000" cy="2772000"/>
          </a:xfrm>
        </p:spPr>
        <p:txBody>
          <a:bodyPr lIns="0" tIns="180000" rIns="0" bIns="180000"/>
          <a:lstStyle>
            <a:lvl1pPr marL="0" indent="0">
              <a:buFontTx/>
              <a:buNone/>
              <a:defRPr sz="1600">
                <a:solidFill>
                  <a:schemeClr val="accent2"/>
                </a:solidFill>
              </a:defRPr>
            </a:lvl1pPr>
          </a:lstStyle>
          <a:p>
            <a:r>
              <a:rPr lang="de-DE" noProof="0" smtClean="0"/>
              <a:t>Bild durch Klicken auf Symbol hinzufügen</a:t>
            </a:r>
            <a:endParaRPr lang="en-US" noProof="0" dirty="0"/>
          </a:p>
        </p:txBody>
      </p:sp>
      <p:sp>
        <p:nvSpPr>
          <p:cNvPr id="9" name="Bildplatzhalter 1"/>
          <p:cNvSpPr>
            <a:spLocks noGrp="1"/>
          </p:cNvSpPr>
          <p:nvPr>
            <p:ph type="pic" sz="quarter" idx="14"/>
          </p:nvPr>
        </p:nvSpPr>
        <p:spPr>
          <a:xfrm>
            <a:off x="523732" y="944563"/>
            <a:ext cx="2772000" cy="2772000"/>
          </a:xfrm>
        </p:spPr>
        <p:txBody>
          <a:bodyPr lIns="0" tIns="180000" rIns="0" bIns="180000"/>
          <a:lstStyle>
            <a:lvl1pPr marL="0" indent="0">
              <a:buFontTx/>
              <a:buNone/>
              <a:defRPr sz="1600">
                <a:solidFill>
                  <a:schemeClr val="accent2"/>
                </a:solidFill>
              </a:defRPr>
            </a:lvl1pPr>
          </a:lstStyle>
          <a:p>
            <a:r>
              <a:rPr lang="de-DE" noProof="0" smtClean="0"/>
              <a:t>Bild durch Klicken auf Symbol hinzufügen</a:t>
            </a:r>
            <a:endParaRPr lang="en-US" noProof="0" dirty="0"/>
          </a:p>
        </p:txBody>
      </p:sp>
      <p:sp>
        <p:nvSpPr>
          <p:cNvPr id="13"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
        <p:nvSpPr>
          <p:cNvPr id="12" name="Titel"/>
          <p:cNvSpPr>
            <a:spLocks noGrp="1"/>
          </p:cNvSpPr>
          <p:nvPr>
            <p:ph type="title" hasCustomPrompt="1"/>
          </p:nvPr>
        </p:nvSpPr>
        <p:spPr>
          <a:xfrm>
            <a:off x="525600" y="288000"/>
            <a:ext cx="7308000" cy="260680"/>
          </a:xfrm>
        </p:spPr>
        <p:txBody>
          <a:bodyPr/>
          <a:lstStyle>
            <a:lvl1pPr>
              <a:defRPr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1015224116"/>
      </p:ext>
    </p:extLst>
  </p:cSld>
  <p:clrMapOvr>
    <a:masterClrMapping/>
  </p:clrMapOvr>
  <p:transition>
    <p:zoom/>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 pictures 2 contents">
    <p:spTree>
      <p:nvGrpSpPr>
        <p:cNvPr id="1" name=""/>
        <p:cNvGrpSpPr/>
        <p:nvPr/>
      </p:nvGrpSpPr>
      <p:grpSpPr>
        <a:xfrm>
          <a:off x="0" y="0"/>
          <a:ext cx="0" cy="0"/>
          <a:chOff x="0" y="0"/>
          <a:chExt cx="0" cy="0"/>
        </a:xfrm>
      </p:grpSpPr>
      <p:sp>
        <p:nvSpPr>
          <p:cNvPr id="3" name="Inhaltsplatzhalter 2"/>
          <p:cNvSpPr>
            <a:spLocks noGrp="1"/>
          </p:cNvSpPr>
          <p:nvPr>
            <p:ph idx="1"/>
          </p:nvPr>
        </p:nvSpPr>
        <p:spPr>
          <a:xfrm>
            <a:off x="3432000" y="944563"/>
            <a:ext cx="6045000" cy="2825749"/>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Bildplatzhalter 8"/>
          <p:cNvSpPr>
            <a:spLocks noGrp="1"/>
          </p:cNvSpPr>
          <p:nvPr>
            <p:ph type="pic" sz="quarter" idx="14"/>
          </p:nvPr>
        </p:nvSpPr>
        <p:spPr>
          <a:xfrm>
            <a:off x="415925" y="944563"/>
            <a:ext cx="2772000" cy="2772000"/>
          </a:xfrm>
        </p:spPr>
        <p:txBody>
          <a:bodyPr lIns="0" tIns="180000" rIns="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10" name="Bildplatzhalter 8"/>
          <p:cNvSpPr>
            <a:spLocks noGrp="1"/>
          </p:cNvSpPr>
          <p:nvPr>
            <p:ph type="pic" sz="quarter" idx="15"/>
          </p:nvPr>
        </p:nvSpPr>
        <p:spPr>
          <a:xfrm>
            <a:off x="417009" y="3825650"/>
            <a:ext cx="2772000" cy="2772000"/>
          </a:xfrm>
        </p:spPr>
        <p:txBody>
          <a:bodyPr lIns="0" tIns="180000" rIns="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11" name="Inhaltsplatzhalter 2"/>
          <p:cNvSpPr>
            <a:spLocks noGrp="1"/>
          </p:cNvSpPr>
          <p:nvPr>
            <p:ph idx="16"/>
          </p:nvPr>
        </p:nvSpPr>
        <p:spPr>
          <a:xfrm>
            <a:off x="3432000" y="3770313"/>
            <a:ext cx="6045000" cy="2827337"/>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2"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3"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3460179660"/>
      </p:ext>
    </p:extLst>
  </p:cSld>
  <p:clrMapOvr>
    <a:masterClrMapping/>
  </p:clrMapOvr>
  <p:transition>
    <p:zoom/>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4 contents matrix">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11663" y="944563"/>
            <a:ext cx="4426875"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Inhaltsplatzhalter 3"/>
          <p:cNvSpPr>
            <a:spLocks noGrp="1"/>
          </p:cNvSpPr>
          <p:nvPr>
            <p:ph sz="half" idx="2"/>
          </p:nvPr>
        </p:nvSpPr>
        <p:spPr>
          <a:xfrm>
            <a:off x="411663" y="3770312"/>
            <a:ext cx="4426875"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12" name="Inhaltsplatzhalter 3"/>
          <p:cNvSpPr>
            <a:spLocks noGrp="1"/>
          </p:cNvSpPr>
          <p:nvPr>
            <p:ph sz="half" idx="15"/>
          </p:nvPr>
        </p:nvSpPr>
        <p:spPr>
          <a:xfrm>
            <a:off x="5061504" y="944563"/>
            <a:ext cx="4428000"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5" name="Inhaltsplatzhalter 3"/>
          <p:cNvSpPr>
            <a:spLocks noGrp="1"/>
          </p:cNvSpPr>
          <p:nvPr>
            <p:ph sz="half" idx="18"/>
          </p:nvPr>
        </p:nvSpPr>
        <p:spPr>
          <a:xfrm>
            <a:off x="5061504" y="3770312"/>
            <a:ext cx="4428000"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1"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3"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2009974065"/>
      </p:ext>
    </p:extLst>
  </p:cSld>
  <p:clrMapOvr>
    <a:masterClrMapping/>
  </p:clrMapOvr>
  <p:transition>
    <p:zoom/>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Only title + subheadlin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en-US" dirty="0">
              <a:solidFill>
                <a:srgbClr val="8064A2"/>
              </a:solidFill>
            </a:endParaRPr>
          </a:p>
        </p:txBody>
      </p:sp>
      <p:sp>
        <p:nvSpPr>
          <p:cNvPr id="4" name="Fußzeilenplatzhalter 3"/>
          <p:cNvSpPr>
            <a:spLocks noGrp="1"/>
          </p:cNvSpPr>
          <p:nvPr>
            <p:ph type="ftr" sz="quarter" idx="11"/>
          </p:nvPr>
        </p:nvSpPr>
        <p:spPr/>
        <p:txBody>
          <a:bodyPr/>
          <a:lstStyle/>
          <a:p>
            <a:pPr>
              <a:defRPr/>
            </a:pPr>
            <a:endParaRPr lang="en-US">
              <a:solidFill>
                <a:srgbClr val="1F497D"/>
              </a:solidFill>
            </a:endParaRPr>
          </a:p>
        </p:txBody>
      </p:sp>
      <p:sp>
        <p:nvSpPr>
          <p:cNvPr id="5" name="Foliennummernplatzhalter 4"/>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7"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8"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150931879"/>
      </p:ext>
    </p:extLst>
  </p:cSld>
  <p:clrMapOvr>
    <a:masterClrMapping/>
  </p:clrMapOvr>
  <p:transition>
    <p:zoom/>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648870180"/>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4617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9" name="Rechteck 8"/>
          <p:cNvSpPr/>
          <p:nvPr/>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13" name="Bildplatzhalter 8"/>
          <p:cNvSpPr>
            <a:spLocks noGrp="1"/>
          </p:cNvSpPr>
          <p:nvPr>
            <p:ph type="pic" sz="quarter" idx="14"/>
          </p:nvPr>
        </p:nvSpPr>
        <p:spPr>
          <a:xfrm>
            <a:off x="0" y="0"/>
            <a:ext cx="9906000" cy="4284406"/>
          </a:xfrm>
        </p:spPr>
        <p:txBody>
          <a:bodyPr lIns="396000" tIns="180000" rIns="39600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2" name="Titel 1"/>
          <p:cNvSpPr>
            <a:spLocks noGrp="1"/>
          </p:cNvSpPr>
          <p:nvPr>
            <p:ph type="title" hasCustomPrompt="1"/>
          </p:nvPr>
        </p:nvSpPr>
        <p:spPr>
          <a:xfrm>
            <a:off x="416496" y="4680000"/>
            <a:ext cx="7020000" cy="1800000"/>
          </a:xfrm>
        </p:spPr>
        <p:txBody>
          <a:bodyPr anchor="t"/>
          <a:lstStyle>
            <a:lvl1pPr algn="l">
              <a:defRPr sz="3200" b="0" cap="all" baseline="0">
                <a:sym typeface="Wingdings" panose="05000000000000000000" pitchFamily="2" charset="2"/>
              </a:defRPr>
            </a:lvl1pPr>
          </a:lstStyle>
          <a:p>
            <a:r>
              <a:rPr lang="en-US" noProof="0" dirty="0" smtClean="0"/>
              <a:t>Chapter slide</a:t>
            </a:r>
            <a:br>
              <a:rPr lang="en-US" noProof="0" dirty="0" smtClean="0"/>
            </a:br>
            <a:r>
              <a:rPr lang="en-US" noProof="0" dirty="0" smtClean="0"/>
              <a:t>(Chapter no.  right)</a:t>
            </a:r>
            <a:endParaRPr lang="en-US" noProof="0" dirty="0"/>
          </a:p>
        </p:txBody>
      </p:sp>
      <p:sp>
        <p:nvSpPr>
          <p:cNvPr id="11" name="Rechteck 10"/>
          <p:cNvSpPr/>
          <p:nvPr/>
        </p:nvSpPr>
        <p:spPr>
          <a:xfrm>
            <a:off x="0" y="4320000"/>
            <a:ext cx="9906000" cy="72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3" name="Textplatzhalter 2"/>
          <p:cNvSpPr>
            <a:spLocks noGrp="1"/>
          </p:cNvSpPr>
          <p:nvPr>
            <p:ph type="body" idx="1" hasCustomPrompt="1"/>
          </p:nvPr>
        </p:nvSpPr>
        <p:spPr>
          <a:xfrm>
            <a:off x="7761000" y="3019334"/>
            <a:ext cx="2145000" cy="1260000"/>
          </a:xfrm>
          <a:solidFill>
            <a:schemeClr val="bg1">
              <a:alpha val="85000"/>
            </a:schemeClr>
          </a:solidFill>
        </p:spPr>
        <p:txBody>
          <a:bodyPr lIns="180000" tIns="72000" rIns="396000" bIns="72000" anchor="ctr" anchorCtr="0"/>
          <a:lstStyle>
            <a:lvl1pPr marL="0" indent="0">
              <a:buNone/>
              <a:defRPr sz="6000" b="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01</a:t>
            </a:r>
          </a:p>
        </p:txBody>
      </p:sp>
      <p:pic>
        <p:nvPicPr>
          <p:cNvPr id="15" name="Grafik 1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888802" y="4680000"/>
            <a:ext cx="1587524" cy="650566"/>
          </a:xfrm>
          <a:prstGeom prst="rect">
            <a:avLst/>
          </a:prstGeom>
        </p:spPr>
      </p:pic>
    </p:spTree>
    <p:extLst>
      <p:ext uri="{BB962C8B-B14F-4D97-AF65-F5344CB8AC3E}">
        <p14:creationId xmlns:p14="http://schemas.microsoft.com/office/powerpoint/2010/main" val="789104718"/>
      </p:ext>
    </p:extLst>
  </p:cSld>
  <p:clrMapOvr>
    <a:masterClrMapping/>
  </p:clrMapOvr>
  <p:transition>
    <p:zoom/>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full faced with title bandero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33031192"/>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471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3" name="Bildplatzhalter 2"/>
          <p:cNvSpPr>
            <a:spLocks noGrp="1"/>
          </p:cNvSpPr>
          <p:nvPr>
            <p:ph type="pic" idx="1"/>
          </p:nvPr>
        </p:nvSpPr>
        <p:spPr>
          <a:xfrm>
            <a:off x="0" y="944563"/>
            <a:ext cx="9906000" cy="5653087"/>
          </a:xfrm>
        </p:spPr>
        <p:txBody>
          <a:bodyPr lIns="396000" tIns="180000" rIns="396000" bIns="180000"/>
          <a:lstStyle>
            <a:lvl1pPr marL="0" indent="0">
              <a:buNone/>
              <a:defRPr sz="1600">
                <a:solidFill>
                  <a:schemeClr val="accent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smtClean="0"/>
              <a:t>Click icon to add picture</a:t>
            </a:r>
            <a:endParaRPr lang="en-US" noProof="0" dirty="0"/>
          </a:p>
        </p:txBody>
      </p:sp>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2" name="Titel 1"/>
          <p:cNvSpPr>
            <a:spLocks noGrp="1"/>
          </p:cNvSpPr>
          <p:nvPr>
            <p:ph type="title" hasCustomPrompt="1"/>
          </p:nvPr>
        </p:nvSpPr>
        <p:spPr>
          <a:xfrm>
            <a:off x="-1" y="4500000"/>
            <a:ext cx="9906000" cy="720000"/>
          </a:xfrm>
          <a:solidFill>
            <a:srgbClr val="FFFFFF">
              <a:alpha val="90000"/>
            </a:srgbClr>
          </a:solidFill>
        </p:spPr>
        <p:txBody>
          <a:bodyPr lIns="396000" tIns="36000" rIns="396000" bIns="36000" anchor="b"/>
          <a:lstStyle>
            <a:lvl1pPr algn="l">
              <a:defRPr sz="2400" b="0" baseline="0"/>
            </a:lvl1pPr>
          </a:lstStyle>
          <a:p>
            <a:r>
              <a:rPr lang="en-US" noProof="0" dirty="0" smtClean="0"/>
              <a:t>Slide Title single spaced</a:t>
            </a:r>
            <a:endParaRPr lang="en-US" noProof="0" dirty="0"/>
          </a:p>
        </p:txBody>
      </p:sp>
      <p:sp>
        <p:nvSpPr>
          <p:cNvPr id="4" name="Textplatzhalter 3"/>
          <p:cNvSpPr>
            <a:spLocks noGrp="1"/>
          </p:cNvSpPr>
          <p:nvPr>
            <p:ph type="body" sz="half" idx="2" hasCustomPrompt="1"/>
          </p:nvPr>
        </p:nvSpPr>
        <p:spPr>
          <a:xfrm>
            <a:off x="0" y="5220000"/>
            <a:ext cx="9906000" cy="540000"/>
          </a:xfrm>
          <a:solidFill>
            <a:srgbClr val="FFFFFF">
              <a:alpha val="75000"/>
            </a:srgbClr>
          </a:solidFill>
        </p:spPr>
        <p:txBody>
          <a:bodyPr lIns="396000" tIns="36000" rIns="396000" bIns="36000"/>
          <a:lstStyle>
            <a:lvl1pPr marL="0" indent="0">
              <a:buNone/>
              <a:defRPr sz="2000" cap="all"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Subheadline single spaced</a:t>
            </a:r>
          </a:p>
        </p:txBody>
      </p:sp>
    </p:spTree>
    <p:extLst>
      <p:ext uri="{BB962C8B-B14F-4D97-AF65-F5344CB8AC3E}">
        <p14:creationId xmlns:p14="http://schemas.microsoft.com/office/powerpoint/2010/main" val="421516088"/>
      </p:ext>
    </p:extLst>
  </p:cSld>
  <p:clrMapOvr>
    <a:masterClrMapping/>
  </p:clrMapOvr>
  <p:transition>
    <p:zoom/>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Closing slid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378302400"/>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482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9" name="Rechteck 8"/>
          <p:cNvSpPr/>
          <p:nvPr/>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2" name="Titel 1"/>
          <p:cNvSpPr>
            <a:spLocks noGrp="1"/>
          </p:cNvSpPr>
          <p:nvPr>
            <p:ph type="title" hasCustomPrompt="1"/>
          </p:nvPr>
        </p:nvSpPr>
        <p:spPr>
          <a:xfrm>
            <a:off x="407095" y="2924944"/>
            <a:ext cx="7020000" cy="1035056"/>
          </a:xfrm>
        </p:spPr>
        <p:txBody>
          <a:bodyPr anchor="b" anchorCtr="0"/>
          <a:lstStyle>
            <a:lvl1pPr algn="l">
              <a:defRPr sz="3200" b="0" cap="all" baseline="0"/>
            </a:lvl1pPr>
          </a:lstStyle>
          <a:p>
            <a:r>
              <a:rPr lang="en-US" noProof="0" dirty="0" smtClean="0"/>
              <a:t>Many thanks for your attention.</a:t>
            </a:r>
            <a:endParaRPr lang="en-US" noProof="0" dirty="0"/>
          </a:p>
        </p:txBody>
      </p:sp>
      <p:sp>
        <p:nvSpPr>
          <p:cNvPr id="3" name="Textplatzhalter 2"/>
          <p:cNvSpPr>
            <a:spLocks noGrp="1"/>
          </p:cNvSpPr>
          <p:nvPr>
            <p:ph type="body" idx="1" hasCustomPrompt="1"/>
          </p:nvPr>
        </p:nvSpPr>
        <p:spPr>
          <a:xfrm>
            <a:off x="407095" y="4608000"/>
            <a:ext cx="7020000" cy="1800000"/>
          </a:xfrm>
        </p:spPr>
        <p:txBody>
          <a:bodyPr tIns="0" anchor="t" anchorCtr="0"/>
          <a:lstStyle>
            <a:lvl1pPr marL="0" indent="0">
              <a:buNone/>
              <a:defRPr sz="2000" baseline="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ntact person</a:t>
            </a:r>
            <a:br>
              <a:rPr lang="en-US" noProof="0" dirty="0" smtClean="0"/>
            </a:br>
            <a:r>
              <a:rPr lang="en-US" noProof="0" dirty="0" smtClean="0"/>
              <a:t>Department</a:t>
            </a:r>
            <a:br>
              <a:rPr lang="en-US" noProof="0" dirty="0" smtClean="0"/>
            </a:br>
            <a:r>
              <a:rPr lang="en-US" noProof="0" dirty="0" smtClean="0"/>
              <a:t>As needed phone / e-mail</a:t>
            </a:r>
          </a:p>
        </p:txBody>
      </p:sp>
      <p:sp>
        <p:nvSpPr>
          <p:cNvPr id="12" name="Rechteck 11"/>
          <p:cNvSpPr/>
          <p:nvPr/>
        </p:nvSpPr>
        <p:spPr>
          <a:xfrm>
            <a:off x="0" y="4320000"/>
            <a:ext cx="9906000" cy="72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pic>
        <p:nvPicPr>
          <p:cNvPr id="8" name="Grafik 7"/>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888802" y="4680000"/>
            <a:ext cx="1587524" cy="650566"/>
          </a:xfrm>
          <a:prstGeom prst="rect">
            <a:avLst/>
          </a:prstGeom>
        </p:spPr>
      </p:pic>
    </p:spTree>
    <p:extLst>
      <p:ext uri="{BB962C8B-B14F-4D97-AF65-F5344CB8AC3E}">
        <p14:creationId xmlns:p14="http://schemas.microsoft.com/office/powerpoint/2010/main" val="923221600"/>
      </p:ext>
    </p:extLst>
  </p:cSld>
  <p:clrMapOvr>
    <a:masterClrMapping/>
  </p:clrMapOvr>
  <p:transition>
    <p:zoom/>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492195739"/>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4924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9" name="Rechteck 8"/>
          <p:cNvSpPr/>
          <p:nvPr/>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700">
              <a:solidFill>
                <a:prstClr val="white"/>
              </a:solidFill>
            </a:endParaRPr>
          </a:p>
        </p:txBody>
      </p:sp>
    </p:spTree>
    <p:extLst>
      <p:ext uri="{BB962C8B-B14F-4D97-AF65-F5344CB8AC3E}">
        <p14:creationId xmlns:p14="http://schemas.microsoft.com/office/powerpoint/2010/main" val="2084846463"/>
      </p:ext>
    </p:extLst>
  </p:cSld>
  <p:clrMapOvr>
    <a:masterClrMapping/>
  </p:clrMapOvr>
  <p:transition>
    <p:zoom/>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smtClean="0"/>
              <a:t>Click to edit Master title style</a:t>
            </a:r>
            <a:endParaRPr lang="ru-RU"/>
          </a:p>
        </p:txBody>
      </p:sp>
      <p:sp>
        <p:nvSpPr>
          <p:cNvPr id="3" name="Rectangle 4"/>
          <p:cNvSpPr>
            <a:spLocks noGrp="1" noChangeArrowheads="1"/>
          </p:cNvSpPr>
          <p:nvPr>
            <p:ph type="ftr" sz="quarter" idx="10"/>
          </p:nvPr>
        </p:nvSpPr>
        <p:spPr>
          <a:ln/>
        </p:spPr>
        <p:txBody>
          <a:bodyPr/>
          <a:lstStyle>
            <a:lvl1pPr>
              <a:defRPr/>
            </a:lvl1pPr>
          </a:lstStyle>
          <a:p>
            <a:pPr>
              <a:defRPr/>
            </a:pPr>
            <a:endParaRPr lang="en-US">
              <a:solidFill>
                <a:srgbClr val="1F497D"/>
              </a:solidFill>
            </a:endParaRPr>
          </a:p>
        </p:txBody>
      </p:sp>
      <p:sp>
        <p:nvSpPr>
          <p:cNvPr id="4" name="Rectangle 5"/>
          <p:cNvSpPr>
            <a:spLocks noGrp="1" noChangeArrowheads="1"/>
          </p:cNvSpPr>
          <p:nvPr>
            <p:ph type="sldNum" sz="quarter" idx="11"/>
          </p:nvPr>
        </p:nvSpPr>
        <p:spPr>
          <a:ln/>
        </p:spPr>
        <p:txBody>
          <a:bodyPr/>
          <a:lstStyle>
            <a:lvl1pPr>
              <a:defRPr/>
            </a:lvl1pPr>
          </a:lstStyle>
          <a:p>
            <a:pPr>
              <a:defRPr/>
            </a:pPr>
            <a:fld id="{F80DF1CE-CD36-45B8-9258-D3B3E84662B3}" type="slidenum">
              <a:rPr lang="en-US">
                <a:solidFill>
                  <a:srgbClr val="8064A2"/>
                </a:solidFill>
              </a:rPr>
              <a:pPr>
                <a:defRPr/>
              </a:pPr>
              <a:t>‹#›</a:t>
            </a:fld>
            <a:endParaRPr lang="en-US">
              <a:solidFill>
                <a:srgbClr val="8064A2"/>
              </a:solidFill>
            </a:endParaRPr>
          </a:p>
        </p:txBody>
      </p:sp>
    </p:spTree>
    <p:extLst>
      <p:ext uri="{BB962C8B-B14F-4D97-AF65-F5344CB8AC3E}">
        <p14:creationId xmlns:p14="http://schemas.microsoft.com/office/powerpoint/2010/main" val="416787104"/>
      </p:ext>
    </p:extLst>
  </p:cSld>
  <p:clrMapOvr>
    <a:masterClrMapping/>
  </p:clrMapOvr>
  <p:transition>
    <p:zoom/>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clipArtAndTx">
  <p:cSld name="Заголовок, клип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a:prstGeom prst="rect">
            <a:avLst/>
          </a:prstGeom>
        </p:spPr>
        <p:txBody>
          <a:bodyPr/>
          <a:lstStyle/>
          <a:p>
            <a:r>
              <a:rPr lang="en-US" smtClean="0"/>
              <a:t>Click to edit Master title style</a:t>
            </a:r>
            <a:endParaRPr lang="ru-RU"/>
          </a:p>
        </p:txBody>
      </p:sp>
      <p:sp>
        <p:nvSpPr>
          <p:cNvPr id="3" name="Клип 2"/>
          <p:cNvSpPr>
            <a:spLocks noGrp="1"/>
          </p:cNvSpPr>
          <p:nvPr>
            <p:ph type="clipArt" sz="half" idx="1"/>
          </p:nvPr>
        </p:nvSpPr>
        <p:spPr>
          <a:xfrm>
            <a:off x="495300" y="1600203"/>
            <a:ext cx="4375150" cy="4525963"/>
          </a:xfrm>
          <a:prstGeom prst="rect">
            <a:avLst/>
          </a:prstGeom>
        </p:spPr>
        <p:txBody>
          <a:bodyPr/>
          <a:lstStyle/>
          <a:p>
            <a:pPr lvl="0"/>
            <a:r>
              <a:rPr lang="en-US" noProof="0" smtClean="0"/>
              <a:t>Click icon to add clip art</a:t>
            </a:r>
            <a:endParaRPr lang="ru-RU" noProof="0"/>
          </a:p>
        </p:txBody>
      </p:sp>
      <p:sp>
        <p:nvSpPr>
          <p:cNvPr id="4" name="Текст 3"/>
          <p:cNvSpPr>
            <a:spLocks noGrp="1"/>
          </p:cNvSpPr>
          <p:nvPr>
            <p:ph type="body" sz="half" idx="2"/>
          </p:nvPr>
        </p:nvSpPr>
        <p:spPr>
          <a:xfrm>
            <a:off x="5035550" y="1600203"/>
            <a:ext cx="437515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Tree>
    <p:extLst>
      <p:ext uri="{BB962C8B-B14F-4D97-AF65-F5344CB8AC3E}">
        <p14:creationId xmlns:p14="http://schemas.microsoft.com/office/powerpoint/2010/main" val="358243922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en-US">
              <a:solidFill>
                <a:srgbClr val="1F497D"/>
              </a:solidFill>
            </a:endParaRPr>
          </a:p>
        </p:txBody>
      </p:sp>
      <p:sp>
        <p:nvSpPr>
          <p:cNvPr id="3" name="Rectangle 5"/>
          <p:cNvSpPr>
            <a:spLocks noGrp="1" noChangeArrowheads="1"/>
          </p:cNvSpPr>
          <p:nvPr>
            <p:ph type="sldNum" sz="quarter" idx="11"/>
          </p:nvPr>
        </p:nvSpPr>
        <p:spPr>
          <a:ln/>
        </p:spPr>
        <p:txBody>
          <a:bodyPr/>
          <a:lstStyle>
            <a:lvl1pPr>
              <a:defRPr/>
            </a:lvl1pPr>
          </a:lstStyle>
          <a:p>
            <a:pPr>
              <a:defRPr/>
            </a:pPr>
            <a:fld id="{A12D138B-E913-4371-8DC1-3C6A91F440F6}" type="slidenum">
              <a:rPr lang="en-US">
                <a:solidFill>
                  <a:srgbClr val="8064A2"/>
                </a:solidFill>
              </a:rPr>
              <a:pPr>
                <a:defRPr/>
              </a:pPr>
              <a:t>‹#›</a:t>
            </a:fld>
            <a:endParaRPr lang="en-US">
              <a:solidFill>
                <a:srgbClr val="8064A2"/>
              </a:solidFill>
            </a:endParaRPr>
          </a:p>
        </p:txBody>
      </p:sp>
    </p:spTree>
    <p:extLst>
      <p:ext uri="{BB962C8B-B14F-4D97-AF65-F5344CB8AC3E}">
        <p14:creationId xmlns:p14="http://schemas.microsoft.com/office/powerpoint/2010/main" val="3870000780"/>
      </p:ext>
    </p:extLst>
  </p:cSld>
  <p:clrMapOvr>
    <a:masterClrMapping/>
  </p:clrMapOvr>
  <p:transition>
    <p:zoom/>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ntents matrix">
    <p:spTree>
      <p:nvGrpSpPr>
        <p:cNvPr id="1" name=""/>
        <p:cNvGrpSpPr/>
        <p:nvPr/>
      </p:nvGrpSpPr>
      <p:grpSpPr>
        <a:xfrm>
          <a:off x="0" y="0"/>
          <a:ext cx="0" cy="0"/>
          <a:chOff x="0" y="0"/>
          <a:chExt cx="0" cy="0"/>
        </a:xfrm>
      </p:grpSpPr>
      <p:sp>
        <p:nvSpPr>
          <p:cNvPr id="7"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6" name="Fußzeilenplatzhalter"/>
          <p:cNvSpPr>
            <a:spLocks noGrp="1"/>
          </p:cNvSpPr>
          <p:nvPr>
            <p:ph type="ftr" sz="quarter" idx="11"/>
          </p:nvPr>
        </p:nvSpPr>
        <p:spPr/>
        <p:txBody>
          <a:bodyPr/>
          <a:lstStyle/>
          <a:p>
            <a:endParaRPr lang="en-US" noProof="0" dirty="0"/>
          </a:p>
        </p:txBody>
      </p:sp>
      <p:sp>
        <p:nvSpPr>
          <p:cNvPr id="5" name="Datumsplatzhalter"/>
          <p:cNvSpPr>
            <a:spLocks noGrp="1"/>
          </p:cNvSpPr>
          <p:nvPr>
            <p:ph type="dt" sz="half" idx="10"/>
          </p:nvPr>
        </p:nvSpPr>
        <p:spPr/>
        <p:txBody>
          <a:bodyPr/>
          <a:lstStyle/>
          <a:p>
            <a:endParaRPr lang="en-US" noProof="0" dirty="0"/>
          </a:p>
        </p:txBody>
      </p:sp>
      <p:sp>
        <p:nvSpPr>
          <p:cNvPr id="15" name="Inhaltsplatzhalter 4"/>
          <p:cNvSpPr>
            <a:spLocks noGrp="1"/>
          </p:cNvSpPr>
          <p:nvPr>
            <p:ph sz="half" idx="18"/>
          </p:nvPr>
        </p:nvSpPr>
        <p:spPr>
          <a:xfrm>
            <a:off x="5061504" y="3770312"/>
            <a:ext cx="4318470"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4" name="Inhaltsplatzhalter 3"/>
          <p:cNvSpPr>
            <a:spLocks noGrp="1"/>
          </p:cNvSpPr>
          <p:nvPr>
            <p:ph sz="half" idx="2"/>
          </p:nvPr>
        </p:nvSpPr>
        <p:spPr>
          <a:xfrm>
            <a:off x="523875" y="3770312"/>
            <a:ext cx="4314663"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12" name="Inhaltsplatzhalter 2"/>
          <p:cNvSpPr>
            <a:spLocks noGrp="1"/>
          </p:cNvSpPr>
          <p:nvPr>
            <p:ph sz="half" idx="15"/>
          </p:nvPr>
        </p:nvSpPr>
        <p:spPr>
          <a:xfrm>
            <a:off x="5061504" y="944563"/>
            <a:ext cx="4318470"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3" name="Inhaltsplatzhalter 1"/>
          <p:cNvSpPr>
            <a:spLocks noGrp="1"/>
          </p:cNvSpPr>
          <p:nvPr>
            <p:ph sz="half" idx="1"/>
          </p:nvPr>
        </p:nvSpPr>
        <p:spPr>
          <a:xfrm>
            <a:off x="523875" y="944563"/>
            <a:ext cx="4314663"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13"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
        <p:nvSpPr>
          <p:cNvPr id="11" name="Titel"/>
          <p:cNvSpPr>
            <a:spLocks noGrp="1"/>
          </p:cNvSpPr>
          <p:nvPr>
            <p:ph type="title" hasCustomPrompt="1"/>
          </p:nvPr>
        </p:nvSpPr>
        <p:spPr>
          <a:xfrm>
            <a:off x="525600" y="288000"/>
            <a:ext cx="7308000" cy="260680"/>
          </a:xfrm>
        </p:spPr>
        <p:txBody>
          <a:bodyPr/>
          <a:lstStyle>
            <a:lvl1pPr>
              <a:defRPr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2651538275"/>
      </p:ext>
    </p:extLst>
  </p:cSld>
  <p:clrMapOvr>
    <a:masterClrMapping/>
  </p:clrMapOvr>
  <p:transition>
    <p:zoom/>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Inhalt + Titel">
    <p:spTree>
      <p:nvGrpSpPr>
        <p:cNvPr id="1" name=""/>
        <p:cNvGrpSpPr/>
        <p:nvPr/>
      </p:nvGrpSpPr>
      <p:grpSpPr>
        <a:xfrm>
          <a:off x="0" y="0"/>
          <a:ext cx="0" cy="0"/>
          <a:chOff x="0" y="0"/>
          <a:chExt cx="0" cy="0"/>
        </a:xfrm>
      </p:grpSpPr>
      <p:sp>
        <p:nvSpPr>
          <p:cNvPr id="3" name="Inhaltsplatzhalter"/>
          <p:cNvSpPr>
            <a:spLocks noGrp="1"/>
          </p:cNvSpPr>
          <p:nvPr>
            <p:ph idx="1"/>
          </p:nvPr>
        </p:nvSpPr>
        <p:spPr>
          <a:xfrm>
            <a:off x="525600" y="944563"/>
            <a:ext cx="8856525" cy="5653087"/>
          </a:xfrm>
        </p:spPr>
        <p:txBody>
          <a:bodyPr bIns="72000" rtlCol="0">
            <a:noAutofit/>
          </a:bodyPr>
          <a:lstStyle>
            <a:lvl1pPr>
              <a:defRPr lang="de-DE" dirty="0" smtClean="0"/>
            </a:lvl1pPr>
            <a:lvl2pPr>
              <a:defRPr lang="de-DE" dirty="0" smtClean="0"/>
            </a:lvl2pPr>
            <a:lvl3pPr>
              <a:defRPr lang="de-DE" dirty="0" smtClean="0"/>
            </a:lvl3pPr>
            <a:lvl4pPr>
              <a:defRPr lang="de-DE" dirty="0" smtClean="0"/>
            </a:lvl4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7" name="Subheadline"/>
          <p:cNvSpPr>
            <a:spLocks noGrp="1"/>
          </p:cNvSpPr>
          <p:nvPr>
            <p:ph type="body" idx="13"/>
          </p:nvPr>
        </p:nvSpPr>
        <p:spPr>
          <a:xfrm>
            <a:off x="525601" y="548680"/>
            <a:ext cx="7307124" cy="288000"/>
          </a:xfrm>
        </p:spPr>
        <p:txBody>
          <a:bodyPr tIns="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Образец текста</a:t>
            </a:r>
          </a:p>
        </p:txBody>
      </p:sp>
      <p:sp>
        <p:nvSpPr>
          <p:cNvPr id="2" name="Titel"/>
          <p:cNvSpPr>
            <a:spLocks noGrp="1"/>
          </p:cNvSpPr>
          <p:nvPr>
            <p:ph type="title"/>
          </p:nvPr>
        </p:nvSpPr>
        <p:spPr>
          <a:xfrm>
            <a:off x="525601" y="288000"/>
            <a:ext cx="7307124" cy="260680"/>
          </a:xfrm>
        </p:spPr>
        <p:txBody>
          <a:bodyPr/>
          <a:lstStyle>
            <a:lvl1pPr>
              <a:defRPr baseline="0"/>
            </a:lvl1pPr>
          </a:lstStyle>
          <a:p>
            <a:r>
              <a:rPr lang="en-US" dirty="0" err="1" smtClean="0"/>
              <a:t>Образец заголовка</a:t>
            </a:r>
            <a:endParaRPr lang="de-DE" dirty="0"/>
          </a:p>
        </p:txBody>
      </p:sp>
      <p:sp>
        <p:nvSpPr>
          <p:cNvPr id="5" name="Foliennummernplatzhalter"/>
          <p:cNvSpPr>
            <a:spLocks noGrp="1"/>
          </p:cNvSpPr>
          <p:nvPr>
            <p:ph type="sldNum" sz="quarter" idx="14"/>
          </p:nvPr>
        </p:nvSpPr>
        <p:spPr/>
        <p:txBody>
          <a:bodyPr/>
          <a:lstStyle>
            <a:lvl1pPr>
              <a:defRPr>
                <a:cs typeface="+mn-cs"/>
              </a:defRPr>
            </a:lvl1pPr>
          </a:lstStyle>
          <a:p>
            <a:pPr>
              <a:defRPr/>
            </a:pPr>
            <a:fld id="{6EE5125C-D84C-4378-9EEB-ABAA41B9DFAA}" type="slidenum">
              <a:rPr lang="de-DE"/>
              <a:pPr>
                <a:defRPr/>
              </a:pPr>
              <a:t>‹#›</a:t>
            </a:fld>
            <a:endParaRPr lang="de-DE"/>
          </a:p>
        </p:txBody>
      </p:sp>
      <p:sp>
        <p:nvSpPr>
          <p:cNvPr id="6" name="Fußzeilenplatzhalter"/>
          <p:cNvSpPr>
            <a:spLocks noGrp="1"/>
          </p:cNvSpPr>
          <p:nvPr>
            <p:ph type="ftr" sz="quarter" idx="15"/>
          </p:nvPr>
        </p:nvSpPr>
        <p:spPr/>
        <p:txBody>
          <a:bodyPr/>
          <a:lstStyle>
            <a:lvl1pPr>
              <a:defRPr>
                <a:cs typeface="+mn-cs"/>
              </a:defRPr>
            </a:lvl1pPr>
          </a:lstStyle>
          <a:p>
            <a:pPr>
              <a:defRPr/>
            </a:pPr>
            <a:endParaRPr lang="de-DE"/>
          </a:p>
        </p:txBody>
      </p:sp>
      <p:sp>
        <p:nvSpPr>
          <p:cNvPr id="8" name="Datumsplatzhalter"/>
          <p:cNvSpPr>
            <a:spLocks noGrp="1"/>
          </p:cNvSpPr>
          <p:nvPr>
            <p:ph type="dt" sz="half" idx="16"/>
          </p:nvPr>
        </p:nvSpPr>
        <p:spPr/>
        <p:txBody>
          <a:bodyPr/>
          <a:lstStyle>
            <a:lvl1pPr>
              <a:defRPr>
                <a:cs typeface="+mn-cs"/>
              </a:defRPr>
            </a:lvl1pPr>
          </a:lstStyle>
          <a:p>
            <a:pPr>
              <a:defRPr/>
            </a:pPr>
            <a:endParaRPr lang="de-DE"/>
          </a:p>
        </p:txBody>
      </p:sp>
    </p:spTree>
    <p:extLst>
      <p:ext uri="{BB962C8B-B14F-4D97-AF65-F5344CB8AC3E}">
        <p14:creationId xmlns:p14="http://schemas.microsoft.com/office/powerpoint/2010/main" val="3430427623"/>
      </p:ext>
    </p:extLst>
  </p:cSld>
  <p:clrMapOvr>
    <a:masterClrMapping/>
  </p:clrMapOvr>
  <p:transition>
    <p:zoom/>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elfolie neutral">
    <p:spTree>
      <p:nvGrpSpPr>
        <p:cNvPr id="1" name=""/>
        <p:cNvGrpSpPr/>
        <p:nvPr/>
      </p:nvGrpSpPr>
      <p:grpSpPr>
        <a:xfrm>
          <a:off x="0" y="0"/>
          <a:ext cx="0" cy="0"/>
          <a:chOff x="0" y="0"/>
          <a:chExt cx="0" cy="0"/>
        </a:xfrm>
      </p:grpSpPr>
      <p:pic>
        <p:nvPicPr>
          <p:cNvPr id="7" name="Grafik"/>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5751"/>
          <a:stretch/>
        </p:blipFill>
        <p:spPr>
          <a:xfrm>
            <a:off x="0" y="0"/>
            <a:ext cx="9906000" cy="6858000"/>
          </a:xfrm>
          <a:prstGeom prst="rect">
            <a:avLst/>
          </a:prstGeom>
        </p:spPr>
      </p:pic>
      <p:sp>
        <p:nvSpPr>
          <p:cNvPr id="8" name="Titel"/>
          <p:cNvSpPr>
            <a:spLocks noGrp="1"/>
          </p:cNvSpPr>
          <p:nvPr>
            <p:ph type="ctrTitle" hasCustomPrompt="1"/>
          </p:nvPr>
        </p:nvSpPr>
        <p:spPr>
          <a:xfrm>
            <a:off x="0" y="2876400"/>
            <a:ext cx="9906000" cy="1440000"/>
          </a:xfrm>
          <a:blipFill dpi="0" rotWithShape="1">
            <a:blip r:embed="rId4" cstate="email">
              <a:extLst>
                <a:ext uri="{28A0092B-C50C-407E-A947-70E740481C1C}">
                  <a14:useLocalDpi xmlns:a14="http://schemas.microsoft.com/office/drawing/2010/main" val="0"/>
                </a:ext>
              </a:extLst>
            </a:blip>
            <a:srcRect/>
            <a:stretch>
              <a:fillRect/>
            </a:stretch>
          </a:blipFill>
        </p:spPr>
        <p:txBody>
          <a:bodyPr lIns="525600" rIns="2340000" bIns="298800" anchor="b" anchorCtr="0"/>
          <a:lstStyle>
            <a:lvl1pPr>
              <a:lnSpc>
                <a:spcPct val="90000"/>
              </a:lnSpc>
              <a:defRPr sz="3200" baseline="0">
                <a:solidFill>
                  <a:schemeClr val="tx2"/>
                </a:solidFill>
              </a:defRPr>
            </a:lvl1pPr>
          </a:lstStyle>
          <a:p>
            <a:r>
              <a:rPr lang="de-DE" dirty="0" smtClean="0"/>
              <a:t>Präsentationstitel</a:t>
            </a:r>
            <a:br>
              <a:rPr lang="de-DE" dirty="0" smtClean="0"/>
            </a:br>
            <a:r>
              <a:rPr lang="de-DE" dirty="0" smtClean="0"/>
              <a:t>optional 2-zeilig</a:t>
            </a:r>
            <a:endParaRPr lang="de-DE" dirty="0"/>
          </a:p>
        </p:txBody>
      </p:sp>
      <p:sp>
        <p:nvSpPr>
          <p:cNvPr id="12" name="Untertitel"/>
          <p:cNvSpPr>
            <a:spLocks noGrp="1"/>
          </p:cNvSpPr>
          <p:nvPr>
            <p:ph type="subTitle" idx="1" hasCustomPrompt="1"/>
          </p:nvPr>
        </p:nvSpPr>
        <p:spPr>
          <a:xfrm>
            <a:off x="0" y="4456800"/>
            <a:ext cx="9906000" cy="2401200"/>
          </a:xfrm>
          <a:noFill/>
        </p:spPr>
        <p:txBody>
          <a:bodyPr lIns="525600" tIns="216000" rIns="2340000" bIns="396000"/>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Autor</a:t>
            </a:r>
            <a:br>
              <a:rPr lang="de-DE" dirty="0" smtClean="0"/>
            </a:br>
            <a:r>
              <a:rPr lang="de-DE" dirty="0" smtClean="0"/>
              <a:t>Abteilung</a:t>
            </a:r>
            <a:br>
              <a:rPr lang="de-DE" dirty="0" smtClean="0"/>
            </a:br>
            <a:r>
              <a:rPr lang="de-DE" dirty="0" smtClean="0"/>
              <a:t>Datum</a:t>
            </a:r>
            <a:endParaRPr lang="de-DE" dirty="0"/>
          </a:p>
        </p:txBody>
      </p:sp>
      <p:sp>
        <p:nvSpPr>
          <p:cNvPr id="13" name="Sensorstrahl"/>
          <p:cNvSpPr/>
          <p:nvPr userDrawn="1"/>
        </p:nvSpPr>
        <p:spPr>
          <a:xfrm>
            <a:off x="0" y="4316400"/>
            <a:ext cx="9906000" cy="136800"/>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Tree>
    <p:extLst>
      <p:ext uri="{BB962C8B-B14F-4D97-AF65-F5344CB8AC3E}">
        <p14:creationId xmlns:p14="http://schemas.microsoft.com/office/powerpoint/2010/main" val="2993887735"/>
      </p:ext>
    </p:extLst>
  </p:cSld>
  <p:clrMapOvr>
    <a:masterClrMapping/>
  </p:clrMapOvr>
  <p:transition>
    <p:zoom/>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sp>
        <p:nvSpPr>
          <p:cNvPr id="12" name="Rechteck"/>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13" name="Bildplatzhalter"/>
          <p:cNvSpPr>
            <a:spLocks noGrp="1"/>
          </p:cNvSpPr>
          <p:nvPr>
            <p:ph type="pic" sz="quarter" idx="14"/>
          </p:nvPr>
        </p:nvSpPr>
        <p:spPr>
          <a:xfrm>
            <a:off x="0" y="0"/>
            <a:ext cx="9906000" cy="4316400"/>
          </a:xfrm>
        </p:spPr>
        <p:txBody>
          <a:bodyPr lIns="396000" tIns="180000" rIns="396000" bIns="180000"/>
          <a:lstStyle>
            <a:lvl1pPr marL="0" indent="0">
              <a:buFontTx/>
              <a:buNone/>
              <a:defRPr sz="1500">
                <a:solidFill>
                  <a:schemeClr val="accent2"/>
                </a:solidFill>
              </a:defRPr>
            </a:lvl1pPr>
          </a:lstStyle>
          <a:p>
            <a:r>
              <a:rPr lang="de-DE" smtClean="0"/>
              <a:t>Bild durch Klicken auf Symbol hinzufügen</a:t>
            </a:r>
            <a:endParaRPr lang="de-DE" dirty="0"/>
          </a:p>
        </p:txBody>
      </p:sp>
      <p:sp>
        <p:nvSpPr>
          <p:cNvPr id="3" name="Untertitel"/>
          <p:cNvSpPr>
            <a:spLocks noGrp="1"/>
          </p:cNvSpPr>
          <p:nvPr>
            <p:ph type="subTitle" idx="1" hasCustomPrompt="1"/>
          </p:nvPr>
        </p:nvSpPr>
        <p:spPr>
          <a:xfrm>
            <a:off x="0" y="4456800"/>
            <a:ext cx="9906000" cy="2401200"/>
          </a:xfrm>
          <a:noFill/>
        </p:spPr>
        <p:txBody>
          <a:bodyPr lIns="525600" tIns="216000" rIns="2340000" bIns="396000"/>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Autor</a:t>
            </a:r>
            <a:br>
              <a:rPr lang="de-DE" dirty="0" smtClean="0"/>
            </a:br>
            <a:r>
              <a:rPr lang="de-DE" dirty="0" smtClean="0"/>
              <a:t>Abteilung</a:t>
            </a:r>
            <a:br>
              <a:rPr lang="de-DE" dirty="0" smtClean="0"/>
            </a:br>
            <a:r>
              <a:rPr lang="de-DE" dirty="0" smtClean="0"/>
              <a:t>Datum</a:t>
            </a:r>
            <a:endParaRPr lang="de-DE" dirty="0"/>
          </a:p>
        </p:txBody>
      </p:sp>
      <p:sp>
        <p:nvSpPr>
          <p:cNvPr id="10" name="Sensorstrahl"/>
          <p:cNvSpPr/>
          <p:nvPr userDrawn="1"/>
        </p:nvSpPr>
        <p:spPr>
          <a:xfrm>
            <a:off x="0" y="4316400"/>
            <a:ext cx="9906000" cy="136800"/>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2" name="Titel"/>
          <p:cNvSpPr>
            <a:spLocks noGrp="1"/>
          </p:cNvSpPr>
          <p:nvPr>
            <p:ph type="ctrTitle" hasCustomPrompt="1"/>
          </p:nvPr>
        </p:nvSpPr>
        <p:spPr>
          <a:xfrm>
            <a:off x="0" y="2876400"/>
            <a:ext cx="9906000" cy="1440000"/>
          </a:xfrm>
          <a:blipFill dpi="0" rotWithShape="1">
            <a:blip r:embed="rId2" cstate="email">
              <a:extLst>
                <a:ext uri="{28A0092B-C50C-407E-A947-70E740481C1C}">
                  <a14:useLocalDpi xmlns:a14="http://schemas.microsoft.com/office/drawing/2010/main" val="0"/>
                </a:ext>
              </a:extLst>
            </a:blip>
            <a:srcRect/>
            <a:stretch>
              <a:fillRect/>
            </a:stretch>
          </a:blipFill>
        </p:spPr>
        <p:txBody>
          <a:bodyPr lIns="525600" rIns="2340000" bIns="298800" anchor="b" anchorCtr="0"/>
          <a:lstStyle>
            <a:lvl1pPr>
              <a:lnSpc>
                <a:spcPct val="90000"/>
              </a:lnSpc>
              <a:defRPr sz="3200" baseline="0">
                <a:solidFill>
                  <a:schemeClr val="tx2"/>
                </a:solidFill>
              </a:defRPr>
            </a:lvl1pPr>
          </a:lstStyle>
          <a:p>
            <a:r>
              <a:rPr lang="de-DE" dirty="0" smtClean="0"/>
              <a:t>Präsentationstitel</a:t>
            </a:r>
            <a:br>
              <a:rPr lang="de-DE" dirty="0" smtClean="0"/>
            </a:br>
            <a:r>
              <a:rPr lang="de-DE" dirty="0" smtClean="0"/>
              <a:t>optional 2-zeilig</a:t>
            </a:r>
            <a:endParaRPr lang="de-DE" dirty="0"/>
          </a:p>
        </p:txBody>
      </p:sp>
    </p:spTree>
    <p:extLst>
      <p:ext uri="{BB962C8B-B14F-4D97-AF65-F5344CB8AC3E}">
        <p14:creationId xmlns:p14="http://schemas.microsoft.com/office/powerpoint/2010/main" val="1871446560"/>
      </p:ext>
    </p:extLst>
  </p:cSld>
  <p:clrMapOvr>
    <a:masterClrMapping/>
  </p:clrMapOvr>
  <p:transition>
    <p:zoom/>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nhalt + Titel">
    <p:spTree>
      <p:nvGrpSpPr>
        <p:cNvPr id="1" name=""/>
        <p:cNvGrpSpPr/>
        <p:nvPr/>
      </p:nvGrpSpPr>
      <p:grpSpPr>
        <a:xfrm>
          <a:off x="0" y="0"/>
          <a:ext cx="0" cy="0"/>
          <a:chOff x="0" y="0"/>
          <a:chExt cx="0" cy="0"/>
        </a:xfrm>
      </p:grpSpPr>
      <p:sp>
        <p:nvSpPr>
          <p:cNvPr id="6" name="Foliennummernplatzhalter"/>
          <p:cNvSpPr>
            <a:spLocks noGrp="1"/>
          </p:cNvSpPr>
          <p:nvPr>
            <p:ph type="sldNum" sz="quarter" idx="12"/>
          </p:nvPr>
        </p:nvSpPr>
        <p:spPr/>
        <p:txBody>
          <a:bodyPr/>
          <a:lstStyle/>
          <a:p>
            <a:fld id="{1FB8D038-2D38-4B10-A0EB-C05CC9130EB2}" type="slidenum">
              <a:rPr lang="de-DE" smtClean="0">
                <a:solidFill>
                  <a:srgbClr val="000000"/>
                </a:solidFill>
              </a:rPr>
              <a:pPr/>
              <a:t>‹#›</a:t>
            </a:fld>
            <a:endParaRPr lang="de-DE">
              <a:solidFill>
                <a:srgbClr val="000000"/>
              </a:solidFill>
            </a:endParaRPr>
          </a:p>
        </p:txBody>
      </p:sp>
      <p:sp>
        <p:nvSpPr>
          <p:cNvPr id="5" name="Fußzeilenplatzhalter"/>
          <p:cNvSpPr>
            <a:spLocks noGrp="1"/>
          </p:cNvSpPr>
          <p:nvPr>
            <p:ph type="ftr" sz="quarter" idx="11"/>
          </p:nvPr>
        </p:nvSpPr>
        <p:spPr/>
        <p:txBody>
          <a:bodyPr/>
          <a:lstStyle/>
          <a:p>
            <a:endParaRPr lang="de-DE">
              <a:solidFill>
                <a:srgbClr val="007FC3"/>
              </a:solidFill>
            </a:endParaRPr>
          </a:p>
        </p:txBody>
      </p:sp>
      <p:sp>
        <p:nvSpPr>
          <p:cNvPr id="4" name="Datumsplatzhalter"/>
          <p:cNvSpPr>
            <a:spLocks noGrp="1"/>
          </p:cNvSpPr>
          <p:nvPr>
            <p:ph type="dt" sz="half" idx="10"/>
          </p:nvPr>
        </p:nvSpPr>
        <p:spPr/>
        <p:txBody>
          <a:bodyPr/>
          <a:lstStyle/>
          <a:p>
            <a:endParaRPr lang="de-DE">
              <a:solidFill>
                <a:srgbClr val="000000"/>
              </a:solidFill>
            </a:endParaRPr>
          </a:p>
        </p:txBody>
      </p:sp>
      <p:sp>
        <p:nvSpPr>
          <p:cNvPr id="3" name="Inhaltsplatzhalter"/>
          <p:cNvSpPr>
            <a:spLocks noGrp="1"/>
          </p:cNvSpPr>
          <p:nvPr>
            <p:ph idx="1"/>
          </p:nvPr>
        </p:nvSpPr>
        <p:spPr>
          <a:xfrm>
            <a:off x="525600" y="944563"/>
            <a:ext cx="8856525" cy="5653087"/>
          </a:xfrm>
        </p:spPr>
        <p:txBody>
          <a:bodyPr vert="horz" lIns="0" tIns="144000" rIns="0" bIns="72000" rtlCol="0">
            <a:noAutofit/>
          </a:bodyPr>
          <a:lstStyle>
            <a:lvl1pPr>
              <a:defRPr lang="de-DE" dirty="0" smtClean="0"/>
            </a:lvl1pPr>
            <a:lvl2pPr>
              <a:defRPr lang="de-DE" dirty="0" smtClean="0"/>
            </a:lvl2pPr>
            <a:lvl3pPr>
              <a:defRPr lang="de-DE" dirty="0" smtClean="0"/>
            </a:lvl3pPr>
            <a:lvl4pPr>
              <a:defRPr lang="de-DE" dirty="0" smtClean="0"/>
            </a:lvl4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7" name="Subheadline"/>
          <p:cNvSpPr>
            <a:spLocks noGrp="1"/>
          </p:cNvSpPr>
          <p:nvPr>
            <p:ph type="body" idx="13" hasCustomPrompt="1"/>
          </p:nvPr>
        </p:nvSpPr>
        <p:spPr>
          <a:xfrm>
            <a:off x="525601" y="548680"/>
            <a:ext cx="7307124"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noProof="0" dirty="0" smtClean="0"/>
              <a:t>Subheadline 1-ZEILIG</a:t>
            </a:r>
          </a:p>
        </p:txBody>
      </p:sp>
      <p:sp>
        <p:nvSpPr>
          <p:cNvPr id="2" name="Titel"/>
          <p:cNvSpPr>
            <a:spLocks noGrp="1"/>
          </p:cNvSpPr>
          <p:nvPr>
            <p:ph type="title" hasCustomPrompt="1"/>
          </p:nvPr>
        </p:nvSpPr>
        <p:spPr>
          <a:xfrm>
            <a:off x="525601" y="288000"/>
            <a:ext cx="7307124" cy="260680"/>
          </a:xfrm>
        </p:spPr>
        <p:txBody>
          <a:bodyPr/>
          <a:lstStyle>
            <a:lvl1pPr>
              <a:defRPr baseline="0"/>
            </a:lvl1pPr>
          </a:lstStyle>
          <a:p>
            <a:r>
              <a:rPr lang="de-DE" dirty="0" err="1" smtClean="0"/>
              <a:t>folientitel</a:t>
            </a:r>
            <a:r>
              <a:rPr lang="de-DE" dirty="0" smtClean="0"/>
              <a:t> 1-ZEILIG</a:t>
            </a:r>
            <a:endParaRPr lang="de-DE" dirty="0"/>
          </a:p>
        </p:txBody>
      </p:sp>
    </p:spTree>
    <p:extLst>
      <p:ext uri="{BB962C8B-B14F-4D97-AF65-F5344CB8AC3E}">
        <p14:creationId xmlns:p14="http://schemas.microsoft.com/office/powerpoint/2010/main" val="2046075541"/>
      </p:ext>
    </p:extLst>
  </p:cSld>
  <p:clrMapOvr>
    <a:masterClrMapping/>
  </p:clrMapOvr>
  <p:transition>
    <p:zoom/>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nhalt + Titel 2-zeilig">
    <p:spTree>
      <p:nvGrpSpPr>
        <p:cNvPr id="1" name=""/>
        <p:cNvGrpSpPr/>
        <p:nvPr/>
      </p:nvGrpSpPr>
      <p:grpSpPr>
        <a:xfrm>
          <a:off x="0" y="0"/>
          <a:ext cx="0" cy="0"/>
          <a:chOff x="0" y="0"/>
          <a:chExt cx="0" cy="0"/>
        </a:xfrm>
      </p:grpSpPr>
      <p:sp>
        <p:nvSpPr>
          <p:cNvPr id="6" name="Foliennummernplatzhalter"/>
          <p:cNvSpPr>
            <a:spLocks noGrp="1"/>
          </p:cNvSpPr>
          <p:nvPr>
            <p:ph type="sldNum" sz="quarter" idx="12"/>
          </p:nvPr>
        </p:nvSpPr>
        <p:spPr/>
        <p:txBody>
          <a:bodyPr/>
          <a:lstStyle/>
          <a:p>
            <a:fld id="{1FB8D038-2D38-4B10-A0EB-C05CC9130EB2}" type="slidenum">
              <a:rPr lang="de-DE" smtClean="0">
                <a:solidFill>
                  <a:srgbClr val="000000"/>
                </a:solidFill>
              </a:rPr>
              <a:pPr/>
              <a:t>‹#›</a:t>
            </a:fld>
            <a:endParaRPr lang="de-DE">
              <a:solidFill>
                <a:srgbClr val="000000"/>
              </a:solidFill>
            </a:endParaRPr>
          </a:p>
        </p:txBody>
      </p:sp>
      <p:sp>
        <p:nvSpPr>
          <p:cNvPr id="5" name="Fußzeilenplatzhalter"/>
          <p:cNvSpPr>
            <a:spLocks noGrp="1"/>
          </p:cNvSpPr>
          <p:nvPr>
            <p:ph type="ftr" sz="quarter" idx="11"/>
          </p:nvPr>
        </p:nvSpPr>
        <p:spPr/>
        <p:txBody>
          <a:bodyPr/>
          <a:lstStyle/>
          <a:p>
            <a:endParaRPr lang="de-DE">
              <a:solidFill>
                <a:srgbClr val="007FC3"/>
              </a:solidFill>
            </a:endParaRPr>
          </a:p>
        </p:txBody>
      </p:sp>
      <p:sp>
        <p:nvSpPr>
          <p:cNvPr id="4" name="Datumsplatzhalter"/>
          <p:cNvSpPr>
            <a:spLocks noGrp="1"/>
          </p:cNvSpPr>
          <p:nvPr>
            <p:ph type="dt" sz="half" idx="10"/>
          </p:nvPr>
        </p:nvSpPr>
        <p:spPr/>
        <p:txBody>
          <a:bodyPr/>
          <a:lstStyle/>
          <a:p>
            <a:endParaRPr lang="de-DE">
              <a:solidFill>
                <a:srgbClr val="000000"/>
              </a:solidFill>
            </a:endParaRPr>
          </a:p>
        </p:txBody>
      </p:sp>
      <p:sp>
        <p:nvSpPr>
          <p:cNvPr id="3" name="Inhaltsplatzhalter"/>
          <p:cNvSpPr>
            <a:spLocks noGrp="1"/>
          </p:cNvSpPr>
          <p:nvPr>
            <p:ph idx="1"/>
          </p:nvPr>
        </p:nvSpPr>
        <p:spPr>
          <a:xfrm>
            <a:off x="525600" y="944563"/>
            <a:ext cx="8856000" cy="5653087"/>
          </a:xfrm>
        </p:spPr>
        <p:txBody>
          <a:bodyPr bIns="72000"/>
          <a:lstStyle>
            <a:lvl4pPr>
              <a:defRPr sz="1600"/>
            </a:lvl4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2" name="Titel"/>
          <p:cNvSpPr>
            <a:spLocks noGrp="1"/>
          </p:cNvSpPr>
          <p:nvPr>
            <p:ph type="title" hasCustomPrompt="1"/>
          </p:nvPr>
        </p:nvSpPr>
        <p:spPr>
          <a:xfrm>
            <a:off x="525600" y="288000"/>
            <a:ext cx="7308000" cy="612000"/>
          </a:xfrm>
        </p:spPr>
        <p:txBody>
          <a:bodyPr/>
          <a:lstStyle>
            <a:lvl1pPr>
              <a:defRPr baseline="0"/>
            </a:lvl1pPr>
          </a:lstStyle>
          <a:p>
            <a:r>
              <a:rPr lang="de-DE" dirty="0" smtClean="0"/>
              <a:t>FOLIENTITEL 2-ZEILIG</a:t>
            </a:r>
            <a:br>
              <a:rPr lang="de-DE" dirty="0" smtClean="0"/>
            </a:br>
            <a:r>
              <a:rPr lang="de-DE" dirty="0" smtClean="0"/>
              <a:t>OHNE Subheadline</a:t>
            </a:r>
            <a:endParaRPr lang="de-DE" dirty="0"/>
          </a:p>
        </p:txBody>
      </p:sp>
    </p:spTree>
    <p:extLst>
      <p:ext uri="{BB962C8B-B14F-4D97-AF65-F5344CB8AC3E}">
        <p14:creationId xmlns:p14="http://schemas.microsoft.com/office/powerpoint/2010/main" val="2416998769"/>
      </p:ext>
    </p:extLst>
  </p:cSld>
  <p:clrMapOvr>
    <a:masterClrMapping/>
  </p:clrMapOvr>
  <p:transition>
    <p:zoom/>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nhalt links Bild rechts">
    <p:spTree>
      <p:nvGrpSpPr>
        <p:cNvPr id="1" name=""/>
        <p:cNvGrpSpPr/>
        <p:nvPr/>
      </p:nvGrpSpPr>
      <p:grpSpPr>
        <a:xfrm>
          <a:off x="0" y="0"/>
          <a:ext cx="0" cy="0"/>
          <a:chOff x="0" y="0"/>
          <a:chExt cx="0" cy="0"/>
        </a:xfrm>
      </p:grpSpPr>
      <p:sp>
        <p:nvSpPr>
          <p:cNvPr id="6" name="Foliennummernplatzhalter"/>
          <p:cNvSpPr>
            <a:spLocks noGrp="1"/>
          </p:cNvSpPr>
          <p:nvPr>
            <p:ph type="sldNum" sz="quarter" idx="12"/>
          </p:nvPr>
        </p:nvSpPr>
        <p:spPr/>
        <p:txBody>
          <a:bodyPr/>
          <a:lstStyle/>
          <a:p>
            <a:fld id="{1FB8D038-2D38-4B10-A0EB-C05CC9130EB2}" type="slidenum">
              <a:rPr lang="de-DE" smtClean="0">
                <a:solidFill>
                  <a:srgbClr val="000000"/>
                </a:solidFill>
              </a:rPr>
              <a:pPr/>
              <a:t>‹#›</a:t>
            </a:fld>
            <a:endParaRPr lang="de-DE">
              <a:solidFill>
                <a:srgbClr val="000000"/>
              </a:solidFill>
            </a:endParaRPr>
          </a:p>
        </p:txBody>
      </p:sp>
      <p:sp>
        <p:nvSpPr>
          <p:cNvPr id="5" name="Fußzeilenplatzhalter"/>
          <p:cNvSpPr>
            <a:spLocks noGrp="1"/>
          </p:cNvSpPr>
          <p:nvPr>
            <p:ph type="ftr" sz="quarter" idx="11"/>
          </p:nvPr>
        </p:nvSpPr>
        <p:spPr/>
        <p:txBody>
          <a:bodyPr/>
          <a:lstStyle/>
          <a:p>
            <a:endParaRPr lang="de-DE">
              <a:solidFill>
                <a:srgbClr val="007FC3"/>
              </a:solidFill>
            </a:endParaRPr>
          </a:p>
        </p:txBody>
      </p:sp>
      <p:sp>
        <p:nvSpPr>
          <p:cNvPr id="4" name="Datumsplatzhalter"/>
          <p:cNvSpPr>
            <a:spLocks noGrp="1"/>
          </p:cNvSpPr>
          <p:nvPr>
            <p:ph type="dt" sz="half" idx="10"/>
          </p:nvPr>
        </p:nvSpPr>
        <p:spPr/>
        <p:txBody>
          <a:bodyPr/>
          <a:lstStyle/>
          <a:p>
            <a:endParaRPr lang="de-DE">
              <a:solidFill>
                <a:srgbClr val="000000"/>
              </a:solidFill>
            </a:endParaRPr>
          </a:p>
        </p:txBody>
      </p:sp>
      <p:sp>
        <p:nvSpPr>
          <p:cNvPr id="9" name="Bildplatzhalter"/>
          <p:cNvSpPr>
            <a:spLocks noGrp="1"/>
          </p:cNvSpPr>
          <p:nvPr>
            <p:ph type="pic" sz="quarter" idx="14"/>
          </p:nvPr>
        </p:nvSpPr>
        <p:spPr>
          <a:xfrm>
            <a:off x="5030389" y="944563"/>
            <a:ext cx="4351103" cy="5653087"/>
          </a:xfrm>
        </p:spPr>
        <p:txBody>
          <a:bodyPr lIns="0" tIns="180000" rIns="0" bIns="180000"/>
          <a:lstStyle>
            <a:lvl1pPr marL="0" indent="0">
              <a:buFontTx/>
              <a:buNone/>
              <a:defRPr sz="1600">
                <a:solidFill>
                  <a:schemeClr val="accent2"/>
                </a:solidFill>
              </a:defRPr>
            </a:lvl1pPr>
          </a:lstStyle>
          <a:p>
            <a:r>
              <a:rPr lang="de-DE" smtClean="0"/>
              <a:t>Bild durch Klicken auf Symbol hinzufügen</a:t>
            </a:r>
            <a:endParaRPr lang="de-DE" dirty="0"/>
          </a:p>
        </p:txBody>
      </p:sp>
      <p:sp>
        <p:nvSpPr>
          <p:cNvPr id="3" name="Inhaltsplatzhalter"/>
          <p:cNvSpPr>
            <a:spLocks noGrp="1"/>
          </p:cNvSpPr>
          <p:nvPr>
            <p:ph idx="1"/>
          </p:nvPr>
        </p:nvSpPr>
        <p:spPr>
          <a:xfrm>
            <a:off x="525600" y="944563"/>
            <a:ext cx="4349400" cy="5653087"/>
          </a:xfrm>
        </p:spPr>
        <p:txBody>
          <a:bodyPr bIns="72000"/>
          <a:lstStyle/>
          <a:p>
            <a:pPr lvl="0"/>
            <a:r>
              <a:rPr lang="de-DE" smtClean="0"/>
              <a:t>Textmasterformat bearbeiten</a:t>
            </a:r>
          </a:p>
          <a:p>
            <a:pPr lvl="1"/>
            <a:r>
              <a:rPr lang="de-DE" smtClean="0"/>
              <a:t>Zweite Ebene</a:t>
            </a:r>
          </a:p>
          <a:p>
            <a:pPr lvl="2"/>
            <a:r>
              <a:rPr lang="de-DE" smtClean="0"/>
              <a:t>Dritte Ebene</a:t>
            </a:r>
          </a:p>
        </p:txBody>
      </p:sp>
      <p:sp>
        <p:nvSpPr>
          <p:cNvPr id="11"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ubheadline 1-ZEILIG</a:t>
            </a:r>
          </a:p>
        </p:txBody>
      </p:sp>
      <p:sp>
        <p:nvSpPr>
          <p:cNvPr id="10" name="Titel"/>
          <p:cNvSpPr>
            <a:spLocks noGrp="1"/>
          </p:cNvSpPr>
          <p:nvPr>
            <p:ph type="title" hasCustomPrompt="1"/>
          </p:nvPr>
        </p:nvSpPr>
        <p:spPr>
          <a:xfrm>
            <a:off x="525600" y="288000"/>
            <a:ext cx="7308000" cy="260680"/>
          </a:xfrm>
        </p:spPr>
        <p:txBody>
          <a:bodyPr/>
          <a:lstStyle>
            <a:lvl1pPr>
              <a:defRPr baseline="0"/>
            </a:lvl1pPr>
          </a:lstStyle>
          <a:p>
            <a:r>
              <a:rPr lang="de-DE" dirty="0" err="1" smtClean="0"/>
              <a:t>folientitel</a:t>
            </a:r>
            <a:r>
              <a:rPr lang="de-DE" dirty="0" smtClean="0"/>
              <a:t> 1-ZEILIG</a:t>
            </a:r>
            <a:endParaRPr lang="de-DE" dirty="0"/>
          </a:p>
        </p:txBody>
      </p:sp>
    </p:spTree>
    <p:extLst>
      <p:ext uri="{BB962C8B-B14F-4D97-AF65-F5344CB8AC3E}">
        <p14:creationId xmlns:p14="http://schemas.microsoft.com/office/powerpoint/2010/main" val="3592499665"/>
      </p:ext>
    </p:extLst>
  </p:cSld>
  <p:clrMapOvr>
    <a:masterClrMapping/>
  </p:clrMapOvr>
  <p:transition>
    <p:zoom/>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ld links Inhalt rechts">
    <p:spTree>
      <p:nvGrpSpPr>
        <p:cNvPr id="1" name=""/>
        <p:cNvGrpSpPr/>
        <p:nvPr/>
      </p:nvGrpSpPr>
      <p:grpSpPr>
        <a:xfrm>
          <a:off x="0" y="0"/>
          <a:ext cx="0" cy="0"/>
          <a:chOff x="0" y="0"/>
          <a:chExt cx="0" cy="0"/>
        </a:xfrm>
      </p:grpSpPr>
      <p:sp>
        <p:nvSpPr>
          <p:cNvPr id="6" name="Foliennummernplatzhalter"/>
          <p:cNvSpPr>
            <a:spLocks noGrp="1"/>
          </p:cNvSpPr>
          <p:nvPr>
            <p:ph type="sldNum" sz="quarter" idx="12"/>
          </p:nvPr>
        </p:nvSpPr>
        <p:spPr/>
        <p:txBody>
          <a:bodyPr/>
          <a:lstStyle/>
          <a:p>
            <a:fld id="{1FB8D038-2D38-4B10-A0EB-C05CC9130EB2}" type="slidenum">
              <a:rPr lang="de-DE" smtClean="0">
                <a:solidFill>
                  <a:srgbClr val="000000"/>
                </a:solidFill>
              </a:rPr>
              <a:pPr/>
              <a:t>‹#›</a:t>
            </a:fld>
            <a:endParaRPr lang="de-DE">
              <a:solidFill>
                <a:srgbClr val="000000"/>
              </a:solidFill>
            </a:endParaRPr>
          </a:p>
        </p:txBody>
      </p:sp>
      <p:sp>
        <p:nvSpPr>
          <p:cNvPr id="5" name="Fußzeilenplatzhalter"/>
          <p:cNvSpPr>
            <a:spLocks noGrp="1"/>
          </p:cNvSpPr>
          <p:nvPr>
            <p:ph type="ftr" sz="quarter" idx="11"/>
          </p:nvPr>
        </p:nvSpPr>
        <p:spPr/>
        <p:txBody>
          <a:bodyPr/>
          <a:lstStyle/>
          <a:p>
            <a:endParaRPr lang="de-DE">
              <a:solidFill>
                <a:srgbClr val="007FC3"/>
              </a:solidFill>
            </a:endParaRPr>
          </a:p>
        </p:txBody>
      </p:sp>
      <p:sp>
        <p:nvSpPr>
          <p:cNvPr id="4" name="Datumsplatzhalter"/>
          <p:cNvSpPr>
            <a:spLocks noGrp="1"/>
          </p:cNvSpPr>
          <p:nvPr>
            <p:ph type="dt" sz="half" idx="10"/>
          </p:nvPr>
        </p:nvSpPr>
        <p:spPr/>
        <p:txBody>
          <a:bodyPr/>
          <a:lstStyle/>
          <a:p>
            <a:endParaRPr lang="de-DE">
              <a:solidFill>
                <a:srgbClr val="000000"/>
              </a:solidFill>
            </a:endParaRPr>
          </a:p>
        </p:txBody>
      </p:sp>
      <p:sp>
        <p:nvSpPr>
          <p:cNvPr id="3" name="Inhaltsplatzhalter"/>
          <p:cNvSpPr>
            <a:spLocks noGrp="1"/>
          </p:cNvSpPr>
          <p:nvPr>
            <p:ph idx="1"/>
          </p:nvPr>
        </p:nvSpPr>
        <p:spPr>
          <a:xfrm>
            <a:off x="5030999" y="944563"/>
            <a:ext cx="4350493" cy="5653087"/>
          </a:xfrm>
        </p:spPr>
        <p:txBody>
          <a:bodyPr bIns="72000"/>
          <a:lstStyle/>
          <a:p>
            <a:pPr lvl="0"/>
            <a:r>
              <a:rPr lang="de-DE" smtClean="0"/>
              <a:t>Textmasterformat bearbeiten</a:t>
            </a:r>
          </a:p>
          <a:p>
            <a:pPr lvl="1"/>
            <a:r>
              <a:rPr lang="de-DE" smtClean="0"/>
              <a:t>Zweite Ebene</a:t>
            </a:r>
          </a:p>
          <a:p>
            <a:pPr lvl="2"/>
            <a:r>
              <a:rPr lang="de-DE" smtClean="0"/>
              <a:t>Dritte Ebene</a:t>
            </a:r>
          </a:p>
        </p:txBody>
      </p:sp>
      <p:sp>
        <p:nvSpPr>
          <p:cNvPr id="9" name="Bildplatzhalter"/>
          <p:cNvSpPr>
            <a:spLocks noGrp="1"/>
          </p:cNvSpPr>
          <p:nvPr>
            <p:ph type="pic" sz="quarter" idx="14"/>
          </p:nvPr>
        </p:nvSpPr>
        <p:spPr>
          <a:xfrm>
            <a:off x="525600" y="944563"/>
            <a:ext cx="4349400" cy="5653087"/>
          </a:xfrm>
        </p:spPr>
        <p:txBody>
          <a:bodyPr lIns="0" tIns="180000" rIns="0" bIns="180000"/>
          <a:lstStyle>
            <a:lvl1pPr marL="0" indent="0">
              <a:buFontTx/>
              <a:buNone/>
              <a:defRPr sz="1600">
                <a:solidFill>
                  <a:schemeClr val="accent2"/>
                </a:solidFill>
              </a:defRPr>
            </a:lvl1pPr>
          </a:lstStyle>
          <a:p>
            <a:r>
              <a:rPr lang="de-DE" smtClean="0"/>
              <a:t>Bild durch Klicken auf Symbol hinzufügen</a:t>
            </a:r>
            <a:endParaRPr lang="de-DE" dirty="0"/>
          </a:p>
        </p:txBody>
      </p:sp>
      <p:sp>
        <p:nvSpPr>
          <p:cNvPr id="11"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ubheadline 1-ZEILIG</a:t>
            </a:r>
          </a:p>
        </p:txBody>
      </p:sp>
      <p:sp>
        <p:nvSpPr>
          <p:cNvPr id="10" name="Titel"/>
          <p:cNvSpPr>
            <a:spLocks noGrp="1"/>
          </p:cNvSpPr>
          <p:nvPr>
            <p:ph type="title" hasCustomPrompt="1"/>
          </p:nvPr>
        </p:nvSpPr>
        <p:spPr>
          <a:xfrm>
            <a:off x="525600" y="288000"/>
            <a:ext cx="7308000" cy="260680"/>
          </a:xfrm>
        </p:spPr>
        <p:txBody>
          <a:bodyPr/>
          <a:lstStyle>
            <a:lvl1pPr>
              <a:defRPr baseline="0"/>
            </a:lvl1pPr>
          </a:lstStyle>
          <a:p>
            <a:r>
              <a:rPr lang="de-DE" dirty="0" err="1" smtClean="0"/>
              <a:t>folientitel</a:t>
            </a:r>
            <a:r>
              <a:rPr lang="de-DE" dirty="0" smtClean="0"/>
              <a:t> 1-ZEILIG</a:t>
            </a:r>
            <a:endParaRPr lang="de-DE" dirty="0"/>
          </a:p>
        </p:txBody>
      </p:sp>
    </p:spTree>
    <p:extLst>
      <p:ext uri="{BB962C8B-B14F-4D97-AF65-F5344CB8AC3E}">
        <p14:creationId xmlns:p14="http://schemas.microsoft.com/office/powerpoint/2010/main" val="371406233"/>
      </p:ext>
    </p:extLst>
  </p:cSld>
  <p:clrMapOvr>
    <a:masterClrMapping/>
  </p:clrMapOvr>
  <p:transition>
    <p:zoom/>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halt 2-spaltig">
    <p:spTree>
      <p:nvGrpSpPr>
        <p:cNvPr id="1" name=""/>
        <p:cNvGrpSpPr/>
        <p:nvPr/>
      </p:nvGrpSpPr>
      <p:grpSpPr>
        <a:xfrm>
          <a:off x="0" y="0"/>
          <a:ext cx="0" cy="0"/>
          <a:chOff x="0" y="0"/>
          <a:chExt cx="0" cy="0"/>
        </a:xfrm>
      </p:grpSpPr>
      <p:sp>
        <p:nvSpPr>
          <p:cNvPr id="7" name="Foliennummernplatzhalter"/>
          <p:cNvSpPr>
            <a:spLocks noGrp="1"/>
          </p:cNvSpPr>
          <p:nvPr>
            <p:ph type="sldNum" sz="quarter" idx="12"/>
          </p:nvPr>
        </p:nvSpPr>
        <p:spPr/>
        <p:txBody>
          <a:bodyPr/>
          <a:lstStyle/>
          <a:p>
            <a:fld id="{1FB8D038-2D38-4B10-A0EB-C05CC9130EB2}" type="slidenum">
              <a:rPr lang="de-DE" smtClean="0">
                <a:solidFill>
                  <a:srgbClr val="000000"/>
                </a:solidFill>
              </a:rPr>
              <a:pPr/>
              <a:t>‹#›</a:t>
            </a:fld>
            <a:endParaRPr lang="de-DE">
              <a:solidFill>
                <a:srgbClr val="000000"/>
              </a:solidFill>
            </a:endParaRPr>
          </a:p>
        </p:txBody>
      </p:sp>
      <p:sp>
        <p:nvSpPr>
          <p:cNvPr id="6" name="Fußzeilenplatzhalter"/>
          <p:cNvSpPr>
            <a:spLocks noGrp="1"/>
          </p:cNvSpPr>
          <p:nvPr>
            <p:ph type="ftr" sz="quarter" idx="11"/>
          </p:nvPr>
        </p:nvSpPr>
        <p:spPr/>
        <p:txBody>
          <a:bodyPr/>
          <a:lstStyle/>
          <a:p>
            <a:endParaRPr lang="de-DE">
              <a:solidFill>
                <a:srgbClr val="007FC3"/>
              </a:solidFill>
            </a:endParaRPr>
          </a:p>
        </p:txBody>
      </p:sp>
      <p:sp>
        <p:nvSpPr>
          <p:cNvPr id="5" name="Datumsplatzhalter"/>
          <p:cNvSpPr>
            <a:spLocks noGrp="1"/>
          </p:cNvSpPr>
          <p:nvPr>
            <p:ph type="dt" sz="half" idx="10"/>
          </p:nvPr>
        </p:nvSpPr>
        <p:spPr/>
        <p:txBody>
          <a:bodyPr/>
          <a:lstStyle/>
          <a:p>
            <a:endParaRPr lang="de-DE">
              <a:solidFill>
                <a:srgbClr val="000000"/>
              </a:solidFill>
            </a:endParaRPr>
          </a:p>
        </p:txBody>
      </p:sp>
      <p:sp>
        <p:nvSpPr>
          <p:cNvPr id="4" name="Inhaltsplatzhalter 2"/>
          <p:cNvSpPr>
            <a:spLocks noGrp="1"/>
          </p:cNvSpPr>
          <p:nvPr>
            <p:ph sz="half" idx="2"/>
          </p:nvPr>
        </p:nvSpPr>
        <p:spPr>
          <a:xfrm>
            <a:off x="5031000" y="1304764"/>
            <a:ext cx="4351126"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3" name="Inhaltsplatzhalter 1"/>
          <p:cNvSpPr>
            <a:spLocks noGrp="1"/>
          </p:cNvSpPr>
          <p:nvPr>
            <p:ph sz="half" idx="1"/>
          </p:nvPr>
        </p:nvSpPr>
        <p:spPr>
          <a:xfrm>
            <a:off x="523874" y="1304764"/>
            <a:ext cx="4351125"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13" name="Spaltenüberschrift 2"/>
          <p:cNvSpPr>
            <a:spLocks noGrp="1"/>
          </p:cNvSpPr>
          <p:nvPr>
            <p:ph type="body" idx="16" hasCustomPrompt="1"/>
          </p:nvPr>
        </p:nvSpPr>
        <p:spPr>
          <a:xfrm>
            <a:off x="5030999" y="900000"/>
            <a:ext cx="4351127"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paltenüberschrift</a:t>
            </a:r>
          </a:p>
        </p:txBody>
      </p:sp>
      <p:sp>
        <p:nvSpPr>
          <p:cNvPr id="9" name="Spaltenüberschrift 1"/>
          <p:cNvSpPr>
            <a:spLocks noGrp="1"/>
          </p:cNvSpPr>
          <p:nvPr>
            <p:ph type="body" idx="14" hasCustomPrompt="1"/>
          </p:nvPr>
        </p:nvSpPr>
        <p:spPr>
          <a:xfrm>
            <a:off x="523873" y="900000"/>
            <a:ext cx="4350355"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paltenüberschrift</a:t>
            </a:r>
          </a:p>
        </p:txBody>
      </p:sp>
      <p:cxnSp>
        <p:nvCxnSpPr>
          <p:cNvPr id="12" name="Trennstrich Spaltenüberschrift"/>
          <p:cNvCxnSpPr/>
          <p:nvPr userDrawn="1"/>
        </p:nvCxnSpPr>
        <p:spPr>
          <a:xfrm>
            <a:off x="0" y="1260000"/>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6"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ubheadline 1-ZEILIG</a:t>
            </a:r>
          </a:p>
        </p:txBody>
      </p:sp>
      <p:sp>
        <p:nvSpPr>
          <p:cNvPr id="15" name="Titel"/>
          <p:cNvSpPr>
            <a:spLocks noGrp="1"/>
          </p:cNvSpPr>
          <p:nvPr>
            <p:ph type="title" hasCustomPrompt="1"/>
          </p:nvPr>
        </p:nvSpPr>
        <p:spPr>
          <a:xfrm>
            <a:off x="525600" y="288000"/>
            <a:ext cx="7308000" cy="260680"/>
          </a:xfrm>
        </p:spPr>
        <p:txBody>
          <a:bodyPr/>
          <a:lstStyle>
            <a:lvl1pPr>
              <a:defRPr baseline="0"/>
            </a:lvl1pPr>
          </a:lstStyle>
          <a:p>
            <a:r>
              <a:rPr lang="de-DE" dirty="0" err="1" smtClean="0"/>
              <a:t>folientitel</a:t>
            </a:r>
            <a:r>
              <a:rPr lang="de-DE" dirty="0" smtClean="0"/>
              <a:t> 1-ZEILIG</a:t>
            </a:r>
            <a:endParaRPr lang="de-DE" dirty="0"/>
          </a:p>
        </p:txBody>
      </p:sp>
    </p:spTree>
    <p:extLst>
      <p:ext uri="{BB962C8B-B14F-4D97-AF65-F5344CB8AC3E}">
        <p14:creationId xmlns:p14="http://schemas.microsoft.com/office/powerpoint/2010/main" val="3040246394"/>
      </p:ext>
    </p:extLst>
  </p:cSld>
  <p:clrMapOvr>
    <a:masterClrMapping/>
  </p:clrMapOvr>
  <p:transition>
    <p:zoom/>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nhalt 3-spaltig">
    <p:spTree>
      <p:nvGrpSpPr>
        <p:cNvPr id="1" name=""/>
        <p:cNvGrpSpPr/>
        <p:nvPr/>
      </p:nvGrpSpPr>
      <p:grpSpPr>
        <a:xfrm>
          <a:off x="0" y="0"/>
          <a:ext cx="0" cy="0"/>
          <a:chOff x="0" y="0"/>
          <a:chExt cx="0" cy="0"/>
        </a:xfrm>
      </p:grpSpPr>
      <p:sp>
        <p:nvSpPr>
          <p:cNvPr id="7" name="Foliennummernplatzhalter"/>
          <p:cNvSpPr>
            <a:spLocks noGrp="1"/>
          </p:cNvSpPr>
          <p:nvPr>
            <p:ph type="sldNum" sz="quarter" idx="12"/>
          </p:nvPr>
        </p:nvSpPr>
        <p:spPr/>
        <p:txBody>
          <a:bodyPr/>
          <a:lstStyle/>
          <a:p>
            <a:fld id="{1FB8D038-2D38-4B10-A0EB-C05CC9130EB2}" type="slidenum">
              <a:rPr lang="de-DE" smtClean="0">
                <a:solidFill>
                  <a:srgbClr val="000000"/>
                </a:solidFill>
              </a:rPr>
              <a:pPr/>
              <a:t>‹#›</a:t>
            </a:fld>
            <a:endParaRPr lang="de-DE">
              <a:solidFill>
                <a:srgbClr val="000000"/>
              </a:solidFill>
            </a:endParaRPr>
          </a:p>
        </p:txBody>
      </p:sp>
      <p:sp>
        <p:nvSpPr>
          <p:cNvPr id="6" name="Fußzeilenplatzhalter"/>
          <p:cNvSpPr>
            <a:spLocks noGrp="1"/>
          </p:cNvSpPr>
          <p:nvPr>
            <p:ph type="ftr" sz="quarter" idx="11"/>
          </p:nvPr>
        </p:nvSpPr>
        <p:spPr/>
        <p:txBody>
          <a:bodyPr/>
          <a:lstStyle/>
          <a:p>
            <a:endParaRPr lang="de-DE">
              <a:solidFill>
                <a:srgbClr val="007FC3"/>
              </a:solidFill>
            </a:endParaRPr>
          </a:p>
        </p:txBody>
      </p:sp>
      <p:sp>
        <p:nvSpPr>
          <p:cNvPr id="5" name="Datumsplatzhalter"/>
          <p:cNvSpPr>
            <a:spLocks noGrp="1"/>
          </p:cNvSpPr>
          <p:nvPr>
            <p:ph type="dt" sz="half" idx="10"/>
          </p:nvPr>
        </p:nvSpPr>
        <p:spPr/>
        <p:txBody>
          <a:bodyPr/>
          <a:lstStyle/>
          <a:p>
            <a:endParaRPr lang="de-DE">
              <a:solidFill>
                <a:srgbClr val="000000"/>
              </a:solidFill>
            </a:endParaRPr>
          </a:p>
        </p:txBody>
      </p:sp>
      <p:sp>
        <p:nvSpPr>
          <p:cNvPr id="12" name="Inhaltsplatzhalter 3"/>
          <p:cNvSpPr>
            <a:spLocks noGrp="1"/>
          </p:cNvSpPr>
          <p:nvPr>
            <p:ph sz="half" idx="15"/>
          </p:nvPr>
        </p:nvSpPr>
        <p:spPr>
          <a:xfrm>
            <a:off x="6501172" y="1304764"/>
            <a:ext cx="2880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4" name="Inhaltsplatzhalter 2"/>
          <p:cNvSpPr>
            <a:spLocks noGrp="1"/>
          </p:cNvSpPr>
          <p:nvPr>
            <p:ph sz="half" idx="2"/>
          </p:nvPr>
        </p:nvSpPr>
        <p:spPr>
          <a:xfrm>
            <a:off x="3513000" y="1304764"/>
            <a:ext cx="2880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3" name="Inhaltsplatzhalter 1"/>
          <p:cNvSpPr>
            <a:spLocks noGrp="1"/>
          </p:cNvSpPr>
          <p:nvPr>
            <p:ph sz="half" idx="1"/>
          </p:nvPr>
        </p:nvSpPr>
        <p:spPr>
          <a:xfrm>
            <a:off x="523874" y="1304764"/>
            <a:ext cx="2880049"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14" name="Spaltenüberschrift 3"/>
          <p:cNvSpPr>
            <a:spLocks noGrp="1"/>
          </p:cNvSpPr>
          <p:nvPr>
            <p:ph type="body" idx="17" hasCustomPrompt="1"/>
          </p:nvPr>
        </p:nvSpPr>
        <p:spPr>
          <a:xfrm>
            <a:off x="6501172" y="900000"/>
            <a:ext cx="2880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paltenüberschrift</a:t>
            </a:r>
          </a:p>
        </p:txBody>
      </p:sp>
      <p:sp>
        <p:nvSpPr>
          <p:cNvPr id="13" name="Spaltenüberschrift 2"/>
          <p:cNvSpPr>
            <a:spLocks noGrp="1"/>
          </p:cNvSpPr>
          <p:nvPr>
            <p:ph type="body" idx="16" hasCustomPrompt="1"/>
          </p:nvPr>
        </p:nvSpPr>
        <p:spPr>
          <a:xfrm>
            <a:off x="3513000" y="900000"/>
            <a:ext cx="2880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paltenüberschrift</a:t>
            </a:r>
          </a:p>
        </p:txBody>
      </p:sp>
      <p:sp>
        <p:nvSpPr>
          <p:cNvPr id="9" name="Spaltenüberschrift 1"/>
          <p:cNvSpPr>
            <a:spLocks noGrp="1"/>
          </p:cNvSpPr>
          <p:nvPr>
            <p:ph type="body" idx="14" hasCustomPrompt="1"/>
          </p:nvPr>
        </p:nvSpPr>
        <p:spPr>
          <a:xfrm>
            <a:off x="523923" y="900000"/>
            <a:ext cx="2880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paltenüberschrift</a:t>
            </a:r>
          </a:p>
        </p:txBody>
      </p:sp>
      <p:cxnSp>
        <p:nvCxnSpPr>
          <p:cNvPr id="15" name="Trennlinie Spaltenüberschrift"/>
          <p:cNvCxnSpPr/>
          <p:nvPr userDrawn="1"/>
        </p:nvCxnSpPr>
        <p:spPr>
          <a:xfrm>
            <a:off x="0" y="1260000"/>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9"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ubheadline 1-ZEILIG</a:t>
            </a:r>
          </a:p>
        </p:txBody>
      </p:sp>
      <p:sp>
        <p:nvSpPr>
          <p:cNvPr id="18" name="Titel"/>
          <p:cNvSpPr>
            <a:spLocks noGrp="1"/>
          </p:cNvSpPr>
          <p:nvPr>
            <p:ph type="title" hasCustomPrompt="1"/>
          </p:nvPr>
        </p:nvSpPr>
        <p:spPr>
          <a:xfrm>
            <a:off x="525600" y="288000"/>
            <a:ext cx="7308000" cy="260680"/>
          </a:xfrm>
        </p:spPr>
        <p:txBody>
          <a:bodyPr/>
          <a:lstStyle>
            <a:lvl1pPr>
              <a:defRPr baseline="0"/>
            </a:lvl1pPr>
          </a:lstStyle>
          <a:p>
            <a:r>
              <a:rPr lang="de-DE" dirty="0" err="1" smtClean="0"/>
              <a:t>folientitel</a:t>
            </a:r>
            <a:r>
              <a:rPr lang="de-DE" dirty="0" smtClean="0"/>
              <a:t> 1-ZEILIG</a:t>
            </a:r>
            <a:endParaRPr lang="de-DE" dirty="0"/>
          </a:p>
        </p:txBody>
      </p:sp>
    </p:spTree>
    <p:extLst>
      <p:ext uri="{BB962C8B-B14F-4D97-AF65-F5344CB8AC3E}">
        <p14:creationId xmlns:p14="http://schemas.microsoft.com/office/powerpoint/2010/main" val="4029868202"/>
      </p:ext>
    </p:extLst>
  </p:cSld>
  <p:clrMapOvr>
    <a:masterClrMapping/>
  </p:clrMapOvr>
  <p:transition>
    <p:zoom/>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nhalt 3-spaltig mit Bildern">
    <p:spTree>
      <p:nvGrpSpPr>
        <p:cNvPr id="1" name=""/>
        <p:cNvGrpSpPr/>
        <p:nvPr/>
      </p:nvGrpSpPr>
      <p:grpSpPr>
        <a:xfrm>
          <a:off x="0" y="0"/>
          <a:ext cx="0" cy="0"/>
          <a:chOff x="0" y="0"/>
          <a:chExt cx="0" cy="0"/>
        </a:xfrm>
      </p:grpSpPr>
      <p:sp>
        <p:nvSpPr>
          <p:cNvPr id="7" name="Foliennummernplatzhalter"/>
          <p:cNvSpPr>
            <a:spLocks noGrp="1"/>
          </p:cNvSpPr>
          <p:nvPr>
            <p:ph type="sldNum" sz="quarter" idx="12"/>
          </p:nvPr>
        </p:nvSpPr>
        <p:spPr/>
        <p:txBody>
          <a:bodyPr/>
          <a:lstStyle/>
          <a:p>
            <a:fld id="{1FB8D038-2D38-4B10-A0EB-C05CC9130EB2}" type="slidenum">
              <a:rPr lang="de-DE" smtClean="0">
                <a:solidFill>
                  <a:srgbClr val="000000"/>
                </a:solidFill>
              </a:rPr>
              <a:pPr/>
              <a:t>‹#›</a:t>
            </a:fld>
            <a:endParaRPr lang="de-DE">
              <a:solidFill>
                <a:srgbClr val="000000"/>
              </a:solidFill>
            </a:endParaRPr>
          </a:p>
        </p:txBody>
      </p:sp>
      <p:sp>
        <p:nvSpPr>
          <p:cNvPr id="6" name="Fußzeilenplatzhalter"/>
          <p:cNvSpPr>
            <a:spLocks noGrp="1"/>
          </p:cNvSpPr>
          <p:nvPr>
            <p:ph type="ftr" sz="quarter" idx="11"/>
          </p:nvPr>
        </p:nvSpPr>
        <p:spPr/>
        <p:txBody>
          <a:bodyPr/>
          <a:lstStyle/>
          <a:p>
            <a:endParaRPr lang="de-DE">
              <a:solidFill>
                <a:srgbClr val="007FC3"/>
              </a:solidFill>
            </a:endParaRPr>
          </a:p>
        </p:txBody>
      </p:sp>
      <p:sp>
        <p:nvSpPr>
          <p:cNvPr id="5" name="Datumsplatzhalter"/>
          <p:cNvSpPr>
            <a:spLocks noGrp="1"/>
          </p:cNvSpPr>
          <p:nvPr>
            <p:ph type="dt" sz="half" idx="10"/>
          </p:nvPr>
        </p:nvSpPr>
        <p:spPr/>
        <p:txBody>
          <a:bodyPr/>
          <a:lstStyle/>
          <a:p>
            <a:endParaRPr lang="de-DE">
              <a:solidFill>
                <a:srgbClr val="000000"/>
              </a:solidFill>
            </a:endParaRPr>
          </a:p>
        </p:txBody>
      </p:sp>
      <p:sp>
        <p:nvSpPr>
          <p:cNvPr id="17" name="Bildplatzhalter 3"/>
          <p:cNvSpPr>
            <a:spLocks noGrp="1"/>
          </p:cNvSpPr>
          <p:nvPr>
            <p:ph type="pic" sz="quarter" idx="20"/>
          </p:nvPr>
        </p:nvSpPr>
        <p:spPr>
          <a:xfrm>
            <a:off x="6501172" y="4748975"/>
            <a:ext cx="2880000" cy="1800000"/>
          </a:xfrm>
        </p:spPr>
        <p:txBody>
          <a:bodyPr lIns="0" tIns="180000" rIns="0" bIns="180000"/>
          <a:lstStyle>
            <a:lvl1pPr marL="0" indent="0">
              <a:buFontTx/>
              <a:buNone/>
              <a:defRPr sz="1400">
                <a:solidFill>
                  <a:schemeClr val="accent2"/>
                </a:solidFill>
              </a:defRPr>
            </a:lvl1pPr>
          </a:lstStyle>
          <a:p>
            <a:r>
              <a:rPr lang="de-DE" smtClean="0"/>
              <a:t>Bild durch Klicken auf Symbol hinzufügen</a:t>
            </a:r>
            <a:endParaRPr lang="de-DE" dirty="0"/>
          </a:p>
        </p:txBody>
      </p:sp>
      <p:sp>
        <p:nvSpPr>
          <p:cNvPr id="16" name="Bildplatzhalter 2"/>
          <p:cNvSpPr>
            <a:spLocks noGrp="1"/>
          </p:cNvSpPr>
          <p:nvPr>
            <p:ph type="pic" sz="quarter" idx="19"/>
          </p:nvPr>
        </p:nvSpPr>
        <p:spPr>
          <a:xfrm>
            <a:off x="3513001" y="4748975"/>
            <a:ext cx="2880000" cy="1800000"/>
          </a:xfrm>
        </p:spPr>
        <p:txBody>
          <a:bodyPr lIns="0" tIns="180000" rIns="0" bIns="180000"/>
          <a:lstStyle>
            <a:lvl1pPr marL="0" indent="0">
              <a:buFontTx/>
              <a:buNone/>
              <a:defRPr sz="1400">
                <a:solidFill>
                  <a:schemeClr val="accent2"/>
                </a:solidFill>
              </a:defRPr>
            </a:lvl1pPr>
          </a:lstStyle>
          <a:p>
            <a:r>
              <a:rPr lang="de-DE" smtClean="0"/>
              <a:t>Bild durch Klicken auf Symbol hinzufügen</a:t>
            </a:r>
            <a:endParaRPr lang="de-DE" dirty="0"/>
          </a:p>
        </p:txBody>
      </p:sp>
      <p:sp>
        <p:nvSpPr>
          <p:cNvPr id="15" name="Bildplatzhalter 1"/>
          <p:cNvSpPr>
            <a:spLocks noGrp="1"/>
          </p:cNvSpPr>
          <p:nvPr>
            <p:ph type="pic" sz="quarter" idx="18"/>
          </p:nvPr>
        </p:nvSpPr>
        <p:spPr>
          <a:xfrm>
            <a:off x="524828" y="4748975"/>
            <a:ext cx="2880000" cy="1800000"/>
          </a:xfrm>
        </p:spPr>
        <p:txBody>
          <a:bodyPr lIns="0" tIns="180000" rIns="0" bIns="180000"/>
          <a:lstStyle>
            <a:lvl1pPr marL="0" indent="0">
              <a:buFontTx/>
              <a:buNone/>
              <a:defRPr sz="1400">
                <a:solidFill>
                  <a:schemeClr val="accent2"/>
                </a:solidFill>
              </a:defRPr>
            </a:lvl1pPr>
          </a:lstStyle>
          <a:p>
            <a:r>
              <a:rPr lang="de-DE" smtClean="0"/>
              <a:t>Bild durch Klicken auf Symbol hinzufügen</a:t>
            </a:r>
            <a:endParaRPr lang="de-DE" dirty="0"/>
          </a:p>
        </p:txBody>
      </p:sp>
      <p:sp>
        <p:nvSpPr>
          <p:cNvPr id="37" name="Inhaltsplatzhalter 3"/>
          <p:cNvSpPr>
            <a:spLocks noGrp="1"/>
          </p:cNvSpPr>
          <p:nvPr>
            <p:ph sz="half" idx="15"/>
          </p:nvPr>
        </p:nvSpPr>
        <p:spPr>
          <a:xfrm>
            <a:off x="6501172" y="1304764"/>
            <a:ext cx="2880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35" name="Inhaltsplatzhalter 2"/>
          <p:cNvSpPr>
            <a:spLocks noGrp="1"/>
          </p:cNvSpPr>
          <p:nvPr>
            <p:ph sz="half" idx="2"/>
          </p:nvPr>
        </p:nvSpPr>
        <p:spPr>
          <a:xfrm>
            <a:off x="3513000" y="1304764"/>
            <a:ext cx="2880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34" name="Inhaltsplatzhalter 1"/>
          <p:cNvSpPr>
            <a:spLocks noGrp="1"/>
          </p:cNvSpPr>
          <p:nvPr>
            <p:ph sz="half" idx="1"/>
          </p:nvPr>
        </p:nvSpPr>
        <p:spPr>
          <a:xfrm>
            <a:off x="524828" y="1304764"/>
            <a:ext cx="2880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39" name="Spaltenüberschrift 3"/>
          <p:cNvSpPr>
            <a:spLocks noGrp="1"/>
          </p:cNvSpPr>
          <p:nvPr>
            <p:ph type="body" idx="17" hasCustomPrompt="1"/>
          </p:nvPr>
        </p:nvSpPr>
        <p:spPr>
          <a:xfrm>
            <a:off x="6501172" y="900000"/>
            <a:ext cx="2880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paltenüberschrift</a:t>
            </a:r>
          </a:p>
        </p:txBody>
      </p:sp>
      <p:sp>
        <p:nvSpPr>
          <p:cNvPr id="38" name="Spaltenüberschrift 2"/>
          <p:cNvSpPr>
            <a:spLocks noGrp="1"/>
          </p:cNvSpPr>
          <p:nvPr>
            <p:ph type="body" idx="16" hasCustomPrompt="1"/>
          </p:nvPr>
        </p:nvSpPr>
        <p:spPr>
          <a:xfrm>
            <a:off x="3513000" y="900000"/>
            <a:ext cx="2880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paltenüberschrift</a:t>
            </a:r>
          </a:p>
        </p:txBody>
      </p:sp>
      <p:sp>
        <p:nvSpPr>
          <p:cNvPr id="36" name="Spaltenüberschrift 1"/>
          <p:cNvSpPr>
            <a:spLocks noGrp="1"/>
          </p:cNvSpPr>
          <p:nvPr>
            <p:ph type="body" idx="14" hasCustomPrompt="1"/>
          </p:nvPr>
        </p:nvSpPr>
        <p:spPr>
          <a:xfrm>
            <a:off x="524828" y="900000"/>
            <a:ext cx="2880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paltenüberschrift</a:t>
            </a:r>
          </a:p>
        </p:txBody>
      </p:sp>
      <p:cxnSp>
        <p:nvCxnSpPr>
          <p:cNvPr id="18" name="Trennlinie Spaltenüberschrift"/>
          <p:cNvCxnSpPr/>
          <p:nvPr userDrawn="1"/>
        </p:nvCxnSpPr>
        <p:spPr>
          <a:xfrm>
            <a:off x="0" y="1260000"/>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sp>
        <p:nvSpPr>
          <p:cNvPr id="20"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ubheadline 1-ZEILIG</a:t>
            </a:r>
          </a:p>
        </p:txBody>
      </p:sp>
      <p:sp>
        <p:nvSpPr>
          <p:cNvPr id="19" name="Titel"/>
          <p:cNvSpPr>
            <a:spLocks noGrp="1"/>
          </p:cNvSpPr>
          <p:nvPr>
            <p:ph type="title" hasCustomPrompt="1"/>
          </p:nvPr>
        </p:nvSpPr>
        <p:spPr>
          <a:xfrm>
            <a:off x="525600" y="288000"/>
            <a:ext cx="7308000" cy="260680"/>
          </a:xfrm>
        </p:spPr>
        <p:txBody>
          <a:bodyPr/>
          <a:lstStyle>
            <a:lvl1pPr>
              <a:defRPr baseline="0"/>
            </a:lvl1pPr>
          </a:lstStyle>
          <a:p>
            <a:r>
              <a:rPr lang="de-DE" dirty="0" err="1" smtClean="0"/>
              <a:t>folientitel</a:t>
            </a:r>
            <a:r>
              <a:rPr lang="de-DE" dirty="0" smtClean="0"/>
              <a:t> 1-ZEILIG</a:t>
            </a:r>
            <a:endParaRPr lang="de-DE" dirty="0"/>
          </a:p>
        </p:txBody>
      </p:sp>
    </p:spTree>
    <p:extLst>
      <p:ext uri="{BB962C8B-B14F-4D97-AF65-F5344CB8AC3E}">
        <p14:creationId xmlns:p14="http://schemas.microsoft.com/office/powerpoint/2010/main" val="802242698"/>
      </p:ext>
    </p:extLst>
  </p:cSld>
  <p:clrMapOvr>
    <a:masterClrMapping/>
  </p:clrMapOvr>
  <p:transition>
    <p:zoom/>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ly title + subheadline">
    <p:spTree>
      <p:nvGrpSpPr>
        <p:cNvPr id="1" name=""/>
        <p:cNvGrpSpPr/>
        <p:nvPr/>
      </p:nvGrpSpPr>
      <p:grpSpPr>
        <a:xfrm>
          <a:off x="0" y="0"/>
          <a:ext cx="0" cy="0"/>
          <a:chOff x="0" y="0"/>
          <a:chExt cx="0" cy="0"/>
        </a:xfrm>
      </p:grpSpPr>
      <p:sp>
        <p:nvSpPr>
          <p:cNvPr id="5"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4" name="Fußzeilenplatzhalter"/>
          <p:cNvSpPr>
            <a:spLocks noGrp="1"/>
          </p:cNvSpPr>
          <p:nvPr>
            <p:ph type="ftr" sz="quarter" idx="11"/>
          </p:nvPr>
        </p:nvSpPr>
        <p:spPr/>
        <p:txBody>
          <a:bodyPr/>
          <a:lstStyle/>
          <a:p>
            <a:endParaRPr lang="en-US" noProof="0" dirty="0"/>
          </a:p>
        </p:txBody>
      </p:sp>
      <p:sp>
        <p:nvSpPr>
          <p:cNvPr id="3" name="Datumsplatzhalter"/>
          <p:cNvSpPr>
            <a:spLocks noGrp="1"/>
          </p:cNvSpPr>
          <p:nvPr>
            <p:ph type="dt" sz="half" idx="10"/>
          </p:nvPr>
        </p:nvSpPr>
        <p:spPr/>
        <p:txBody>
          <a:bodyPr/>
          <a:lstStyle/>
          <a:p>
            <a:endParaRPr lang="en-US" noProof="0" dirty="0"/>
          </a:p>
        </p:txBody>
      </p:sp>
      <p:sp>
        <p:nvSpPr>
          <p:cNvPr id="8"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
        <p:nvSpPr>
          <p:cNvPr id="7" name="Titel"/>
          <p:cNvSpPr>
            <a:spLocks noGrp="1"/>
          </p:cNvSpPr>
          <p:nvPr>
            <p:ph type="title" hasCustomPrompt="1"/>
          </p:nvPr>
        </p:nvSpPr>
        <p:spPr>
          <a:xfrm>
            <a:off x="525600" y="288000"/>
            <a:ext cx="7308000" cy="260680"/>
          </a:xfrm>
        </p:spPr>
        <p:txBody>
          <a:bodyPr/>
          <a:lstStyle>
            <a:lvl1pPr>
              <a:defRPr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1732528083"/>
      </p:ext>
    </p:extLst>
  </p:cSld>
  <p:clrMapOvr>
    <a:masterClrMapping/>
  </p:clrMapOvr>
  <p:transition>
    <p:zoom/>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 Bilder 2 Inhalte">
    <p:spTree>
      <p:nvGrpSpPr>
        <p:cNvPr id="1" name=""/>
        <p:cNvGrpSpPr/>
        <p:nvPr/>
      </p:nvGrpSpPr>
      <p:grpSpPr>
        <a:xfrm>
          <a:off x="0" y="0"/>
          <a:ext cx="0" cy="0"/>
          <a:chOff x="0" y="0"/>
          <a:chExt cx="0" cy="0"/>
        </a:xfrm>
      </p:grpSpPr>
      <p:sp>
        <p:nvSpPr>
          <p:cNvPr id="6" name="Foliennummernplatzhalter"/>
          <p:cNvSpPr>
            <a:spLocks noGrp="1"/>
          </p:cNvSpPr>
          <p:nvPr>
            <p:ph type="sldNum" sz="quarter" idx="12"/>
          </p:nvPr>
        </p:nvSpPr>
        <p:spPr/>
        <p:txBody>
          <a:bodyPr/>
          <a:lstStyle/>
          <a:p>
            <a:fld id="{1FB8D038-2D38-4B10-A0EB-C05CC9130EB2}" type="slidenum">
              <a:rPr lang="de-DE" smtClean="0">
                <a:solidFill>
                  <a:srgbClr val="000000"/>
                </a:solidFill>
              </a:rPr>
              <a:pPr/>
              <a:t>‹#›</a:t>
            </a:fld>
            <a:endParaRPr lang="de-DE">
              <a:solidFill>
                <a:srgbClr val="000000"/>
              </a:solidFill>
            </a:endParaRPr>
          </a:p>
        </p:txBody>
      </p:sp>
      <p:sp>
        <p:nvSpPr>
          <p:cNvPr id="5" name="Fußzeilenplatzhalter"/>
          <p:cNvSpPr>
            <a:spLocks noGrp="1"/>
          </p:cNvSpPr>
          <p:nvPr>
            <p:ph type="ftr" sz="quarter" idx="11"/>
          </p:nvPr>
        </p:nvSpPr>
        <p:spPr/>
        <p:txBody>
          <a:bodyPr/>
          <a:lstStyle/>
          <a:p>
            <a:endParaRPr lang="de-DE">
              <a:solidFill>
                <a:srgbClr val="007FC3"/>
              </a:solidFill>
            </a:endParaRPr>
          </a:p>
        </p:txBody>
      </p:sp>
      <p:sp>
        <p:nvSpPr>
          <p:cNvPr id="4" name="Datumsplatzhalter"/>
          <p:cNvSpPr>
            <a:spLocks noGrp="1"/>
          </p:cNvSpPr>
          <p:nvPr>
            <p:ph type="dt" sz="half" idx="10"/>
          </p:nvPr>
        </p:nvSpPr>
        <p:spPr/>
        <p:txBody>
          <a:bodyPr/>
          <a:lstStyle/>
          <a:p>
            <a:endParaRPr lang="de-DE">
              <a:solidFill>
                <a:srgbClr val="000000"/>
              </a:solidFill>
            </a:endParaRPr>
          </a:p>
        </p:txBody>
      </p:sp>
      <p:sp>
        <p:nvSpPr>
          <p:cNvPr id="11" name="Inhaltsplatzhalter 2"/>
          <p:cNvSpPr>
            <a:spLocks noGrp="1"/>
          </p:cNvSpPr>
          <p:nvPr>
            <p:ph idx="16"/>
          </p:nvPr>
        </p:nvSpPr>
        <p:spPr>
          <a:xfrm>
            <a:off x="3476836" y="3770313"/>
            <a:ext cx="5904656" cy="2827337"/>
          </a:xfrm>
        </p:spPr>
        <p:txBody>
          <a:bodyPr bIns="72000"/>
          <a:lstStyle/>
          <a:p>
            <a:pPr lvl="0"/>
            <a:r>
              <a:rPr lang="de-DE" smtClean="0"/>
              <a:t>Textmasterformat bearbeiten</a:t>
            </a:r>
          </a:p>
          <a:p>
            <a:pPr lvl="1"/>
            <a:r>
              <a:rPr lang="de-DE" smtClean="0"/>
              <a:t>Zweite Ebene</a:t>
            </a:r>
          </a:p>
          <a:p>
            <a:pPr lvl="2"/>
            <a:r>
              <a:rPr lang="de-DE" smtClean="0"/>
              <a:t>Dritte Ebene</a:t>
            </a:r>
          </a:p>
        </p:txBody>
      </p:sp>
      <p:sp>
        <p:nvSpPr>
          <p:cNvPr id="3" name="Inhaltsplatzhalter 1"/>
          <p:cNvSpPr>
            <a:spLocks noGrp="1"/>
          </p:cNvSpPr>
          <p:nvPr>
            <p:ph idx="1"/>
          </p:nvPr>
        </p:nvSpPr>
        <p:spPr>
          <a:xfrm>
            <a:off x="3476836" y="944563"/>
            <a:ext cx="5904656" cy="2825749"/>
          </a:xfrm>
        </p:spPr>
        <p:txBody>
          <a:bodyPr bIns="72000"/>
          <a:lstStyle/>
          <a:p>
            <a:pPr lvl="0"/>
            <a:r>
              <a:rPr lang="de-DE" smtClean="0"/>
              <a:t>Textmasterformat bearbeiten</a:t>
            </a:r>
          </a:p>
          <a:p>
            <a:pPr lvl="1"/>
            <a:r>
              <a:rPr lang="de-DE" smtClean="0"/>
              <a:t>Zweite Ebene</a:t>
            </a:r>
          </a:p>
          <a:p>
            <a:pPr lvl="2"/>
            <a:r>
              <a:rPr lang="de-DE" smtClean="0"/>
              <a:t>Dritte Ebene</a:t>
            </a:r>
          </a:p>
        </p:txBody>
      </p:sp>
      <p:sp>
        <p:nvSpPr>
          <p:cNvPr id="10" name="Bildplatzhalter 2"/>
          <p:cNvSpPr>
            <a:spLocks noGrp="1"/>
          </p:cNvSpPr>
          <p:nvPr>
            <p:ph type="pic" sz="quarter" idx="15"/>
          </p:nvPr>
        </p:nvSpPr>
        <p:spPr>
          <a:xfrm>
            <a:off x="524816" y="3825650"/>
            <a:ext cx="2772000" cy="2772000"/>
          </a:xfrm>
        </p:spPr>
        <p:txBody>
          <a:bodyPr lIns="0" tIns="180000" rIns="0" bIns="180000"/>
          <a:lstStyle>
            <a:lvl1pPr marL="0" indent="0">
              <a:buFontTx/>
              <a:buNone/>
              <a:defRPr sz="1600">
                <a:solidFill>
                  <a:schemeClr val="accent2"/>
                </a:solidFill>
              </a:defRPr>
            </a:lvl1pPr>
          </a:lstStyle>
          <a:p>
            <a:r>
              <a:rPr lang="de-DE" smtClean="0"/>
              <a:t>Bild durch Klicken auf Symbol hinzufügen</a:t>
            </a:r>
            <a:endParaRPr lang="de-DE" dirty="0"/>
          </a:p>
        </p:txBody>
      </p:sp>
      <p:sp>
        <p:nvSpPr>
          <p:cNvPr id="9" name="Bildplatzhalter 1"/>
          <p:cNvSpPr>
            <a:spLocks noGrp="1"/>
          </p:cNvSpPr>
          <p:nvPr>
            <p:ph type="pic" sz="quarter" idx="14"/>
          </p:nvPr>
        </p:nvSpPr>
        <p:spPr>
          <a:xfrm>
            <a:off x="523732" y="944563"/>
            <a:ext cx="2772000" cy="2772000"/>
          </a:xfrm>
        </p:spPr>
        <p:txBody>
          <a:bodyPr lIns="0" tIns="180000" rIns="0" bIns="180000"/>
          <a:lstStyle>
            <a:lvl1pPr marL="0" indent="0">
              <a:buFontTx/>
              <a:buNone/>
              <a:defRPr sz="1600">
                <a:solidFill>
                  <a:schemeClr val="accent2"/>
                </a:solidFill>
              </a:defRPr>
            </a:lvl1pPr>
          </a:lstStyle>
          <a:p>
            <a:r>
              <a:rPr lang="de-DE" smtClean="0"/>
              <a:t>Bild durch Klicken auf Symbol hinzufügen</a:t>
            </a:r>
            <a:endParaRPr lang="de-DE"/>
          </a:p>
        </p:txBody>
      </p:sp>
      <p:sp>
        <p:nvSpPr>
          <p:cNvPr id="13"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ubheadline 1-ZEILIG</a:t>
            </a:r>
          </a:p>
        </p:txBody>
      </p:sp>
      <p:sp>
        <p:nvSpPr>
          <p:cNvPr id="12" name="Titel"/>
          <p:cNvSpPr>
            <a:spLocks noGrp="1"/>
          </p:cNvSpPr>
          <p:nvPr>
            <p:ph type="title" hasCustomPrompt="1"/>
          </p:nvPr>
        </p:nvSpPr>
        <p:spPr>
          <a:xfrm>
            <a:off x="525600" y="288000"/>
            <a:ext cx="7308000" cy="260680"/>
          </a:xfrm>
        </p:spPr>
        <p:txBody>
          <a:bodyPr/>
          <a:lstStyle>
            <a:lvl1pPr>
              <a:defRPr baseline="0"/>
            </a:lvl1pPr>
          </a:lstStyle>
          <a:p>
            <a:r>
              <a:rPr lang="de-DE" dirty="0" err="1" smtClean="0"/>
              <a:t>folientitel</a:t>
            </a:r>
            <a:r>
              <a:rPr lang="de-DE" dirty="0" smtClean="0"/>
              <a:t> 1-ZEILIG</a:t>
            </a:r>
            <a:endParaRPr lang="de-DE" dirty="0"/>
          </a:p>
        </p:txBody>
      </p:sp>
    </p:spTree>
    <p:extLst>
      <p:ext uri="{BB962C8B-B14F-4D97-AF65-F5344CB8AC3E}">
        <p14:creationId xmlns:p14="http://schemas.microsoft.com/office/powerpoint/2010/main" val="634601654"/>
      </p:ext>
    </p:extLst>
  </p:cSld>
  <p:clrMapOvr>
    <a:masterClrMapping/>
  </p:clrMapOvr>
  <p:transition>
    <p:zoom/>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 Inhalte Matrix">
    <p:spTree>
      <p:nvGrpSpPr>
        <p:cNvPr id="1" name=""/>
        <p:cNvGrpSpPr/>
        <p:nvPr/>
      </p:nvGrpSpPr>
      <p:grpSpPr>
        <a:xfrm>
          <a:off x="0" y="0"/>
          <a:ext cx="0" cy="0"/>
          <a:chOff x="0" y="0"/>
          <a:chExt cx="0" cy="0"/>
        </a:xfrm>
      </p:grpSpPr>
      <p:sp>
        <p:nvSpPr>
          <p:cNvPr id="7" name="Foliennummernplatzhalter"/>
          <p:cNvSpPr>
            <a:spLocks noGrp="1"/>
          </p:cNvSpPr>
          <p:nvPr>
            <p:ph type="sldNum" sz="quarter" idx="12"/>
          </p:nvPr>
        </p:nvSpPr>
        <p:spPr/>
        <p:txBody>
          <a:bodyPr/>
          <a:lstStyle/>
          <a:p>
            <a:fld id="{1FB8D038-2D38-4B10-A0EB-C05CC9130EB2}" type="slidenum">
              <a:rPr lang="de-DE" smtClean="0">
                <a:solidFill>
                  <a:srgbClr val="000000"/>
                </a:solidFill>
              </a:rPr>
              <a:pPr/>
              <a:t>‹#›</a:t>
            </a:fld>
            <a:endParaRPr lang="de-DE">
              <a:solidFill>
                <a:srgbClr val="000000"/>
              </a:solidFill>
            </a:endParaRPr>
          </a:p>
        </p:txBody>
      </p:sp>
      <p:sp>
        <p:nvSpPr>
          <p:cNvPr id="6" name="Fußzeilenplatzhalter"/>
          <p:cNvSpPr>
            <a:spLocks noGrp="1"/>
          </p:cNvSpPr>
          <p:nvPr>
            <p:ph type="ftr" sz="quarter" idx="11"/>
          </p:nvPr>
        </p:nvSpPr>
        <p:spPr/>
        <p:txBody>
          <a:bodyPr/>
          <a:lstStyle/>
          <a:p>
            <a:endParaRPr lang="de-DE">
              <a:solidFill>
                <a:srgbClr val="007FC3"/>
              </a:solidFill>
            </a:endParaRPr>
          </a:p>
        </p:txBody>
      </p:sp>
      <p:sp>
        <p:nvSpPr>
          <p:cNvPr id="5" name="Datumsplatzhalter"/>
          <p:cNvSpPr>
            <a:spLocks noGrp="1"/>
          </p:cNvSpPr>
          <p:nvPr>
            <p:ph type="dt" sz="half" idx="10"/>
          </p:nvPr>
        </p:nvSpPr>
        <p:spPr/>
        <p:txBody>
          <a:bodyPr/>
          <a:lstStyle/>
          <a:p>
            <a:endParaRPr lang="de-DE">
              <a:solidFill>
                <a:srgbClr val="000000"/>
              </a:solidFill>
            </a:endParaRPr>
          </a:p>
        </p:txBody>
      </p:sp>
      <p:sp>
        <p:nvSpPr>
          <p:cNvPr id="15" name="Inhaltsplatzhalter 4"/>
          <p:cNvSpPr>
            <a:spLocks noGrp="1"/>
          </p:cNvSpPr>
          <p:nvPr>
            <p:ph sz="half" idx="18"/>
          </p:nvPr>
        </p:nvSpPr>
        <p:spPr>
          <a:xfrm>
            <a:off x="5061504" y="3770312"/>
            <a:ext cx="4318470"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4" name="Inhaltsplatzhalter 3"/>
          <p:cNvSpPr>
            <a:spLocks noGrp="1"/>
          </p:cNvSpPr>
          <p:nvPr>
            <p:ph sz="half" idx="2"/>
          </p:nvPr>
        </p:nvSpPr>
        <p:spPr>
          <a:xfrm>
            <a:off x="523875" y="3770312"/>
            <a:ext cx="4314663"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12" name="Inhaltsplatzhalter 2"/>
          <p:cNvSpPr>
            <a:spLocks noGrp="1"/>
          </p:cNvSpPr>
          <p:nvPr>
            <p:ph sz="half" idx="15"/>
          </p:nvPr>
        </p:nvSpPr>
        <p:spPr>
          <a:xfrm>
            <a:off x="5061504" y="944563"/>
            <a:ext cx="4318470"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3" name="Inhaltsplatzhalter 1"/>
          <p:cNvSpPr>
            <a:spLocks noGrp="1"/>
          </p:cNvSpPr>
          <p:nvPr>
            <p:ph sz="half" idx="1"/>
          </p:nvPr>
        </p:nvSpPr>
        <p:spPr>
          <a:xfrm>
            <a:off x="523875" y="944563"/>
            <a:ext cx="4314663"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13"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ubheadline 1-ZEILIG</a:t>
            </a:r>
          </a:p>
        </p:txBody>
      </p:sp>
      <p:sp>
        <p:nvSpPr>
          <p:cNvPr id="11" name="Titel"/>
          <p:cNvSpPr>
            <a:spLocks noGrp="1"/>
          </p:cNvSpPr>
          <p:nvPr>
            <p:ph type="title" hasCustomPrompt="1"/>
          </p:nvPr>
        </p:nvSpPr>
        <p:spPr>
          <a:xfrm>
            <a:off x="525600" y="288000"/>
            <a:ext cx="7308000" cy="260680"/>
          </a:xfrm>
        </p:spPr>
        <p:txBody>
          <a:bodyPr/>
          <a:lstStyle>
            <a:lvl1pPr>
              <a:defRPr baseline="0"/>
            </a:lvl1pPr>
          </a:lstStyle>
          <a:p>
            <a:r>
              <a:rPr lang="de-DE" dirty="0" err="1" smtClean="0"/>
              <a:t>folientitel</a:t>
            </a:r>
            <a:r>
              <a:rPr lang="de-DE" dirty="0" smtClean="0"/>
              <a:t> 1-ZEILIG</a:t>
            </a:r>
            <a:endParaRPr lang="de-DE" dirty="0"/>
          </a:p>
        </p:txBody>
      </p:sp>
    </p:spTree>
    <p:extLst>
      <p:ext uri="{BB962C8B-B14F-4D97-AF65-F5344CB8AC3E}">
        <p14:creationId xmlns:p14="http://schemas.microsoft.com/office/powerpoint/2010/main" val="109708552"/>
      </p:ext>
    </p:extLst>
  </p:cSld>
  <p:clrMapOvr>
    <a:masterClrMapping/>
  </p:clrMapOvr>
  <p:transition>
    <p:zoom/>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Nur Titel + Untertitel">
    <p:spTree>
      <p:nvGrpSpPr>
        <p:cNvPr id="1" name=""/>
        <p:cNvGrpSpPr/>
        <p:nvPr/>
      </p:nvGrpSpPr>
      <p:grpSpPr>
        <a:xfrm>
          <a:off x="0" y="0"/>
          <a:ext cx="0" cy="0"/>
          <a:chOff x="0" y="0"/>
          <a:chExt cx="0" cy="0"/>
        </a:xfrm>
      </p:grpSpPr>
      <p:sp>
        <p:nvSpPr>
          <p:cNvPr id="5" name="Foliennummernplatzhalter"/>
          <p:cNvSpPr>
            <a:spLocks noGrp="1"/>
          </p:cNvSpPr>
          <p:nvPr>
            <p:ph type="sldNum" sz="quarter" idx="12"/>
          </p:nvPr>
        </p:nvSpPr>
        <p:spPr/>
        <p:txBody>
          <a:bodyPr/>
          <a:lstStyle/>
          <a:p>
            <a:fld id="{1FB8D038-2D38-4B10-A0EB-C05CC9130EB2}" type="slidenum">
              <a:rPr lang="de-DE" smtClean="0">
                <a:solidFill>
                  <a:srgbClr val="000000"/>
                </a:solidFill>
              </a:rPr>
              <a:pPr/>
              <a:t>‹#›</a:t>
            </a:fld>
            <a:endParaRPr lang="de-DE">
              <a:solidFill>
                <a:srgbClr val="000000"/>
              </a:solidFill>
            </a:endParaRPr>
          </a:p>
        </p:txBody>
      </p:sp>
      <p:sp>
        <p:nvSpPr>
          <p:cNvPr id="4" name="Fußzeilenplatzhalter"/>
          <p:cNvSpPr>
            <a:spLocks noGrp="1"/>
          </p:cNvSpPr>
          <p:nvPr>
            <p:ph type="ftr" sz="quarter" idx="11"/>
          </p:nvPr>
        </p:nvSpPr>
        <p:spPr/>
        <p:txBody>
          <a:bodyPr/>
          <a:lstStyle/>
          <a:p>
            <a:endParaRPr lang="de-DE">
              <a:solidFill>
                <a:srgbClr val="007FC3"/>
              </a:solidFill>
            </a:endParaRPr>
          </a:p>
        </p:txBody>
      </p:sp>
      <p:sp>
        <p:nvSpPr>
          <p:cNvPr id="3" name="Datumsplatzhalter"/>
          <p:cNvSpPr>
            <a:spLocks noGrp="1"/>
          </p:cNvSpPr>
          <p:nvPr>
            <p:ph type="dt" sz="half" idx="10"/>
          </p:nvPr>
        </p:nvSpPr>
        <p:spPr/>
        <p:txBody>
          <a:bodyPr/>
          <a:lstStyle/>
          <a:p>
            <a:endParaRPr lang="de-DE">
              <a:solidFill>
                <a:srgbClr val="000000"/>
              </a:solidFill>
            </a:endParaRPr>
          </a:p>
        </p:txBody>
      </p:sp>
      <p:sp>
        <p:nvSpPr>
          <p:cNvPr id="8"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Subheadline 1-ZEILIG</a:t>
            </a:r>
          </a:p>
        </p:txBody>
      </p:sp>
      <p:sp>
        <p:nvSpPr>
          <p:cNvPr id="7" name="Titel"/>
          <p:cNvSpPr>
            <a:spLocks noGrp="1"/>
          </p:cNvSpPr>
          <p:nvPr>
            <p:ph type="title" hasCustomPrompt="1"/>
          </p:nvPr>
        </p:nvSpPr>
        <p:spPr>
          <a:xfrm>
            <a:off x="525600" y="288000"/>
            <a:ext cx="7308000" cy="260680"/>
          </a:xfrm>
        </p:spPr>
        <p:txBody>
          <a:bodyPr/>
          <a:lstStyle>
            <a:lvl1pPr>
              <a:defRPr baseline="0"/>
            </a:lvl1pPr>
          </a:lstStyle>
          <a:p>
            <a:r>
              <a:rPr lang="de-DE" dirty="0" err="1" smtClean="0"/>
              <a:t>folientitel</a:t>
            </a:r>
            <a:r>
              <a:rPr lang="de-DE" dirty="0" smtClean="0"/>
              <a:t> 1-ZEILIG</a:t>
            </a:r>
            <a:endParaRPr lang="de-DE" dirty="0"/>
          </a:p>
        </p:txBody>
      </p:sp>
    </p:spTree>
    <p:extLst>
      <p:ext uri="{BB962C8B-B14F-4D97-AF65-F5344CB8AC3E}">
        <p14:creationId xmlns:p14="http://schemas.microsoft.com/office/powerpoint/2010/main" val="1924949700"/>
      </p:ext>
    </p:extLst>
  </p:cSld>
  <p:clrMapOvr>
    <a:masterClrMapping/>
  </p:clrMapOvr>
  <p:transition>
    <p:zoom/>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apitelfolie">
    <p:spTree>
      <p:nvGrpSpPr>
        <p:cNvPr id="1" name=""/>
        <p:cNvGrpSpPr/>
        <p:nvPr/>
      </p:nvGrpSpPr>
      <p:grpSpPr>
        <a:xfrm>
          <a:off x="0" y="0"/>
          <a:ext cx="0" cy="0"/>
          <a:chOff x="0" y="0"/>
          <a:chExt cx="0" cy="0"/>
        </a:xfrm>
      </p:grpSpPr>
      <p:sp>
        <p:nvSpPr>
          <p:cNvPr id="9" name="Rechteck"/>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13" name="Bildplatzhalter"/>
          <p:cNvSpPr>
            <a:spLocks noGrp="1"/>
          </p:cNvSpPr>
          <p:nvPr>
            <p:ph type="pic" sz="quarter" idx="14"/>
          </p:nvPr>
        </p:nvSpPr>
        <p:spPr>
          <a:xfrm>
            <a:off x="0" y="0"/>
            <a:ext cx="9906000" cy="4316400"/>
          </a:xfrm>
        </p:spPr>
        <p:txBody>
          <a:bodyPr lIns="396000" tIns="180000" rIns="396000" bIns="180000"/>
          <a:lstStyle>
            <a:lvl1pPr marL="0" indent="0">
              <a:buFontTx/>
              <a:buNone/>
              <a:defRPr sz="1600">
                <a:solidFill>
                  <a:schemeClr val="accent2"/>
                </a:solidFill>
              </a:defRPr>
            </a:lvl1pPr>
          </a:lstStyle>
          <a:p>
            <a:r>
              <a:rPr lang="de-DE" smtClean="0"/>
              <a:t>Bild durch Klicken auf Symbol hinzufügen</a:t>
            </a:r>
            <a:endParaRPr lang="de-DE"/>
          </a:p>
        </p:txBody>
      </p:sp>
      <p:sp>
        <p:nvSpPr>
          <p:cNvPr id="3" name="Kapitelplatzhalter"/>
          <p:cNvSpPr>
            <a:spLocks noGrp="1"/>
          </p:cNvSpPr>
          <p:nvPr>
            <p:ph type="body" idx="1" hasCustomPrompt="1"/>
          </p:nvPr>
        </p:nvSpPr>
        <p:spPr>
          <a:xfrm>
            <a:off x="-15552" y="4453200"/>
            <a:ext cx="2145000" cy="1260000"/>
          </a:xfrm>
          <a:solidFill>
            <a:schemeClr val="bg1">
              <a:alpha val="85000"/>
            </a:schemeClr>
          </a:solidFill>
        </p:spPr>
        <p:txBody>
          <a:bodyPr lIns="525600" tIns="72000" rIns="396000" bIns="72000" anchor="ctr" anchorCtr="0"/>
          <a:lstStyle>
            <a:lvl1pPr marL="0" indent="0" algn="l">
              <a:buNone/>
              <a:defRPr sz="6000" b="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01</a:t>
            </a:r>
          </a:p>
        </p:txBody>
      </p:sp>
      <p:sp>
        <p:nvSpPr>
          <p:cNvPr id="12" name="Sensorstrahl"/>
          <p:cNvSpPr/>
          <p:nvPr userDrawn="1"/>
        </p:nvSpPr>
        <p:spPr>
          <a:xfrm>
            <a:off x="0" y="4316400"/>
            <a:ext cx="9906000" cy="136800"/>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16" name="Titel"/>
          <p:cNvSpPr>
            <a:spLocks noGrp="1"/>
          </p:cNvSpPr>
          <p:nvPr>
            <p:ph type="ctrTitle" hasCustomPrompt="1"/>
          </p:nvPr>
        </p:nvSpPr>
        <p:spPr>
          <a:xfrm>
            <a:off x="0" y="2876400"/>
            <a:ext cx="9906000" cy="1440000"/>
          </a:xfrm>
          <a:blipFill dpi="0" rotWithShape="1">
            <a:blip r:embed="rId2" cstate="email">
              <a:extLst>
                <a:ext uri="{28A0092B-C50C-407E-A947-70E740481C1C}">
                  <a14:useLocalDpi xmlns:a14="http://schemas.microsoft.com/office/drawing/2010/main" val="0"/>
                </a:ext>
              </a:extLst>
            </a:blip>
            <a:srcRect/>
            <a:stretch>
              <a:fillRect/>
            </a:stretch>
          </a:blipFill>
        </p:spPr>
        <p:txBody>
          <a:bodyPr lIns="525600" rIns="2340000" bIns="298800" anchor="b" anchorCtr="0"/>
          <a:lstStyle>
            <a:lvl1pPr>
              <a:lnSpc>
                <a:spcPct val="90000"/>
              </a:lnSpc>
              <a:defRPr sz="3200" baseline="0">
                <a:solidFill>
                  <a:schemeClr val="tx2"/>
                </a:solidFill>
              </a:defRPr>
            </a:lvl1pPr>
          </a:lstStyle>
          <a:p>
            <a:r>
              <a:rPr lang="de-DE" dirty="0" smtClean="0"/>
              <a:t>Kapiteltitel</a:t>
            </a:r>
            <a:br>
              <a:rPr lang="de-DE" dirty="0" smtClean="0"/>
            </a:br>
            <a:r>
              <a:rPr lang="de-DE" dirty="0" smtClean="0"/>
              <a:t>(Kapitelnummer ggf. Unten)</a:t>
            </a:r>
            <a:endParaRPr lang="de-DE" dirty="0"/>
          </a:p>
        </p:txBody>
      </p:sp>
    </p:spTree>
    <p:extLst>
      <p:ext uri="{BB962C8B-B14F-4D97-AF65-F5344CB8AC3E}">
        <p14:creationId xmlns:p14="http://schemas.microsoft.com/office/powerpoint/2010/main" val="2481460828"/>
      </p:ext>
    </p:extLst>
  </p:cSld>
  <p:clrMapOvr>
    <a:masterClrMapping/>
  </p:clrMapOvr>
  <p:transition>
    <p:zoom/>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Bild vollflächig mit Titelbanderole">
    <p:spTree>
      <p:nvGrpSpPr>
        <p:cNvPr id="1" name=""/>
        <p:cNvGrpSpPr/>
        <p:nvPr/>
      </p:nvGrpSpPr>
      <p:grpSpPr>
        <a:xfrm>
          <a:off x="0" y="0"/>
          <a:ext cx="0" cy="0"/>
          <a:chOff x="0" y="0"/>
          <a:chExt cx="0" cy="0"/>
        </a:xfrm>
      </p:grpSpPr>
      <p:sp>
        <p:nvSpPr>
          <p:cNvPr id="7" name="Foliennummernplatzhalter"/>
          <p:cNvSpPr>
            <a:spLocks noGrp="1"/>
          </p:cNvSpPr>
          <p:nvPr>
            <p:ph type="sldNum" sz="quarter" idx="12"/>
          </p:nvPr>
        </p:nvSpPr>
        <p:spPr/>
        <p:txBody>
          <a:bodyPr/>
          <a:lstStyle/>
          <a:p>
            <a:fld id="{1FB8D038-2D38-4B10-A0EB-C05CC9130EB2}" type="slidenum">
              <a:rPr lang="de-DE" smtClean="0">
                <a:solidFill>
                  <a:srgbClr val="000000"/>
                </a:solidFill>
              </a:rPr>
              <a:pPr/>
              <a:t>‹#›</a:t>
            </a:fld>
            <a:endParaRPr lang="de-DE">
              <a:solidFill>
                <a:srgbClr val="000000"/>
              </a:solidFill>
            </a:endParaRPr>
          </a:p>
        </p:txBody>
      </p:sp>
      <p:sp>
        <p:nvSpPr>
          <p:cNvPr id="6" name="Fußzeilenplatzhalter"/>
          <p:cNvSpPr>
            <a:spLocks noGrp="1"/>
          </p:cNvSpPr>
          <p:nvPr>
            <p:ph type="ftr" sz="quarter" idx="11"/>
          </p:nvPr>
        </p:nvSpPr>
        <p:spPr/>
        <p:txBody>
          <a:bodyPr/>
          <a:lstStyle/>
          <a:p>
            <a:endParaRPr lang="de-DE">
              <a:solidFill>
                <a:srgbClr val="007FC3"/>
              </a:solidFill>
            </a:endParaRPr>
          </a:p>
        </p:txBody>
      </p:sp>
      <p:sp>
        <p:nvSpPr>
          <p:cNvPr id="5" name="Datumsplatzhalter"/>
          <p:cNvSpPr>
            <a:spLocks noGrp="1"/>
          </p:cNvSpPr>
          <p:nvPr>
            <p:ph type="dt" sz="half" idx="10"/>
          </p:nvPr>
        </p:nvSpPr>
        <p:spPr/>
        <p:txBody>
          <a:bodyPr/>
          <a:lstStyle/>
          <a:p>
            <a:endParaRPr lang="de-DE">
              <a:solidFill>
                <a:srgbClr val="000000"/>
              </a:solidFill>
            </a:endParaRPr>
          </a:p>
        </p:txBody>
      </p:sp>
      <p:sp>
        <p:nvSpPr>
          <p:cNvPr id="3" name="Bildplatzhalter"/>
          <p:cNvSpPr>
            <a:spLocks noGrp="1"/>
          </p:cNvSpPr>
          <p:nvPr>
            <p:ph type="pic" idx="1"/>
          </p:nvPr>
        </p:nvSpPr>
        <p:spPr>
          <a:xfrm>
            <a:off x="0" y="944563"/>
            <a:ext cx="9906000" cy="5653087"/>
          </a:xfrm>
        </p:spPr>
        <p:txBody>
          <a:bodyPr lIns="396000" tIns="180000" rIns="396000" bIns="180000"/>
          <a:lstStyle>
            <a:lvl1pPr marL="0" indent="0">
              <a:buNone/>
              <a:defRPr sz="1600">
                <a:solidFill>
                  <a:schemeClr val="accent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smtClean="0"/>
              <a:t>Bild durch Klicken auf Symbol hinzufügen</a:t>
            </a:r>
            <a:endParaRPr lang="de-DE" dirty="0"/>
          </a:p>
        </p:txBody>
      </p:sp>
      <p:sp>
        <p:nvSpPr>
          <p:cNvPr id="4" name="Subheadline"/>
          <p:cNvSpPr>
            <a:spLocks noGrp="1"/>
          </p:cNvSpPr>
          <p:nvPr>
            <p:ph type="body" sz="half" idx="2" hasCustomPrompt="1"/>
          </p:nvPr>
        </p:nvSpPr>
        <p:spPr>
          <a:xfrm>
            <a:off x="0" y="5220000"/>
            <a:ext cx="9906000" cy="540000"/>
          </a:xfrm>
          <a:solidFill>
            <a:srgbClr val="FFFFFF">
              <a:alpha val="85882"/>
            </a:srgbClr>
          </a:solidFill>
        </p:spPr>
        <p:txBody>
          <a:bodyPr lIns="525600" tIns="36000" rIns="525600" bIns="36000"/>
          <a:lstStyle>
            <a:lvl1pPr marL="0" indent="0">
              <a:buNone/>
              <a:defRPr sz="2000" cap="all"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dirty="0" smtClean="0"/>
              <a:t>Subheadline 1-zeilig</a:t>
            </a:r>
          </a:p>
        </p:txBody>
      </p:sp>
      <p:sp>
        <p:nvSpPr>
          <p:cNvPr id="2" name="Titel"/>
          <p:cNvSpPr>
            <a:spLocks noGrp="1"/>
          </p:cNvSpPr>
          <p:nvPr>
            <p:ph type="title" hasCustomPrompt="1"/>
          </p:nvPr>
        </p:nvSpPr>
        <p:spPr>
          <a:xfrm>
            <a:off x="-1" y="4500000"/>
            <a:ext cx="9906000" cy="720000"/>
          </a:xfrm>
          <a:solidFill>
            <a:srgbClr val="FFFFFF">
              <a:alpha val="85882"/>
            </a:srgbClr>
          </a:solidFill>
        </p:spPr>
        <p:txBody>
          <a:bodyPr lIns="525600" tIns="36000" rIns="525600" bIns="36000" anchor="b"/>
          <a:lstStyle>
            <a:lvl1pPr algn="l">
              <a:defRPr sz="2400" b="0" baseline="0"/>
            </a:lvl1pPr>
          </a:lstStyle>
          <a:p>
            <a:r>
              <a:rPr lang="de-DE" dirty="0" err="1" smtClean="0"/>
              <a:t>folientitel</a:t>
            </a:r>
            <a:r>
              <a:rPr lang="de-DE" dirty="0" smtClean="0"/>
              <a:t> 1-zeilig</a:t>
            </a:r>
            <a:endParaRPr lang="de-DE" dirty="0"/>
          </a:p>
        </p:txBody>
      </p:sp>
    </p:spTree>
    <p:extLst>
      <p:ext uri="{BB962C8B-B14F-4D97-AF65-F5344CB8AC3E}">
        <p14:creationId xmlns:p14="http://schemas.microsoft.com/office/powerpoint/2010/main" val="2185772270"/>
      </p:ext>
    </p:extLst>
  </p:cSld>
  <p:clrMapOvr>
    <a:masterClrMapping/>
  </p:clrMapOvr>
  <p:transition>
    <p:zoom/>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9" name="Rechteck 8"/>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11" name="Sensorstrahl"/>
          <p:cNvSpPr/>
          <p:nvPr userDrawn="1"/>
        </p:nvSpPr>
        <p:spPr>
          <a:xfrm>
            <a:off x="0" y="4316400"/>
            <a:ext cx="9906000" cy="136800"/>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15" name="Untertitel"/>
          <p:cNvSpPr>
            <a:spLocks noGrp="1"/>
          </p:cNvSpPr>
          <p:nvPr>
            <p:ph type="subTitle" idx="1" hasCustomPrompt="1"/>
          </p:nvPr>
        </p:nvSpPr>
        <p:spPr>
          <a:xfrm>
            <a:off x="0" y="4456800"/>
            <a:ext cx="9906000" cy="2401200"/>
          </a:xfrm>
          <a:noFill/>
        </p:spPr>
        <p:txBody>
          <a:bodyPr lIns="525600" tIns="216000" rIns="2340000" bIns="396000"/>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Ansprechpartner</a:t>
            </a:r>
            <a:br>
              <a:rPr lang="de-DE" dirty="0" smtClean="0"/>
            </a:br>
            <a:r>
              <a:rPr lang="de-DE" dirty="0" smtClean="0"/>
              <a:t>Abteilung</a:t>
            </a:r>
            <a:br>
              <a:rPr lang="de-DE" dirty="0" smtClean="0"/>
            </a:br>
            <a:r>
              <a:rPr lang="de-DE" dirty="0" smtClean="0"/>
              <a:t>ggf. Telefon / E-Mail</a:t>
            </a:r>
          </a:p>
        </p:txBody>
      </p:sp>
      <p:sp>
        <p:nvSpPr>
          <p:cNvPr id="13" name="Titel"/>
          <p:cNvSpPr>
            <a:spLocks noGrp="1"/>
          </p:cNvSpPr>
          <p:nvPr>
            <p:ph type="ctrTitle" hasCustomPrompt="1"/>
          </p:nvPr>
        </p:nvSpPr>
        <p:spPr>
          <a:xfrm>
            <a:off x="0" y="2876400"/>
            <a:ext cx="9906000" cy="1440000"/>
          </a:xfrm>
          <a:blipFill dpi="0" rotWithShape="1">
            <a:blip r:embed="rId2" cstate="email">
              <a:extLst>
                <a:ext uri="{28A0092B-C50C-407E-A947-70E740481C1C}">
                  <a14:useLocalDpi xmlns:a14="http://schemas.microsoft.com/office/drawing/2010/main" val="0"/>
                </a:ext>
              </a:extLst>
            </a:blip>
            <a:srcRect/>
            <a:stretch>
              <a:fillRect/>
            </a:stretch>
          </a:blipFill>
        </p:spPr>
        <p:txBody>
          <a:bodyPr lIns="525600" rIns="2340000" bIns="298800" anchor="b" anchorCtr="0"/>
          <a:lstStyle>
            <a:lvl1pPr>
              <a:lnSpc>
                <a:spcPct val="90000"/>
              </a:lnSpc>
              <a:defRPr sz="3200" baseline="0">
                <a:solidFill>
                  <a:schemeClr val="tx2"/>
                </a:solidFill>
              </a:defRPr>
            </a:lvl1pPr>
          </a:lstStyle>
          <a:p>
            <a:r>
              <a:rPr lang="de-DE" dirty="0" smtClean="0"/>
              <a:t>Vielen Dank für Ihre Aufmerksamkeit.</a:t>
            </a:r>
            <a:endParaRPr lang="de-DE" dirty="0"/>
          </a:p>
        </p:txBody>
      </p:sp>
    </p:spTree>
    <p:extLst>
      <p:ext uri="{BB962C8B-B14F-4D97-AF65-F5344CB8AC3E}">
        <p14:creationId xmlns:p14="http://schemas.microsoft.com/office/powerpoint/2010/main" val="4234089617"/>
      </p:ext>
    </p:extLst>
  </p:cSld>
  <p:clrMapOvr>
    <a:masterClrMapping/>
  </p:clrMapOvr>
  <p:transition>
    <p:zoom/>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9" name="Rechteck"/>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Tree>
    <p:extLst>
      <p:ext uri="{BB962C8B-B14F-4D97-AF65-F5344CB8AC3E}">
        <p14:creationId xmlns:p14="http://schemas.microsoft.com/office/powerpoint/2010/main" val="2564513403"/>
      </p:ext>
    </p:extLst>
  </p:cSld>
  <p:clrMapOvr>
    <a:masterClrMapping/>
  </p:clrMapOvr>
  <p:transition>
    <p:zoom/>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Content + title">
    <p:spTree>
      <p:nvGrpSpPr>
        <p:cNvPr id="1" name=""/>
        <p:cNvGrpSpPr/>
        <p:nvPr/>
      </p:nvGrpSpPr>
      <p:grpSpPr>
        <a:xfrm>
          <a:off x="0" y="0"/>
          <a:ext cx="0" cy="0"/>
          <a:chOff x="0" y="0"/>
          <a:chExt cx="0" cy="0"/>
        </a:xfrm>
      </p:grpSpPr>
      <p:sp>
        <p:nvSpPr>
          <p:cNvPr id="6" name="Foliennummernplatzhalter"/>
          <p:cNvSpPr>
            <a:spLocks noGrp="1"/>
          </p:cNvSpPr>
          <p:nvPr>
            <p:ph type="sldNum" sz="quarter" idx="12"/>
          </p:nvPr>
        </p:nvSpPr>
        <p:spPr/>
        <p:txBody>
          <a:bodyPr/>
          <a:lstStyle/>
          <a:p>
            <a:fld id="{1FB8D038-2D38-4B10-A0EB-C05CC9130EB2}" type="slidenum">
              <a:rPr lang="en-US" smtClean="0">
                <a:solidFill>
                  <a:srgbClr val="000000"/>
                </a:solidFill>
              </a:rPr>
              <a:pPr/>
              <a:t>‹#›</a:t>
            </a:fld>
            <a:endParaRPr lang="en-US" dirty="0">
              <a:solidFill>
                <a:srgbClr val="000000"/>
              </a:solidFill>
            </a:endParaRPr>
          </a:p>
        </p:txBody>
      </p:sp>
      <p:sp>
        <p:nvSpPr>
          <p:cNvPr id="5" name="Fußzeilenplatzhalter"/>
          <p:cNvSpPr>
            <a:spLocks noGrp="1"/>
          </p:cNvSpPr>
          <p:nvPr>
            <p:ph type="ftr" sz="quarter" idx="11"/>
          </p:nvPr>
        </p:nvSpPr>
        <p:spPr/>
        <p:txBody>
          <a:bodyPr/>
          <a:lstStyle/>
          <a:p>
            <a:endParaRPr lang="en-US" dirty="0">
              <a:solidFill>
                <a:srgbClr val="007FC3"/>
              </a:solidFill>
            </a:endParaRPr>
          </a:p>
        </p:txBody>
      </p:sp>
      <p:sp>
        <p:nvSpPr>
          <p:cNvPr id="4" name="Datumsplatzhalter"/>
          <p:cNvSpPr>
            <a:spLocks noGrp="1"/>
          </p:cNvSpPr>
          <p:nvPr>
            <p:ph type="dt" sz="half" idx="10"/>
          </p:nvPr>
        </p:nvSpPr>
        <p:spPr/>
        <p:txBody>
          <a:bodyPr/>
          <a:lstStyle/>
          <a:p>
            <a:endParaRPr lang="en-US" dirty="0">
              <a:solidFill>
                <a:srgbClr val="000000"/>
              </a:solidFill>
            </a:endParaRPr>
          </a:p>
        </p:txBody>
      </p:sp>
      <p:sp>
        <p:nvSpPr>
          <p:cNvPr id="3" name="Inhaltsplatzhalter"/>
          <p:cNvSpPr>
            <a:spLocks noGrp="1"/>
          </p:cNvSpPr>
          <p:nvPr>
            <p:ph idx="1"/>
          </p:nvPr>
        </p:nvSpPr>
        <p:spPr>
          <a:xfrm>
            <a:off x="525600" y="944563"/>
            <a:ext cx="8856525" cy="5653087"/>
          </a:xfrm>
        </p:spPr>
        <p:txBody>
          <a:bodyPr vert="horz" lIns="0" tIns="144000" rIns="0" bIns="72000" rtlCol="0">
            <a:noAutofit/>
          </a:bodyPr>
          <a:lstStyle>
            <a:lvl1pPr>
              <a:defRPr lang="de-DE" dirty="0" smtClean="0">
                <a:latin typeface="Arial" panose="020B0604020202020204" pitchFamily="34" charset="0"/>
                <a:cs typeface="Arial" panose="020B0604020202020204" pitchFamily="34" charset="0"/>
              </a:defRPr>
            </a:lvl1pPr>
            <a:lvl2pPr>
              <a:defRPr lang="de-DE" dirty="0" smtClean="0">
                <a:latin typeface="Arial" panose="020B0604020202020204" pitchFamily="34" charset="0"/>
                <a:cs typeface="Arial" panose="020B0604020202020204" pitchFamily="34" charset="0"/>
              </a:defRPr>
            </a:lvl2pPr>
            <a:lvl3pPr>
              <a:defRPr lang="de-DE" dirty="0" smtClean="0">
                <a:latin typeface="Arial" panose="020B0604020202020204" pitchFamily="34" charset="0"/>
                <a:cs typeface="Arial" panose="020B0604020202020204" pitchFamily="34" charset="0"/>
              </a:defRPr>
            </a:lvl3pPr>
            <a:lvl4pPr>
              <a:defRPr lang="de-DE" dirty="0" smtClean="0">
                <a:latin typeface="Arial" panose="020B0604020202020204" pitchFamily="34" charset="0"/>
                <a:cs typeface="Arial" panose="020B0604020202020204" pitchFamily="34" charset="0"/>
              </a:defRPr>
            </a:lvl4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p:txBody>
      </p:sp>
      <p:sp>
        <p:nvSpPr>
          <p:cNvPr id="7" name="Subheadline"/>
          <p:cNvSpPr>
            <a:spLocks noGrp="1"/>
          </p:cNvSpPr>
          <p:nvPr>
            <p:ph type="body" idx="13" hasCustomPrompt="1"/>
          </p:nvPr>
        </p:nvSpPr>
        <p:spPr>
          <a:xfrm>
            <a:off x="525601" y="548680"/>
            <a:ext cx="7307124"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
        <p:nvSpPr>
          <p:cNvPr id="2" name="Titel"/>
          <p:cNvSpPr>
            <a:spLocks noGrp="1"/>
          </p:cNvSpPr>
          <p:nvPr>
            <p:ph type="title" hasCustomPrompt="1"/>
          </p:nvPr>
        </p:nvSpPr>
        <p:spPr>
          <a:xfrm>
            <a:off x="525601" y="288000"/>
            <a:ext cx="7307124" cy="260680"/>
          </a:xfrm>
        </p:spPr>
        <p:txBody>
          <a:bodyPr/>
          <a:lstStyle>
            <a:lvl1pPr>
              <a:defRPr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1770325157"/>
      </p:ext>
    </p:extLst>
  </p:cSld>
  <p:clrMapOvr>
    <a:masterClrMapping/>
  </p:clrMapOvr>
  <p:transition>
    <p:zoom/>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elfolie neutral">
    <p:spTree>
      <p:nvGrpSpPr>
        <p:cNvPr id="1" name=""/>
        <p:cNvGrpSpPr/>
        <p:nvPr/>
      </p:nvGrpSpPr>
      <p:grpSpPr>
        <a:xfrm>
          <a:off x="0" y="0"/>
          <a:ext cx="0" cy="0"/>
          <a:chOff x="0" y="0"/>
          <a:chExt cx="0" cy="0"/>
        </a:xfrm>
      </p:grpSpPr>
      <p:pic>
        <p:nvPicPr>
          <p:cNvPr id="4" name="Grafik"/>
          <p:cNvPicPr>
            <a:picLocks noChangeAspect="1"/>
          </p:cNvPicPr>
          <p:nvPr userDrawn="1"/>
        </p:nvPicPr>
        <p:blipFill>
          <a:blip r:embed="rId2"/>
          <a:srcRect l="5751"/>
          <a:stretch>
            <a:fillRect/>
          </a:stretch>
        </p:blipFill>
        <p:spPr bwMode="auto">
          <a:xfrm>
            <a:off x="0" y="0"/>
            <a:ext cx="9906000" cy="6858000"/>
          </a:xfrm>
          <a:prstGeom prst="rect">
            <a:avLst/>
          </a:prstGeom>
          <a:noFill/>
          <a:ln w="9525">
            <a:noFill/>
            <a:miter lim="800000"/>
            <a:headEnd/>
            <a:tailEnd/>
          </a:ln>
        </p:spPr>
      </p:pic>
      <p:sp>
        <p:nvSpPr>
          <p:cNvPr id="5" name="Sensorstrahl"/>
          <p:cNvSpPr/>
          <p:nvPr userDrawn="1"/>
        </p:nvSpPr>
        <p:spPr>
          <a:xfrm>
            <a:off x="0" y="4316413"/>
            <a:ext cx="9906000" cy="136525"/>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endParaRPr>
          </a:p>
        </p:txBody>
      </p:sp>
      <p:sp>
        <p:nvSpPr>
          <p:cNvPr id="8" name="Titel"/>
          <p:cNvSpPr>
            <a:spLocks noGrp="1"/>
          </p:cNvSpPr>
          <p:nvPr>
            <p:ph type="ctrTitle"/>
          </p:nvPr>
        </p:nvSpPr>
        <p:spPr>
          <a:xfrm>
            <a:off x="0" y="2876400"/>
            <a:ext cx="9906000" cy="1440000"/>
          </a:xfrm>
          <a:blipFill dpi="0" rotWithShape="1">
            <a:blip r:embed="rId3" cstate="email">
              <a:extLst/>
            </a:blip>
            <a:srcRect/>
            <a:stretch>
              <a:fillRect/>
            </a:stretch>
          </a:blipFill>
        </p:spPr>
        <p:txBody>
          <a:bodyPr lIns="525600" rIns="2340000" bIns="298800" anchor="b"/>
          <a:lstStyle>
            <a:lvl1pPr>
              <a:lnSpc>
                <a:spcPct val="90000"/>
              </a:lnSpc>
              <a:defRPr sz="3200" baseline="0">
                <a:solidFill>
                  <a:schemeClr val="tx2"/>
                </a:solidFill>
              </a:defRPr>
            </a:lvl1pPr>
          </a:lstStyle>
          <a:p>
            <a:r>
              <a:rPr lang="en-US" dirty="0" smtClean="0"/>
              <a:t>Образец заголовка</a:t>
            </a:r>
            <a:endParaRPr lang="de-DE" dirty="0"/>
          </a:p>
        </p:txBody>
      </p:sp>
      <p:sp>
        <p:nvSpPr>
          <p:cNvPr id="12" name="Untertitel"/>
          <p:cNvSpPr>
            <a:spLocks noGrp="1"/>
          </p:cNvSpPr>
          <p:nvPr>
            <p:ph type="subTitle" idx="1"/>
          </p:nvPr>
        </p:nvSpPr>
        <p:spPr>
          <a:xfrm>
            <a:off x="0" y="4456800"/>
            <a:ext cx="9906000" cy="2401200"/>
          </a:xfrm>
          <a:noFill/>
        </p:spPr>
        <p:txBody>
          <a:bodyPr lIns="525600" tIns="216000" rIns="2340000" bIns="396000"/>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Образец подзаголовка</a:t>
            </a:r>
            <a:endParaRPr lang="de-DE" dirty="0"/>
          </a:p>
        </p:txBody>
      </p:sp>
    </p:spTree>
    <p:extLst>
      <p:ext uri="{BB962C8B-B14F-4D97-AF65-F5344CB8AC3E}">
        <p14:creationId xmlns:p14="http://schemas.microsoft.com/office/powerpoint/2010/main" val="3191863642"/>
      </p:ext>
    </p:extLst>
  </p:cSld>
  <p:clrMapOvr>
    <a:masterClrMapping/>
  </p:clrMapOvr>
  <p:transition>
    <p:zoom/>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sp>
        <p:nvSpPr>
          <p:cNvPr id="5" name="Rechteck"/>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endParaRPr>
          </a:p>
        </p:txBody>
      </p:sp>
      <p:sp>
        <p:nvSpPr>
          <p:cNvPr id="6" name="Sensorstrahl"/>
          <p:cNvSpPr/>
          <p:nvPr userDrawn="1"/>
        </p:nvSpPr>
        <p:spPr>
          <a:xfrm>
            <a:off x="0" y="4316413"/>
            <a:ext cx="9906000" cy="136525"/>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endParaRPr>
          </a:p>
        </p:txBody>
      </p:sp>
      <p:sp>
        <p:nvSpPr>
          <p:cNvPr id="13" name="Bildplatzhalter"/>
          <p:cNvSpPr>
            <a:spLocks noGrp="1"/>
          </p:cNvSpPr>
          <p:nvPr>
            <p:ph type="pic" sz="quarter" idx="14"/>
          </p:nvPr>
        </p:nvSpPr>
        <p:spPr>
          <a:xfrm>
            <a:off x="0" y="0"/>
            <a:ext cx="9906000" cy="4316400"/>
          </a:xfrm>
        </p:spPr>
        <p:txBody>
          <a:bodyPr lIns="396000" tIns="180000" rIns="396000" bIns="180000" rtlCol="0">
            <a:noAutofit/>
          </a:bodyPr>
          <a:lstStyle>
            <a:lvl1pPr marL="0" indent="0">
              <a:buFontTx/>
              <a:buNone/>
              <a:defRPr sz="1500">
                <a:solidFill>
                  <a:schemeClr val="accent2"/>
                </a:solidFill>
              </a:defRPr>
            </a:lvl1pPr>
          </a:lstStyle>
          <a:p>
            <a:pPr lvl="0"/>
            <a:r>
              <a:rPr lang="de-DE" noProof="0" smtClean="0"/>
              <a:t>Bild durch Klicken auf Symbol hinzufügen</a:t>
            </a:r>
            <a:endParaRPr lang="de-DE" noProof="0" dirty="0"/>
          </a:p>
        </p:txBody>
      </p:sp>
      <p:sp>
        <p:nvSpPr>
          <p:cNvPr id="3" name="Untertitel"/>
          <p:cNvSpPr>
            <a:spLocks noGrp="1"/>
          </p:cNvSpPr>
          <p:nvPr>
            <p:ph type="subTitle" idx="1"/>
          </p:nvPr>
        </p:nvSpPr>
        <p:spPr>
          <a:xfrm>
            <a:off x="0" y="4456800"/>
            <a:ext cx="9906000" cy="2401200"/>
          </a:xfrm>
          <a:noFill/>
        </p:spPr>
        <p:txBody>
          <a:bodyPr lIns="525600" tIns="216000" rIns="2340000" bIns="396000"/>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Образец подзаголовка</a:t>
            </a:r>
            <a:endParaRPr lang="de-DE" dirty="0"/>
          </a:p>
        </p:txBody>
      </p:sp>
      <p:sp>
        <p:nvSpPr>
          <p:cNvPr id="2" name="Titel"/>
          <p:cNvSpPr>
            <a:spLocks noGrp="1"/>
          </p:cNvSpPr>
          <p:nvPr>
            <p:ph type="ctrTitle"/>
          </p:nvPr>
        </p:nvSpPr>
        <p:spPr>
          <a:xfrm>
            <a:off x="0" y="2876400"/>
            <a:ext cx="9906000" cy="1440000"/>
          </a:xfrm>
          <a:blipFill dpi="0" rotWithShape="1">
            <a:blip r:embed="rId2" cstate="email">
              <a:extLst/>
            </a:blip>
            <a:srcRect/>
            <a:stretch>
              <a:fillRect/>
            </a:stretch>
          </a:blipFill>
        </p:spPr>
        <p:txBody>
          <a:bodyPr lIns="525600" rIns="2340000" bIns="298800" anchor="b"/>
          <a:lstStyle>
            <a:lvl1pPr>
              <a:lnSpc>
                <a:spcPct val="90000"/>
              </a:lnSpc>
              <a:defRPr sz="3200" baseline="0">
                <a:solidFill>
                  <a:schemeClr val="tx2"/>
                </a:solidFill>
              </a:defRPr>
            </a:lvl1pPr>
          </a:lstStyle>
          <a:p>
            <a:r>
              <a:rPr lang="en-US" dirty="0" smtClean="0"/>
              <a:t>Образец заголовка</a:t>
            </a:r>
            <a:endParaRPr lang="de-DE" dirty="0"/>
          </a:p>
        </p:txBody>
      </p:sp>
    </p:spTree>
    <p:extLst>
      <p:ext uri="{BB962C8B-B14F-4D97-AF65-F5344CB8AC3E}">
        <p14:creationId xmlns:p14="http://schemas.microsoft.com/office/powerpoint/2010/main" val="2061463482"/>
      </p:ext>
    </p:extLst>
  </p:cSld>
  <p:clrMapOvr>
    <a:masterClrMapping/>
  </p:clrMapOvr>
  <p:transition>
    <p:zo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9" name="Rechteck"/>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Bildplatzhalter"/>
          <p:cNvSpPr>
            <a:spLocks noGrp="1"/>
          </p:cNvSpPr>
          <p:nvPr>
            <p:ph type="pic" sz="quarter" idx="14"/>
          </p:nvPr>
        </p:nvSpPr>
        <p:spPr>
          <a:xfrm>
            <a:off x="0" y="0"/>
            <a:ext cx="9906000" cy="4316400"/>
          </a:xfrm>
        </p:spPr>
        <p:txBody>
          <a:bodyPr lIns="396000" tIns="180000" rIns="396000" bIns="180000"/>
          <a:lstStyle>
            <a:lvl1pPr marL="0" indent="0">
              <a:buFontTx/>
              <a:buNone/>
              <a:defRPr sz="1600">
                <a:solidFill>
                  <a:schemeClr val="accent2"/>
                </a:solidFill>
              </a:defRPr>
            </a:lvl1pPr>
          </a:lstStyle>
          <a:p>
            <a:r>
              <a:rPr lang="de-DE" noProof="0" smtClean="0"/>
              <a:t>Bild durch Klicken auf Symbol hinzufügen</a:t>
            </a:r>
            <a:endParaRPr lang="en-US" noProof="0" dirty="0"/>
          </a:p>
        </p:txBody>
      </p:sp>
      <p:sp>
        <p:nvSpPr>
          <p:cNvPr id="3" name="Kapitelplatzhalter"/>
          <p:cNvSpPr>
            <a:spLocks noGrp="1"/>
          </p:cNvSpPr>
          <p:nvPr>
            <p:ph type="body" idx="1" hasCustomPrompt="1"/>
          </p:nvPr>
        </p:nvSpPr>
        <p:spPr>
          <a:xfrm>
            <a:off x="-15552" y="4453200"/>
            <a:ext cx="2145000" cy="1260000"/>
          </a:xfrm>
          <a:solidFill>
            <a:schemeClr val="bg1">
              <a:alpha val="85000"/>
            </a:schemeClr>
          </a:solidFill>
        </p:spPr>
        <p:txBody>
          <a:bodyPr lIns="525600" tIns="72000" rIns="396000" bIns="72000" anchor="ctr" anchorCtr="0"/>
          <a:lstStyle>
            <a:lvl1pPr marL="0" indent="0" algn="l">
              <a:buNone/>
              <a:defRPr sz="6000" b="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01</a:t>
            </a:r>
          </a:p>
        </p:txBody>
      </p:sp>
      <p:sp>
        <p:nvSpPr>
          <p:cNvPr id="12" name="Sensorstrahl"/>
          <p:cNvSpPr/>
          <p:nvPr userDrawn="1"/>
        </p:nvSpPr>
        <p:spPr>
          <a:xfrm>
            <a:off x="0" y="4316400"/>
            <a:ext cx="9906000" cy="136800"/>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 name="Titel"/>
          <p:cNvSpPr>
            <a:spLocks noGrp="1"/>
          </p:cNvSpPr>
          <p:nvPr>
            <p:ph type="ctrTitle" hasCustomPrompt="1"/>
          </p:nvPr>
        </p:nvSpPr>
        <p:spPr>
          <a:xfrm>
            <a:off x="0" y="2876400"/>
            <a:ext cx="9906000" cy="1440000"/>
          </a:xfrm>
          <a:blipFill dpi="0" rotWithShape="1">
            <a:blip r:embed="rId2">
              <a:extLst>
                <a:ext uri="{28A0092B-C50C-407E-A947-70E740481C1C}">
                  <a14:useLocalDpi xmlns:a14="http://schemas.microsoft.com/office/drawing/2010/main" val="0"/>
                </a:ext>
              </a:extLst>
            </a:blip>
            <a:srcRect/>
            <a:stretch>
              <a:fillRect/>
            </a:stretch>
          </a:blipFill>
        </p:spPr>
        <p:txBody>
          <a:bodyPr lIns="525600" rIns="2340000" bIns="298800" anchor="b" anchorCtr="0"/>
          <a:lstStyle>
            <a:lvl1pPr>
              <a:lnSpc>
                <a:spcPct val="90000"/>
              </a:lnSpc>
              <a:defRPr sz="3200" baseline="0">
                <a:solidFill>
                  <a:schemeClr val="tx2"/>
                </a:solidFill>
                <a:sym typeface="Wingdings" panose="05000000000000000000" pitchFamily="2" charset="2"/>
              </a:defRPr>
            </a:lvl1pPr>
          </a:lstStyle>
          <a:p>
            <a:r>
              <a:rPr lang="en-US" noProof="0" dirty="0" smtClean="0"/>
              <a:t>Chapter slide</a:t>
            </a:r>
            <a:br>
              <a:rPr lang="en-US" noProof="0" dirty="0" smtClean="0"/>
            </a:br>
            <a:r>
              <a:rPr lang="en-US" noProof="0" dirty="0" smtClean="0"/>
              <a:t>(Chapter no. (if needed)  below)</a:t>
            </a:r>
            <a:endParaRPr lang="en-US" noProof="0" dirty="0"/>
          </a:p>
        </p:txBody>
      </p:sp>
    </p:spTree>
    <p:extLst>
      <p:ext uri="{BB962C8B-B14F-4D97-AF65-F5344CB8AC3E}">
        <p14:creationId xmlns:p14="http://schemas.microsoft.com/office/powerpoint/2010/main" val="3881550605"/>
      </p:ext>
    </p:extLst>
  </p:cSld>
  <p:clrMapOvr>
    <a:masterClrMapping/>
  </p:clrMapOvr>
  <p:transition>
    <p:zoom/>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nhalt + Titel">
    <p:spTree>
      <p:nvGrpSpPr>
        <p:cNvPr id="1" name=""/>
        <p:cNvGrpSpPr/>
        <p:nvPr/>
      </p:nvGrpSpPr>
      <p:grpSpPr>
        <a:xfrm>
          <a:off x="0" y="0"/>
          <a:ext cx="0" cy="0"/>
          <a:chOff x="0" y="0"/>
          <a:chExt cx="0" cy="0"/>
        </a:xfrm>
      </p:grpSpPr>
      <p:sp>
        <p:nvSpPr>
          <p:cNvPr id="3" name="Inhaltsplatzhalter"/>
          <p:cNvSpPr>
            <a:spLocks noGrp="1"/>
          </p:cNvSpPr>
          <p:nvPr>
            <p:ph idx="1"/>
          </p:nvPr>
        </p:nvSpPr>
        <p:spPr>
          <a:xfrm>
            <a:off x="525600" y="944563"/>
            <a:ext cx="8856525" cy="5653087"/>
          </a:xfrm>
        </p:spPr>
        <p:txBody>
          <a:bodyPr bIns="72000" rtlCol="0">
            <a:noAutofit/>
          </a:bodyPr>
          <a:lstStyle>
            <a:lvl1pPr>
              <a:defRPr lang="de-DE" dirty="0" smtClean="0"/>
            </a:lvl1pPr>
            <a:lvl2pPr>
              <a:defRPr lang="de-DE" dirty="0" smtClean="0"/>
            </a:lvl2pPr>
            <a:lvl3pPr>
              <a:defRPr lang="de-DE" dirty="0" smtClean="0"/>
            </a:lvl3pPr>
            <a:lvl4pPr>
              <a:defRPr lang="de-DE" dirty="0" smtClean="0"/>
            </a:lvl4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7" name="Subheadline"/>
          <p:cNvSpPr>
            <a:spLocks noGrp="1"/>
          </p:cNvSpPr>
          <p:nvPr>
            <p:ph type="body" idx="13"/>
          </p:nvPr>
        </p:nvSpPr>
        <p:spPr>
          <a:xfrm>
            <a:off x="525601" y="548680"/>
            <a:ext cx="7307124" cy="288000"/>
          </a:xfrm>
        </p:spPr>
        <p:txBody>
          <a:bodyPr tIns="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Образец текста</a:t>
            </a:r>
          </a:p>
        </p:txBody>
      </p:sp>
      <p:sp>
        <p:nvSpPr>
          <p:cNvPr id="2" name="Titel"/>
          <p:cNvSpPr>
            <a:spLocks noGrp="1"/>
          </p:cNvSpPr>
          <p:nvPr>
            <p:ph type="title"/>
          </p:nvPr>
        </p:nvSpPr>
        <p:spPr>
          <a:xfrm>
            <a:off x="525601" y="288000"/>
            <a:ext cx="7307124" cy="260680"/>
          </a:xfrm>
        </p:spPr>
        <p:txBody>
          <a:bodyPr/>
          <a:lstStyle>
            <a:lvl1pPr>
              <a:defRPr baseline="0"/>
            </a:lvl1pPr>
          </a:lstStyle>
          <a:p>
            <a:r>
              <a:rPr lang="en-US" dirty="0" err="1" smtClean="0"/>
              <a:t>Образец заголовка</a:t>
            </a:r>
            <a:endParaRPr lang="de-DE" dirty="0"/>
          </a:p>
        </p:txBody>
      </p:sp>
      <p:sp>
        <p:nvSpPr>
          <p:cNvPr id="5" name="Foliennummernplatzhalter"/>
          <p:cNvSpPr>
            <a:spLocks noGrp="1"/>
          </p:cNvSpPr>
          <p:nvPr>
            <p:ph type="sldNum" sz="quarter" idx="14"/>
          </p:nvPr>
        </p:nvSpPr>
        <p:spPr/>
        <p:txBody>
          <a:bodyPr/>
          <a:lstStyle>
            <a:lvl1pPr>
              <a:defRPr>
                <a:cs typeface="+mn-cs"/>
              </a:defRPr>
            </a:lvl1pPr>
          </a:lstStyle>
          <a:p>
            <a:pPr>
              <a:defRPr/>
            </a:pPr>
            <a:fld id="{6EE5125C-D84C-4378-9EEB-ABAA41B9DFAA}" type="slidenum">
              <a:rPr lang="de-DE"/>
              <a:pPr>
                <a:defRPr/>
              </a:pPr>
              <a:t>‹#›</a:t>
            </a:fld>
            <a:endParaRPr lang="de-DE"/>
          </a:p>
        </p:txBody>
      </p:sp>
      <p:sp>
        <p:nvSpPr>
          <p:cNvPr id="6" name="Fußzeilenplatzhalter"/>
          <p:cNvSpPr>
            <a:spLocks noGrp="1"/>
          </p:cNvSpPr>
          <p:nvPr>
            <p:ph type="ftr" sz="quarter" idx="15"/>
          </p:nvPr>
        </p:nvSpPr>
        <p:spPr/>
        <p:txBody>
          <a:bodyPr/>
          <a:lstStyle>
            <a:lvl1pPr>
              <a:defRPr>
                <a:cs typeface="+mn-cs"/>
              </a:defRPr>
            </a:lvl1pPr>
          </a:lstStyle>
          <a:p>
            <a:pPr>
              <a:defRPr/>
            </a:pPr>
            <a:endParaRPr lang="de-DE"/>
          </a:p>
        </p:txBody>
      </p:sp>
      <p:sp>
        <p:nvSpPr>
          <p:cNvPr id="8" name="Datumsplatzhalter"/>
          <p:cNvSpPr>
            <a:spLocks noGrp="1"/>
          </p:cNvSpPr>
          <p:nvPr>
            <p:ph type="dt" sz="half" idx="16"/>
          </p:nvPr>
        </p:nvSpPr>
        <p:spPr/>
        <p:txBody>
          <a:bodyPr/>
          <a:lstStyle>
            <a:lvl1pPr>
              <a:defRPr>
                <a:cs typeface="+mn-cs"/>
              </a:defRPr>
            </a:lvl1pPr>
          </a:lstStyle>
          <a:p>
            <a:pPr>
              <a:defRPr/>
            </a:pPr>
            <a:endParaRPr lang="de-DE"/>
          </a:p>
        </p:txBody>
      </p:sp>
    </p:spTree>
    <p:extLst>
      <p:ext uri="{BB962C8B-B14F-4D97-AF65-F5344CB8AC3E}">
        <p14:creationId xmlns:p14="http://schemas.microsoft.com/office/powerpoint/2010/main" val="372786236"/>
      </p:ext>
    </p:extLst>
  </p:cSld>
  <p:clrMapOvr>
    <a:masterClrMapping/>
  </p:clrMapOvr>
  <p:transition>
    <p:zoom/>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nhalt + Titel 2-zeilig">
    <p:spTree>
      <p:nvGrpSpPr>
        <p:cNvPr id="1" name=""/>
        <p:cNvGrpSpPr/>
        <p:nvPr/>
      </p:nvGrpSpPr>
      <p:grpSpPr>
        <a:xfrm>
          <a:off x="0" y="0"/>
          <a:ext cx="0" cy="0"/>
          <a:chOff x="0" y="0"/>
          <a:chExt cx="0" cy="0"/>
        </a:xfrm>
      </p:grpSpPr>
      <p:sp>
        <p:nvSpPr>
          <p:cNvPr id="3" name="Inhaltsplatzhalter"/>
          <p:cNvSpPr>
            <a:spLocks noGrp="1"/>
          </p:cNvSpPr>
          <p:nvPr>
            <p:ph idx="1"/>
          </p:nvPr>
        </p:nvSpPr>
        <p:spPr>
          <a:xfrm>
            <a:off x="525600" y="944563"/>
            <a:ext cx="8856000" cy="5653087"/>
          </a:xfrm>
        </p:spPr>
        <p:txBody>
          <a:bodyPr bIns="72000"/>
          <a:lstStyle>
            <a:lvl4pPr>
              <a:defRPr sz="1600"/>
            </a:lvl4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2" name="Titel"/>
          <p:cNvSpPr>
            <a:spLocks noGrp="1"/>
          </p:cNvSpPr>
          <p:nvPr>
            <p:ph type="title"/>
          </p:nvPr>
        </p:nvSpPr>
        <p:spPr>
          <a:xfrm>
            <a:off x="525600" y="288000"/>
            <a:ext cx="7308000" cy="612000"/>
          </a:xfrm>
        </p:spPr>
        <p:txBody>
          <a:bodyPr/>
          <a:lstStyle>
            <a:lvl1pPr>
              <a:defRPr baseline="0"/>
            </a:lvl1pPr>
          </a:lstStyle>
          <a:p>
            <a:r>
              <a:rPr lang="en-US" dirty="0" smtClean="0"/>
              <a:t>Образец заголовка</a:t>
            </a:r>
            <a:endParaRPr lang="de-DE" dirty="0"/>
          </a:p>
        </p:txBody>
      </p:sp>
      <p:sp>
        <p:nvSpPr>
          <p:cNvPr id="4" name="Foliennummernplatzhalter"/>
          <p:cNvSpPr>
            <a:spLocks noGrp="1"/>
          </p:cNvSpPr>
          <p:nvPr>
            <p:ph type="sldNum" sz="quarter" idx="10"/>
          </p:nvPr>
        </p:nvSpPr>
        <p:spPr/>
        <p:txBody>
          <a:bodyPr/>
          <a:lstStyle>
            <a:lvl1pPr>
              <a:defRPr>
                <a:cs typeface="+mn-cs"/>
              </a:defRPr>
            </a:lvl1pPr>
          </a:lstStyle>
          <a:p>
            <a:pPr>
              <a:defRPr/>
            </a:pPr>
            <a:fld id="{2AA8031E-DF91-4478-9C79-76E3F0940CC1}" type="slidenum">
              <a:rPr lang="de-DE"/>
              <a:pPr>
                <a:defRPr/>
              </a:pPr>
              <a:t>‹#›</a:t>
            </a:fld>
            <a:endParaRPr lang="de-DE"/>
          </a:p>
        </p:txBody>
      </p:sp>
      <p:sp>
        <p:nvSpPr>
          <p:cNvPr id="5" name="Fußzeilenplatzhalter"/>
          <p:cNvSpPr>
            <a:spLocks noGrp="1"/>
          </p:cNvSpPr>
          <p:nvPr>
            <p:ph type="ftr" sz="quarter" idx="11"/>
          </p:nvPr>
        </p:nvSpPr>
        <p:spPr/>
        <p:txBody>
          <a:bodyPr/>
          <a:lstStyle>
            <a:lvl1pPr>
              <a:defRPr>
                <a:cs typeface="+mn-cs"/>
              </a:defRPr>
            </a:lvl1pPr>
          </a:lstStyle>
          <a:p>
            <a:pPr>
              <a:defRPr/>
            </a:pPr>
            <a:endParaRPr lang="de-DE"/>
          </a:p>
        </p:txBody>
      </p:sp>
      <p:sp>
        <p:nvSpPr>
          <p:cNvPr id="6" name="Datumsplatzhalter"/>
          <p:cNvSpPr>
            <a:spLocks noGrp="1"/>
          </p:cNvSpPr>
          <p:nvPr>
            <p:ph type="dt" sz="half" idx="12"/>
          </p:nvPr>
        </p:nvSpPr>
        <p:spPr/>
        <p:txBody>
          <a:bodyPr/>
          <a:lstStyle>
            <a:lvl1pPr>
              <a:defRPr>
                <a:cs typeface="+mn-cs"/>
              </a:defRPr>
            </a:lvl1pPr>
          </a:lstStyle>
          <a:p>
            <a:pPr>
              <a:defRPr/>
            </a:pPr>
            <a:endParaRPr lang="de-DE"/>
          </a:p>
        </p:txBody>
      </p:sp>
    </p:spTree>
    <p:extLst>
      <p:ext uri="{BB962C8B-B14F-4D97-AF65-F5344CB8AC3E}">
        <p14:creationId xmlns:p14="http://schemas.microsoft.com/office/powerpoint/2010/main" val="899584591"/>
      </p:ext>
    </p:extLst>
  </p:cSld>
  <p:clrMapOvr>
    <a:masterClrMapping/>
  </p:clrMapOvr>
  <p:transition>
    <p:zoom/>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nhalt links Bild rechts">
    <p:spTree>
      <p:nvGrpSpPr>
        <p:cNvPr id="1" name=""/>
        <p:cNvGrpSpPr/>
        <p:nvPr/>
      </p:nvGrpSpPr>
      <p:grpSpPr>
        <a:xfrm>
          <a:off x="0" y="0"/>
          <a:ext cx="0" cy="0"/>
          <a:chOff x="0" y="0"/>
          <a:chExt cx="0" cy="0"/>
        </a:xfrm>
      </p:grpSpPr>
      <p:sp>
        <p:nvSpPr>
          <p:cNvPr id="9" name="Bildplatzhalter"/>
          <p:cNvSpPr>
            <a:spLocks noGrp="1"/>
          </p:cNvSpPr>
          <p:nvPr>
            <p:ph type="pic" sz="quarter" idx="14"/>
          </p:nvPr>
        </p:nvSpPr>
        <p:spPr>
          <a:xfrm>
            <a:off x="5030389" y="944563"/>
            <a:ext cx="4351103" cy="5653087"/>
          </a:xfrm>
        </p:spPr>
        <p:txBody>
          <a:bodyPr tIns="180000" bIns="180000" rtlCol="0">
            <a:noAutofit/>
          </a:bodyPr>
          <a:lstStyle>
            <a:lvl1pPr marL="0" indent="0">
              <a:buFontTx/>
              <a:buNone/>
              <a:defRPr sz="1600">
                <a:solidFill>
                  <a:schemeClr val="accent2"/>
                </a:solidFill>
              </a:defRPr>
            </a:lvl1pPr>
          </a:lstStyle>
          <a:p>
            <a:pPr lvl="0"/>
            <a:r>
              <a:rPr lang="de-DE" noProof="0" smtClean="0"/>
              <a:t>Bild durch Klicken auf Symbol hinzufügen</a:t>
            </a:r>
            <a:endParaRPr lang="de-DE" noProof="0" dirty="0"/>
          </a:p>
        </p:txBody>
      </p:sp>
      <p:sp>
        <p:nvSpPr>
          <p:cNvPr id="3" name="Inhaltsplatzhalter"/>
          <p:cNvSpPr>
            <a:spLocks noGrp="1"/>
          </p:cNvSpPr>
          <p:nvPr>
            <p:ph idx="1"/>
          </p:nvPr>
        </p:nvSpPr>
        <p:spPr>
          <a:xfrm>
            <a:off x="525600" y="944563"/>
            <a:ext cx="4349400" cy="5653087"/>
          </a:xfrm>
        </p:spPr>
        <p:txBody>
          <a:bodyPr bIns="72000"/>
          <a:lstStyle/>
          <a:p>
            <a:pPr lvl="0"/>
            <a:r>
              <a:rPr lang="de-DE" smtClean="0"/>
              <a:t>Textmasterformat bearbeiten</a:t>
            </a:r>
          </a:p>
          <a:p>
            <a:pPr lvl="1"/>
            <a:r>
              <a:rPr lang="de-DE" smtClean="0"/>
              <a:t>Zweite Ebene</a:t>
            </a:r>
          </a:p>
          <a:p>
            <a:pPr lvl="2"/>
            <a:r>
              <a:rPr lang="de-DE" smtClean="0"/>
              <a:t>Dritte Ebene</a:t>
            </a:r>
          </a:p>
        </p:txBody>
      </p:sp>
      <p:sp>
        <p:nvSpPr>
          <p:cNvPr id="11" name="Subheadline"/>
          <p:cNvSpPr>
            <a:spLocks noGrp="1"/>
          </p:cNvSpPr>
          <p:nvPr>
            <p:ph type="body" idx="13"/>
          </p:nvPr>
        </p:nvSpPr>
        <p:spPr>
          <a:xfrm>
            <a:off x="525600" y="548680"/>
            <a:ext cx="7308000" cy="288000"/>
          </a:xfrm>
        </p:spPr>
        <p:txBody>
          <a:bodyPr tIns="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10" name="Titel"/>
          <p:cNvSpPr>
            <a:spLocks noGrp="1"/>
          </p:cNvSpPr>
          <p:nvPr>
            <p:ph type="title"/>
          </p:nvPr>
        </p:nvSpPr>
        <p:spPr>
          <a:xfrm>
            <a:off x="525600" y="288000"/>
            <a:ext cx="7308000" cy="260680"/>
          </a:xfrm>
        </p:spPr>
        <p:txBody>
          <a:bodyPr/>
          <a:lstStyle>
            <a:lvl1pPr>
              <a:defRPr baseline="0"/>
            </a:lvl1pPr>
          </a:lstStyle>
          <a:p>
            <a:r>
              <a:rPr lang="en-US" dirty="0" err="1" smtClean="0"/>
              <a:t>Образец заголовка</a:t>
            </a:r>
            <a:endParaRPr lang="de-DE" dirty="0"/>
          </a:p>
        </p:txBody>
      </p:sp>
      <p:sp>
        <p:nvSpPr>
          <p:cNvPr id="6" name="Foliennummernplatzhalter"/>
          <p:cNvSpPr>
            <a:spLocks noGrp="1"/>
          </p:cNvSpPr>
          <p:nvPr>
            <p:ph type="sldNum" sz="quarter" idx="15"/>
          </p:nvPr>
        </p:nvSpPr>
        <p:spPr/>
        <p:txBody>
          <a:bodyPr/>
          <a:lstStyle>
            <a:lvl1pPr>
              <a:defRPr>
                <a:cs typeface="+mn-cs"/>
              </a:defRPr>
            </a:lvl1pPr>
          </a:lstStyle>
          <a:p>
            <a:pPr>
              <a:defRPr/>
            </a:pPr>
            <a:fld id="{C3A5B873-C0C2-4C6F-BA93-9A6112412DF2}" type="slidenum">
              <a:rPr lang="de-DE"/>
              <a:pPr>
                <a:defRPr/>
              </a:pPr>
              <a:t>‹#›</a:t>
            </a:fld>
            <a:endParaRPr lang="de-DE"/>
          </a:p>
        </p:txBody>
      </p:sp>
      <p:sp>
        <p:nvSpPr>
          <p:cNvPr id="7" name="Fußzeilenplatzhalter"/>
          <p:cNvSpPr>
            <a:spLocks noGrp="1"/>
          </p:cNvSpPr>
          <p:nvPr>
            <p:ph type="ftr" sz="quarter" idx="16"/>
          </p:nvPr>
        </p:nvSpPr>
        <p:spPr/>
        <p:txBody>
          <a:bodyPr/>
          <a:lstStyle>
            <a:lvl1pPr>
              <a:defRPr>
                <a:cs typeface="+mn-cs"/>
              </a:defRPr>
            </a:lvl1pPr>
          </a:lstStyle>
          <a:p>
            <a:pPr>
              <a:defRPr/>
            </a:pPr>
            <a:endParaRPr lang="de-DE"/>
          </a:p>
        </p:txBody>
      </p:sp>
      <p:sp>
        <p:nvSpPr>
          <p:cNvPr id="8" name="Datumsplatzhalter"/>
          <p:cNvSpPr>
            <a:spLocks noGrp="1"/>
          </p:cNvSpPr>
          <p:nvPr>
            <p:ph type="dt" sz="half" idx="17"/>
          </p:nvPr>
        </p:nvSpPr>
        <p:spPr/>
        <p:txBody>
          <a:bodyPr/>
          <a:lstStyle>
            <a:lvl1pPr>
              <a:defRPr>
                <a:cs typeface="+mn-cs"/>
              </a:defRPr>
            </a:lvl1pPr>
          </a:lstStyle>
          <a:p>
            <a:pPr>
              <a:defRPr/>
            </a:pPr>
            <a:endParaRPr lang="de-DE"/>
          </a:p>
        </p:txBody>
      </p:sp>
    </p:spTree>
    <p:extLst>
      <p:ext uri="{BB962C8B-B14F-4D97-AF65-F5344CB8AC3E}">
        <p14:creationId xmlns:p14="http://schemas.microsoft.com/office/powerpoint/2010/main" val="4232447356"/>
      </p:ext>
    </p:extLst>
  </p:cSld>
  <p:clrMapOvr>
    <a:masterClrMapping/>
  </p:clrMapOvr>
  <p:transition>
    <p:zoom/>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ild links Inhalt rechts">
    <p:spTree>
      <p:nvGrpSpPr>
        <p:cNvPr id="1" name=""/>
        <p:cNvGrpSpPr/>
        <p:nvPr/>
      </p:nvGrpSpPr>
      <p:grpSpPr>
        <a:xfrm>
          <a:off x="0" y="0"/>
          <a:ext cx="0" cy="0"/>
          <a:chOff x="0" y="0"/>
          <a:chExt cx="0" cy="0"/>
        </a:xfrm>
      </p:grpSpPr>
      <p:sp>
        <p:nvSpPr>
          <p:cNvPr id="3" name="Inhaltsplatzhalter"/>
          <p:cNvSpPr>
            <a:spLocks noGrp="1"/>
          </p:cNvSpPr>
          <p:nvPr>
            <p:ph idx="1"/>
          </p:nvPr>
        </p:nvSpPr>
        <p:spPr>
          <a:xfrm>
            <a:off x="5030999" y="944563"/>
            <a:ext cx="4350493" cy="5653087"/>
          </a:xfrm>
        </p:spPr>
        <p:txBody>
          <a:bodyPr bIns="72000"/>
          <a:lstStyle/>
          <a:p>
            <a:pPr lvl="0"/>
            <a:r>
              <a:rPr lang="de-DE" smtClean="0"/>
              <a:t>Textmasterformat bearbeiten</a:t>
            </a:r>
          </a:p>
          <a:p>
            <a:pPr lvl="1"/>
            <a:r>
              <a:rPr lang="de-DE" smtClean="0"/>
              <a:t>Zweite Ebene</a:t>
            </a:r>
          </a:p>
          <a:p>
            <a:pPr lvl="2"/>
            <a:r>
              <a:rPr lang="de-DE" smtClean="0"/>
              <a:t>Dritte Ebene</a:t>
            </a:r>
          </a:p>
        </p:txBody>
      </p:sp>
      <p:sp>
        <p:nvSpPr>
          <p:cNvPr id="9" name="Bildplatzhalter"/>
          <p:cNvSpPr>
            <a:spLocks noGrp="1"/>
          </p:cNvSpPr>
          <p:nvPr>
            <p:ph type="pic" sz="quarter" idx="14"/>
          </p:nvPr>
        </p:nvSpPr>
        <p:spPr>
          <a:xfrm>
            <a:off x="525600" y="944563"/>
            <a:ext cx="4349400" cy="5653087"/>
          </a:xfrm>
        </p:spPr>
        <p:txBody>
          <a:bodyPr tIns="180000" bIns="180000" rtlCol="0">
            <a:noAutofit/>
          </a:bodyPr>
          <a:lstStyle>
            <a:lvl1pPr marL="0" indent="0">
              <a:buFontTx/>
              <a:buNone/>
              <a:defRPr sz="1600">
                <a:solidFill>
                  <a:schemeClr val="accent2"/>
                </a:solidFill>
              </a:defRPr>
            </a:lvl1pPr>
          </a:lstStyle>
          <a:p>
            <a:pPr lvl="0"/>
            <a:r>
              <a:rPr lang="de-DE" noProof="0" smtClean="0"/>
              <a:t>Bild durch Klicken auf Symbol hinzufügen</a:t>
            </a:r>
            <a:endParaRPr lang="de-DE" noProof="0" dirty="0"/>
          </a:p>
        </p:txBody>
      </p:sp>
      <p:sp>
        <p:nvSpPr>
          <p:cNvPr id="11" name="Subheadline"/>
          <p:cNvSpPr>
            <a:spLocks noGrp="1"/>
          </p:cNvSpPr>
          <p:nvPr>
            <p:ph type="body" idx="13"/>
          </p:nvPr>
        </p:nvSpPr>
        <p:spPr>
          <a:xfrm>
            <a:off x="525600" y="548680"/>
            <a:ext cx="7308000" cy="288000"/>
          </a:xfrm>
        </p:spPr>
        <p:txBody>
          <a:bodyPr tIns="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10" name="Titel"/>
          <p:cNvSpPr>
            <a:spLocks noGrp="1"/>
          </p:cNvSpPr>
          <p:nvPr>
            <p:ph type="title"/>
          </p:nvPr>
        </p:nvSpPr>
        <p:spPr>
          <a:xfrm>
            <a:off x="525600" y="288000"/>
            <a:ext cx="7308000" cy="260680"/>
          </a:xfrm>
        </p:spPr>
        <p:txBody>
          <a:bodyPr/>
          <a:lstStyle>
            <a:lvl1pPr>
              <a:defRPr baseline="0"/>
            </a:lvl1pPr>
          </a:lstStyle>
          <a:p>
            <a:r>
              <a:rPr lang="en-US" dirty="0" err="1" smtClean="0"/>
              <a:t>Образец заголовка</a:t>
            </a:r>
            <a:endParaRPr lang="de-DE" dirty="0"/>
          </a:p>
        </p:txBody>
      </p:sp>
      <p:sp>
        <p:nvSpPr>
          <p:cNvPr id="6" name="Foliennummernplatzhalter"/>
          <p:cNvSpPr>
            <a:spLocks noGrp="1"/>
          </p:cNvSpPr>
          <p:nvPr>
            <p:ph type="sldNum" sz="quarter" idx="15"/>
          </p:nvPr>
        </p:nvSpPr>
        <p:spPr/>
        <p:txBody>
          <a:bodyPr/>
          <a:lstStyle>
            <a:lvl1pPr>
              <a:defRPr>
                <a:cs typeface="+mn-cs"/>
              </a:defRPr>
            </a:lvl1pPr>
          </a:lstStyle>
          <a:p>
            <a:pPr>
              <a:defRPr/>
            </a:pPr>
            <a:fld id="{3F6CFCC2-A719-41C7-86F9-B4D18385E1AF}" type="slidenum">
              <a:rPr lang="de-DE"/>
              <a:pPr>
                <a:defRPr/>
              </a:pPr>
              <a:t>‹#›</a:t>
            </a:fld>
            <a:endParaRPr lang="de-DE"/>
          </a:p>
        </p:txBody>
      </p:sp>
      <p:sp>
        <p:nvSpPr>
          <p:cNvPr id="7" name="Fußzeilenplatzhalter"/>
          <p:cNvSpPr>
            <a:spLocks noGrp="1"/>
          </p:cNvSpPr>
          <p:nvPr>
            <p:ph type="ftr" sz="quarter" idx="16"/>
          </p:nvPr>
        </p:nvSpPr>
        <p:spPr/>
        <p:txBody>
          <a:bodyPr/>
          <a:lstStyle>
            <a:lvl1pPr>
              <a:defRPr>
                <a:cs typeface="+mn-cs"/>
              </a:defRPr>
            </a:lvl1pPr>
          </a:lstStyle>
          <a:p>
            <a:pPr>
              <a:defRPr/>
            </a:pPr>
            <a:endParaRPr lang="de-DE"/>
          </a:p>
        </p:txBody>
      </p:sp>
      <p:sp>
        <p:nvSpPr>
          <p:cNvPr id="8" name="Datumsplatzhalter"/>
          <p:cNvSpPr>
            <a:spLocks noGrp="1"/>
          </p:cNvSpPr>
          <p:nvPr>
            <p:ph type="dt" sz="half" idx="17"/>
          </p:nvPr>
        </p:nvSpPr>
        <p:spPr/>
        <p:txBody>
          <a:bodyPr/>
          <a:lstStyle>
            <a:lvl1pPr>
              <a:defRPr>
                <a:cs typeface="+mn-cs"/>
              </a:defRPr>
            </a:lvl1pPr>
          </a:lstStyle>
          <a:p>
            <a:pPr>
              <a:defRPr/>
            </a:pPr>
            <a:endParaRPr lang="de-DE"/>
          </a:p>
        </p:txBody>
      </p:sp>
    </p:spTree>
    <p:extLst>
      <p:ext uri="{BB962C8B-B14F-4D97-AF65-F5344CB8AC3E}">
        <p14:creationId xmlns:p14="http://schemas.microsoft.com/office/powerpoint/2010/main" val="2046205807"/>
      </p:ext>
    </p:extLst>
  </p:cSld>
  <p:clrMapOvr>
    <a:masterClrMapping/>
  </p:clrMapOvr>
  <p:transition>
    <p:zoom/>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halt 2-spaltig">
    <p:spTree>
      <p:nvGrpSpPr>
        <p:cNvPr id="1" name=""/>
        <p:cNvGrpSpPr/>
        <p:nvPr/>
      </p:nvGrpSpPr>
      <p:grpSpPr>
        <a:xfrm>
          <a:off x="0" y="0"/>
          <a:ext cx="0" cy="0"/>
          <a:chOff x="0" y="0"/>
          <a:chExt cx="0" cy="0"/>
        </a:xfrm>
      </p:grpSpPr>
      <p:cxnSp>
        <p:nvCxnSpPr>
          <p:cNvPr id="8" name="Trennstrich Spaltenüberschrift"/>
          <p:cNvCxnSpPr/>
          <p:nvPr userDrawn="1"/>
        </p:nvCxnSpPr>
        <p:spPr>
          <a:xfrm>
            <a:off x="0" y="1260475"/>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4" name="Inhaltsplatzhalter 2"/>
          <p:cNvSpPr>
            <a:spLocks noGrp="1"/>
          </p:cNvSpPr>
          <p:nvPr>
            <p:ph sz="half" idx="2"/>
          </p:nvPr>
        </p:nvSpPr>
        <p:spPr>
          <a:xfrm>
            <a:off x="5031000" y="1304764"/>
            <a:ext cx="4351126"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3" name="Inhaltsplatzhalter 1"/>
          <p:cNvSpPr>
            <a:spLocks noGrp="1"/>
          </p:cNvSpPr>
          <p:nvPr>
            <p:ph sz="half" idx="1"/>
          </p:nvPr>
        </p:nvSpPr>
        <p:spPr>
          <a:xfrm>
            <a:off x="523874" y="1304764"/>
            <a:ext cx="4351125"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13" name="Spaltenüberschrift 2"/>
          <p:cNvSpPr>
            <a:spLocks noGrp="1"/>
          </p:cNvSpPr>
          <p:nvPr>
            <p:ph type="body" idx="16"/>
          </p:nvPr>
        </p:nvSpPr>
        <p:spPr>
          <a:xfrm>
            <a:off x="5030999" y="900000"/>
            <a:ext cx="4351127"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9" name="Spaltenüberschrift 1"/>
          <p:cNvSpPr>
            <a:spLocks noGrp="1"/>
          </p:cNvSpPr>
          <p:nvPr>
            <p:ph type="body" idx="14"/>
          </p:nvPr>
        </p:nvSpPr>
        <p:spPr>
          <a:xfrm>
            <a:off x="523873" y="900000"/>
            <a:ext cx="4350355"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16" name="Subheadline"/>
          <p:cNvSpPr>
            <a:spLocks noGrp="1"/>
          </p:cNvSpPr>
          <p:nvPr>
            <p:ph type="body" idx="13"/>
          </p:nvPr>
        </p:nvSpPr>
        <p:spPr>
          <a:xfrm>
            <a:off x="525600" y="548680"/>
            <a:ext cx="7308000" cy="288000"/>
          </a:xfrm>
        </p:spPr>
        <p:txBody>
          <a:bodyPr tIns="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15" name="Titel"/>
          <p:cNvSpPr>
            <a:spLocks noGrp="1"/>
          </p:cNvSpPr>
          <p:nvPr>
            <p:ph type="title"/>
          </p:nvPr>
        </p:nvSpPr>
        <p:spPr>
          <a:xfrm>
            <a:off x="525600" y="288000"/>
            <a:ext cx="7308000" cy="260680"/>
          </a:xfrm>
        </p:spPr>
        <p:txBody>
          <a:bodyPr/>
          <a:lstStyle>
            <a:lvl1pPr>
              <a:defRPr baseline="0"/>
            </a:lvl1pPr>
          </a:lstStyle>
          <a:p>
            <a:r>
              <a:rPr lang="en-US" dirty="0" err="1" smtClean="0"/>
              <a:t>Образец заголовка</a:t>
            </a:r>
            <a:endParaRPr lang="de-DE" dirty="0"/>
          </a:p>
        </p:txBody>
      </p:sp>
      <p:sp>
        <p:nvSpPr>
          <p:cNvPr id="10" name="Foliennummernplatzhalter"/>
          <p:cNvSpPr>
            <a:spLocks noGrp="1"/>
          </p:cNvSpPr>
          <p:nvPr>
            <p:ph type="sldNum" sz="quarter" idx="17"/>
          </p:nvPr>
        </p:nvSpPr>
        <p:spPr/>
        <p:txBody>
          <a:bodyPr/>
          <a:lstStyle>
            <a:lvl1pPr>
              <a:defRPr>
                <a:cs typeface="+mn-cs"/>
              </a:defRPr>
            </a:lvl1pPr>
          </a:lstStyle>
          <a:p>
            <a:pPr>
              <a:defRPr/>
            </a:pPr>
            <a:fld id="{6B0D964E-27B2-447F-995C-6D20A01094FE}" type="slidenum">
              <a:rPr lang="de-DE"/>
              <a:pPr>
                <a:defRPr/>
              </a:pPr>
              <a:t>‹#›</a:t>
            </a:fld>
            <a:endParaRPr lang="de-DE"/>
          </a:p>
        </p:txBody>
      </p:sp>
      <p:sp>
        <p:nvSpPr>
          <p:cNvPr id="11" name="Fußzeilenplatzhalter"/>
          <p:cNvSpPr>
            <a:spLocks noGrp="1"/>
          </p:cNvSpPr>
          <p:nvPr>
            <p:ph type="ftr" sz="quarter" idx="18"/>
          </p:nvPr>
        </p:nvSpPr>
        <p:spPr/>
        <p:txBody>
          <a:bodyPr/>
          <a:lstStyle>
            <a:lvl1pPr>
              <a:defRPr>
                <a:cs typeface="+mn-cs"/>
              </a:defRPr>
            </a:lvl1pPr>
          </a:lstStyle>
          <a:p>
            <a:pPr>
              <a:defRPr/>
            </a:pPr>
            <a:endParaRPr lang="de-DE"/>
          </a:p>
        </p:txBody>
      </p:sp>
      <p:sp>
        <p:nvSpPr>
          <p:cNvPr id="12" name="Datumsplatzhalter"/>
          <p:cNvSpPr>
            <a:spLocks noGrp="1"/>
          </p:cNvSpPr>
          <p:nvPr>
            <p:ph type="dt" sz="half" idx="19"/>
          </p:nvPr>
        </p:nvSpPr>
        <p:spPr/>
        <p:txBody>
          <a:bodyPr/>
          <a:lstStyle>
            <a:lvl1pPr>
              <a:defRPr>
                <a:cs typeface="+mn-cs"/>
              </a:defRPr>
            </a:lvl1pPr>
          </a:lstStyle>
          <a:p>
            <a:pPr>
              <a:defRPr/>
            </a:pPr>
            <a:endParaRPr lang="de-DE"/>
          </a:p>
        </p:txBody>
      </p:sp>
    </p:spTree>
    <p:extLst>
      <p:ext uri="{BB962C8B-B14F-4D97-AF65-F5344CB8AC3E}">
        <p14:creationId xmlns:p14="http://schemas.microsoft.com/office/powerpoint/2010/main" val="2045009597"/>
      </p:ext>
    </p:extLst>
  </p:cSld>
  <p:clrMapOvr>
    <a:masterClrMapping/>
  </p:clrMapOvr>
  <p:transition>
    <p:zoom/>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halt 3-spaltig">
    <p:spTree>
      <p:nvGrpSpPr>
        <p:cNvPr id="1" name=""/>
        <p:cNvGrpSpPr/>
        <p:nvPr/>
      </p:nvGrpSpPr>
      <p:grpSpPr>
        <a:xfrm>
          <a:off x="0" y="0"/>
          <a:ext cx="0" cy="0"/>
          <a:chOff x="0" y="0"/>
          <a:chExt cx="0" cy="0"/>
        </a:xfrm>
      </p:grpSpPr>
      <p:cxnSp>
        <p:nvCxnSpPr>
          <p:cNvPr id="10" name="Trennlinie Spaltenüberschrift"/>
          <p:cNvCxnSpPr/>
          <p:nvPr userDrawn="1"/>
        </p:nvCxnSpPr>
        <p:spPr>
          <a:xfrm>
            <a:off x="0" y="1260475"/>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2" name="Inhaltsplatzhalter 3"/>
          <p:cNvSpPr>
            <a:spLocks noGrp="1"/>
          </p:cNvSpPr>
          <p:nvPr>
            <p:ph sz="half" idx="15"/>
          </p:nvPr>
        </p:nvSpPr>
        <p:spPr>
          <a:xfrm>
            <a:off x="6501172" y="1304764"/>
            <a:ext cx="2880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4" name="Inhaltsplatzhalter 2"/>
          <p:cNvSpPr>
            <a:spLocks noGrp="1"/>
          </p:cNvSpPr>
          <p:nvPr>
            <p:ph sz="half" idx="2"/>
          </p:nvPr>
        </p:nvSpPr>
        <p:spPr>
          <a:xfrm>
            <a:off x="3513000" y="1304764"/>
            <a:ext cx="2880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3" name="Inhaltsplatzhalter 1"/>
          <p:cNvSpPr>
            <a:spLocks noGrp="1"/>
          </p:cNvSpPr>
          <p:nvPr>
            <p:ph sz="half" idx="1"/>
          </p:nvPr>
        </p:nvSpPr>
        <p:spPr>
          <a:xfrm>
            <a:off x="523874" y="1304764"/>
            <a:ext cx="2880049"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14" name="Spaltenüberschrift 3"/>
          <p:cNvSpPr>
            <a:spLocks noGrp="1"/>
          </p:cNvSpPr>
          <p:nvPr>
            <p:ph type="body" idx="17"/>
          </p:nvPr>
        </p:nvSpPr>
        <p:spPr>
          <a:xfrm>
            <a:off x="6501172" y="900000"/>
            <a:ext cx="2880000"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13" name="Spaltenüberschrift 2"/>
          <p:cNvSpPr>
            <a:spLocks noGrp="1"/>
          </p:cNvSpPr>
          <p:nvPr>
            <p:ph type="body" idx="16"/>
          </p:nvPr>
        </p:nvSpPr>
        <p:spPr>
          <a:xfrm>
            <a:off x="3513000" y="900000"/>
            <a:ext cx="2880000"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9" name="Spaltenüberschrift 1"/>
          <p:cNvSpPr>
            <a:spLocks noGrp="1"/>
          </p:cNvSpPr>
          <p:nvPr>
            <p:ph type="body" idx="14"/>
          </p:nvPr>
        </p:nvSpPr>
        <p:spPr>
          <a:xfrm>
            <a:off x="523923" y="900000"/>
            <a:ext cx="2880000"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19" name="Subheadline"/>
          <p:cNvSpPr>
            <a:spLocks noGrp="1"/>
          </p:cNvSpPr>
          <p:nvPr>
            <p:ph type="body" idx="13"/>
          </p:nvPr>
        </p:nvSpPr>
        <p:spPr>
          <a:xfrm>
            <a:off x="525600" y="548680"/>
            <a:ext cx="7308000" cy="288000"/>
          </a:xfrm>
        </p:spPr>
        <p:txBody>
          <a:bodyPr tIns="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18" name="Titel"/>
          <p:cNvSpPr>
            <a:spLocks noGrp="1"/>
          </p:cNvSpPr>
          <p:nvPr>
            <p:ph type="title"/>
          </p:nvPr>
        </p:nvSpPr>
        <p:spPr>
          <a:xfrm>
            <a:off x="525600" y="288000"/>
            <a:ext cx="7308000" cy="260680"/>
          </a:xfrm>
        </p:spPr>
        <p:txBody>
          <a:bodyPr/>
          <a:lstStyle>
            <a:lvl1pPr>
              <a:defRPr baseline="0"/>
            </a:lvl1pPr>
          </a:lstStyle>
          <a:p>
            <a:r>
              <a:rPr lang="en-US" dirty="0" err="1" smtClean="0"/>
              <a:t>Образец заголовка</a:t>
            </a:r>
            <a:endParaRPr lang="de-DE" dirty="0"/>
          </a:p>
        </p:txBody>
      </p:sp>
      <p:sp>
        <p:nvSpPr>
          <p:cNvPr id="11" name="Foliennummernplatzhalter"/>
          <p:cNvSpPr>
            <a:spLocks noGrp="1"/>
          </p:cNvSpPr>
          <p:nvPr>
            <p:ph type="sldNum" sz="quarter" idx="18"/>
          </p:nvPr>
        </p:nvSpPr>
        <p:spPr/>
        <p:txBody>
          <a:bodyPr/>
          <a:lstStyle>
            <a:lvl1pPr>
              <a:defRPr>
                <a:cs typeface="+mn-cs"/>
              </a:defRPr>
            </a:lvl1pPr>
          </a:lstStyle>
          <a:p>
            <a:pPr>
              <a:defRPr/>
            </a:pPr>
            <a:fld id="{E93B2ECA-C102-4D5E-91F3-71E015AD5F96}" type="slidenum">
              <a:rPr lang="de-DE"/>
              <a:pPr>
                <a:defRPr/>
              </a:pPr>
              <a:t>‹#›</a:t>
            </a:fld>
            <a:endParaRPr lang="de-DE"/>
          </a:p>
        </p:txBody>
      </p:sp>
      <p:sp>
        <p:nvSpPr>
          <p:cNvPr id="15" name="Fußzeilenplatzhalter"/>
          <p:cNvSpPr>
            <a:spLocks noGrp="1"/>
          </p:cNvSpPr>
          <p:nvPr>
            <p:ph type="ftr" sz="quarter" idx="19"/>
          </p:nvPr>
        </p:nvSpPr>
        <p:spPr/>
        <p:txBody>
          <a:bodyPr/>
          <a:lstStyle>
            <a:lvl1pPr>
              <a:defRPr>
                <a:cs typeface="+mn-cs"/>
              </a:defRPr>
            </a:lvl1pPr>
          </a:lstStyle>
          <a:p>
            <a:pPr>
              <a:defRPr/>
            </a:pPr>
            <a:endParaRPr lang="de-DE"/>
          </a:p>
        </p:txBody>
      </p:sp>
      <p:sp>
        <p:nvSpPr>
          <p:cNvPr id="16" name="Datumsplatzhalter"/>
          <p:cNvSpPr>
            <a:spLocks noGrp="1"/>
          </p:cNvSpPr>
          <p:nvPr>
            <p:ph type="dt" sz="half" idx="20"/>
          </p:nvPr>
        </p:nvSpPr>
        <p:spPr/>
        <p:txBody>
          <a:bodyPr/>
          <a:lstStyle>
            <a:lvl1pPr>
              <a:defRPr>
                <a:cs typeface="+mn-cs"/>
              </a:defRPr>
            </a:lvl1pPr>
          </a:lstStyle>
          <a:p>
            <a:pPr>
              <a:defRPr/>
            </a:pPr>
            <a:endParaRPr lang="de-DE"/>
          </a:p>
        </p:txBody>
      </p:sp>
    </p:spTree>
    <p:extLst>
      <p:ext uri="{BB962C8B-B14F-4D97-AF65-F5344CB8AC3E}">
        <p14:creationId xmlns:p14="http://schemas.microsoft.com/office/powerpoint/2010/main" val="1574539590"/>
      </p:ext>
    </p:extLst>
  </p:cSld>
  <p:clrMapOvr>
    <a:masterClrMapping/>
  </p:clrMapOvr>
  <p:transition>
    <p:zoom/>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halt 3-spaltig mit Bildern">
    <p:spTree>
      <p:nvGrpSpPr>
        <p:cNvPr id="1" name=""/>
        <p:cNvGrpSpPr/>
        <p:nvPr/>
      </p:nvGrpSpPr>
      <p:grpSpPr>
        <a:xfrm>
          <a:off x="0" y="0"/>
          <a:ext cx="0" cy="0"/>
          <a:chOff x="0" y="0"/>
          <a:chExt cx="0" cy="0"/>
        </a:xfrm>
      </p:grpSpPr>
      <p:cxnSp>
        <p:nvCxnSpPr>
          <p:cNvPr id="13" name="Trennlinie Spaltenüberschrift"/>
          <p:cNvCxnSpPr/>
          <p:nvPr userDrawn="1"/>
        </p:nvCxnSpPr>
        <p:spPr>
          <a:xfrm>
            <a:off x="0" y="1260475"/>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sp>
        <p:nvSpPr>
          <p:cNvPr id="17" name="Bildplatzhalter 3"/>
          <p:cNvSpPr>
            <a:spLocks noGrp="1"/>
          </p:cNvSpPr>
          <p:nvPr>
            <p:ph type="pic" sz="quarter" idx="20"/>
          </p:nvPr>
        </p:nvSpPr>
        <p:spPr>
          <a:xfrm>
            <a:off x="6501172" y="4748975"/>
            <a:ext cx="2880000" cy="1800000"/>
          </a:xfrm>
        </p:spPr>
        <p:txBody>
          <a:bodyPr tIns="180000" bIns="180000" rtlCol="0">
            <a:noAutofit/>
          </a:bodyPr>
          <a:lstStyle>
            <a:lvl1pPr marL="0" indent="0">
              <a:buFontTx/>
              <a:buNone/>
              <a:defRPr sz="1400">
                <a:solidFill>
                  <a:schemeClr val="accent2"/>
                </a:solidFill>
              </a:defRPr>
            </a:lvl1pPr>
          </a:lstStyle>
          <a:p>
            <a:pPr lvl="0"/>
            <a:r>
              <a:rPr lang="de-DE" noProof="0" smtClean="0"/>
              <a:t>Bild durch Klicken auf Symbol hinzufügen</a:t>
            </a:r>
            <a:endParaRPr lang="de-DE" noProof="0" dirty="0"/>
          </a:p>
        </p:txBody>
      </p:sp>
      <p:sp>
        <p:nvSpPr>
          <p:cNvPr id="16" name="Bildplatzhalter 2"/>
          <p:cNvSpPr>
            <a:spLocks noGrp="1"/>
          </p:cNvSpPr>
          <p:nvPr>
            <p:ph type="pic" sz="quarter" idx="19"/>
          </p:nvPr>
        </p:nvSpPr>
        <p:spPr>
          <a:xfrm>
            <a:off x="3513001" y="4748975"/>
            <a:ext cx="2880000" cy="1800000"/>
          </a:xfrm>
        </p:spPr>
        <p:txBody>
          <a:bodyPr tIns="180000" bIns="180000" rtlCol="0">
            <a:noAutofit/>
          </a:bodyPr>
          <a:lstStyle>
            <a:lvl1pPr marL="0" indent="0">
              <a:buFontTx/>
              <a:buNone/>
              <a:defRPr sz="1400">
                <a:solidFill>
                  <a:schemeClr val="accent2"/>
                </a:solidFill>
              </a:defRPr>
            </a:lvl1pPr>
          </a:lstStyle>
          <a:p>
            <a:pPr lvl="0"/>
            <a:r>
              <a:rPr lang="de-DE" noProof="0" smtClean="0"/>
              <a:t>Bild durch Klicken auf Symbol hinzufügen</a:t>
            </a:r>
            <a:endParaRPr lang="de-DE" noProof="0" dirty="0"/>
          </a:p>
        </p:txBody>
      </p:sp>
      <p:sp>
        <p:nvSpPr>
          <p:cNvPr id="15" name="Bildplatzhalter 1"/>
          <p:cNvSpPr>
            <a:spLocks noGrp="1"/>
          </p:cNvSpPr>
          <p:nvPr>
            <p:ph type="pic" sz="quarter" idx="18"/>
          </p:nvPr>
        </p:nvSpPr>
        <p:spPr>
          <a:xfrm>
            <a:off x="524828" y="4748975"/>
            <a:ext cx="2880000" cy="1800000"/>
          </a:xfrm>
        </p:spPr>
        <p:txBody>
          <a:bodyPr tIns="180000" bIns="180000" rtlCol="0">
            <a:noAutofit/>
          </a:bodyPr>
          <a:lstStyle>
            <a:lvl1pPr marL="0" indent="0">
              <a:buFontTx/>
              <a:buNone/>
              <a:defRPr sz="1400">
                <a:solidFill>
                  <a:schemeClr val="accent2"/>
                </a:solidFill>
              </a:defRPr>
            </a:lvl1pPr>
          </a:lstStyle>
          <a:p>
            <a:pPr lvl="0"/>
            <a:r>
              <a:rPr lang="de-DE" noProof="0" smtClean="0"/>
              <a:t>Bild durch Klicken auf Symbol hinzufügen</a:t>
            </a:r>
            <a:endParaRPr lang="de-DE" noProof="0" dirty="0"/>
          </a:p>
        </p:txBody>
      </p:sp>
      <p:sp>
        <p:nvSpPr>
          <p:cNvPr id="37" name="Inhaltsplatzhalter 3"/>
          <p:cNvSpPr>
            <a:spLocks noGrp="1"/>
          </p:cNvSpPr>
          <p:nvPr>
            <p:ph sz="half" idx="15"/>
          </p:nvPr>
        </p:nvSpPr>
        <p:spPr>
          <a:xfrm>
            <a:off x="6501172" y="1304764"/>
            <a:ext cx="2880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35" name="Inhaltsplatzhalter 2"/>
          <p:cNvSpPr>
            <a:spLocks noGrp="1"/>
          </p:cNvSpPr>
          <p:nvPr>
            <p:ph sz="half" idx="2"/>
          </p:nvPr>
        </p:nvSpPr>
        <p:spPr>
          <a:xfrm>
            <a:off x="3513000" y="1304764"/>
            <a:ext cx="2880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34" name="Inhaltsplatzhalter 1"/>
          <p:cNvSpPr>
            <a:spLocks noGrp="1"/>
          </p:cNvSpPr>
          <p:nvPr>
            <p:ph sz="half" idx="1"/>
          </p:nvPr>
        </p:nvSpPr>
        <p:spPr>
          <a:xfrm>
            <a:off x="524828" y="1304764"/>
            <a:ext cx="2880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39" name="Spaltenüberschrift 3"/>
          <p:cNvSpPr>
            <a:spLocks noGrp="1"/>
          </p:cNvSpPr>
          <p:nvPr>
            <p:ph type="body" idx="17"/>
          </p:nvPr>
        </p:nvSpPr>
        <p:spPr>
          <a:xfrm>
            <a:off x="6501172" y="900000"/>
            <a:ext cx="2880000"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38" name="Spaltenüberschrift 2"/>
          <p:cNvSpPr>
            <a:spLocks noGrp="1"/>
          </p:cNvSpPr>
          <p:nvPr>
            <p:ph type="body" idx="16"/>
          </p:nvPr>
        </p:nvSpPr>
        <p:spPr>
          <a:xfrm>
            <a:off x="3513000" y="900000"/>
            <a:ext cx="2880000"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36" name="Spaltenüberschrift 1"/>
          <p:cNvSpPr>
            <a:spLocks noGrp="1"/>
          </p:cNvSpPr>
          <p:nvPr>
            <p:ph type="body" idx="14"/>
          </p:nvPr>
        </p:nvSpPr>
        <p:spPr>
          <a:xfrm>
            <a:off x="524828" y="900000"/>
            <a:ext cx="2880000"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20" name="Subheadline"/>
          <p:cNvSpPr>
            <a:spLocks noGrp="1"/>
          </p:cNvSpPr>
          <p:nvPr>
            <p:ph type="body" idx="13"/>
          </p:nvPr>
        </p:nvSpPr>
        <p:spPr>
          <a:xfrm>
            <a:off x="525600" y="548680"/>
            <a:ext cx="7308000" cy="288000"/>
          </a:xfrm>
        </p:spPr>
        <p:txBody>
          <a:bodyPr tIns="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19" name="Titel"/>
          <p:cNvSpPr>
            <a:spLocks noGrp="1"/>
          </p:cNvSpPr>
          <p:nvPr>
            <p:ph type="title"/>
          </p:nvPr>
        </p:nvSpPr>
        <p:spPr>
          <a:xfrm>
            <a:off x="525600" y="288000"/>
            <a:ext cx="7308000" cy="260680"/>
          </a:xfrm>
        </p:spPr>
        <p:txBody>
          <a:bodyPr/>
          <a:lstStyle>
            <a:lvl1pPr>
              <a:defRPr baseline="0"/>
            </a:lvl1pPr>
          </a:lstStyle>
          <a:p>
            <a:r>
              <a:rPr lang="en-US" dirty="0" err="1" smtClean="0"/>
              <a:t>Образец заголовка</a:t>
            </a:r>
            <a:endParaRPr lang="de-DE" dirty="0"/>
          </a:p>
        </p:txBody>
      </p:sp>
      <p:sp>
        <p:nvSpPr>
          <p:cNvPr id="14" name="Foliennummernplatzhalter"/>
          <p:cNvSpPr>
            <a:spLocks noGrp="1"/>
          </p:cNvSpPr>
          <p:nvPr>
            <p:ph type="sldNum" sz="quarter" idx="21"/>
          </p:nvPr>
        </p:nvSpPr>
        <p:spPr/>
        <p:txBody>
          <a:bodyPr/>
          <a:lstStyle>
            <a:lvl1pPr>
              <a:defRPr>
                <a:cs typeface="+mn-cs"/>
              </a:defRPr>
            </a:lvl1pPr>
          </a:lstStyle>
          <a:p>
            <a:pPr>
              <a:defRPr/>
            </a:pPr>
            <a:fld id="{F71F7261-F87F-49FC-A1CE-B755192645D8}" type="slidenum">
              <a:rPr lang="de-DE"/>
              <a:pPr>
                <a:defRPr/>
              </a:pPr>
              <a:t>‹#›</a:t>
            </a:fld>
            <a:endParaRPr lang="de-DE"/>
          </a:p>
        </p:txBody>
      </p:sp>
      <p:sp>
        <p:nvSpPr>
          <p:cNvPr id="18" name="Fußzeilenplatzhalter"/>
          <p:cNvSpPr>
            <a:spLocks noGrp="1"/>
          </p:cNvSpPr>
          <p:nvPr>
            <p:ph type="ftr" sz="quarter" idx="22"/>
          </p:nvPr>
        </p:nvSpPr>
        <p:spPr/>
        <p:txBody>
          <a:bodyPr/>
          <a:lstStyle>
            <a:lvl1pPr>
              <a:defRPr>
                <a:cs typeface="+mn-cs"/>
              </a:defRPr>
            </a:lvl1pPr>
          </a:lstStyle>
          <a:p>
            <a:pPr>
              <a:defRPr/>
            </a:pPr>
            <a:endParaRPr lang="de-DE"/>
          </a:p>
        </p:txBody>
      </p:sp>
      <p:sp>
        <p:nvSpPr>
          <p:cNvPr id="21" name="Datumsplatzhalter"/>
          <p:cNvSpPr>
            <a:spLocks noGrp="1"/>
          </p:cNvSpPr>
          <p:nvPr>
            <p:ph type="dt" sz="half" idx="23"/>
          </p:nvPr>
        </p:nvSpPr>
        <p:spPr/>
        <p:txBody>
          <a:bodyPr/>
          <a:lstStyle>
            <a:lvl1pPr>
              <a:defRPr>
                <a:cs typeface="+mn-cs"/>
              </a:defRPr>
            </a:lvl1pPr>
          </a:lstStyle>
          <a:p>
            <a:pPr>
              <a:defRPr/>
            </a:pPr>
            <a:endParaRPr lang="de-DE"/>
          </a:p>
        </p:txBody>
      </p:sp>
    </p:spTree>
    <p:extLst>
      <p:ext uri="{BB962C8B-B14F-4D97-AF65-F5344CB8AC3E}">
        <p14:creationId xmlns:p14="http://schemas.microsoft.com/office/powerpoint/2010/main" val="2095967299"/>
      </p:ext>
    </p:extLst>
  </p:cSld>
  <p:clrMapOvr>
    <a:masterClrMapping/>
  </p:clrMapOvr>
  <p:transition>
    <p:zoom/>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Bilder 2 Inhalte">
    <p:spTree>
      <p:nvGrpSpPr>
        <p:cNvPr id="1" name=""/>
        <p:cNvGrpSpPr/>
        <p:nvPr/>
      </p:nvGrpSpPr>
      <p:grpSpPr>
        <a:xfrm>
          <a:off x="0" y="0"/>
          <a:ext cx="0" cy="0"/>
          <a:chOff x="0" y="0"/>
          <a:chExt cx="0" cy="0"/>
        </a:xfrm>
      </p:grpSpPr>
      <p:sp>
        <p:nvSpPr>
          <p:cNvPr id="11" name="Inhaltsplatzhalter 2"/>
          <p:cNvSpPr>
            <a:spLocks noGrp="1"/>
          </p:cNvSpPr>
          <p:nvPr>
            <p:ph idx="16"/>
          </p:nvPr>
        </p:nvSpPr>
        <p:spPr>
          <a:xfrm>
            <a:off x="3476836" y="3770313"/>
            <a:ext cx="5904656" cy="2827337"/>
          </a:xfrm>
        </p:spPr>
        <p:txBody>
          <a:bodyPr bIns="72000"/>
          <a:lstStyle/>
          <a:p>
            <a:pPr lvl="0"/>
            <a:r>
              <a:rPr lang="de-DE" smtClean="0"/>
              <a:t>Textmasterformat bearbeiten</a:t>
            </a:r>
          </a:p>
          <a:p>
            <a:pPr lvl="1"/>
            <a:r>
              <a:rPr lang="de-DE" smtClean="0"/>
              <a:t>Zweite Ebene</a:t>
            </a:r>
          </a:p>
          <a:p>
            <a:pPr lvl="2"/>
            <a:r>
              <a:rPr lang="de-DE" smtClean="0"/>
              <a:t>Dritte Ebene</a:t>
            </a:r>
          </a:p>
        </p:txBody>
      </p:sp>
      <p:sp>
        <p:nvSpPr>
          <p:cNvPr id="3" name="Inhaltsplatzhalter 1"/>
          <p:cNvSpPr>
            <a:spLocks noGrp="1"/>
          </p:cNvSpPr>
          <p:nvPr>
            <p:ph idx="1"/>
          </p:nvPr>
        </p:nvSpPr>
        <p:spPr>
          <a:xfrm>
            <a:off x="3476836" y="944563"/>
            <a:ext cx="5904656" cy="2825749"/>
          </a:xfrm>
        </p:spPr>
        <p:txBody>
          <a:bodyPr bIns="72000"/>
          <a:lstStyle/>
          <a:p>
            <a:pPr lvl="0"/>
            <a:r>
              <a:rPr lang="de-DE" smtClean="0"/>
              <a:t>Textmasterformat bearbeiten</a:t>
            </a:r>
          </a:p>
          <a:p>
            <a:pPr lvl="1"/>
            <a:r>
              <a:rPr lang="de-DE" smtClean="0"/>
              <a:t>Zweite Ebene</a:t>
            </a:r>
          </a:p>
          <a:p>
            <a:pPr lvl="2"/>
            <a:r>
              <a:rPr lang="de-DE" smtClean="0"/>
              <a:t>Dritte Ebene</a:t>
            </a:r>
          </a:p>
        </p:txBody>
      </p:sp>
      <p:sp>
        <p:nvSpPr>
          <p:cNvPr id="10" name="Bildplatzhalter 2"/>
          <p:cNvSpPr>
            <a:spLocks noGrp="1"/>
          </p:cNvSpPr>
          <p:nvPr>
            <p:ph type="pic" sz="quarter" idx="15"/>
          </p:nvPr>
        </p:nvSpPr>
        <p:spPr>
          <a:xfrm>
            <a:off x="524816" y="3825650"/>
            <a:ext cx="2772000" cy="2772000"/>
          </a:xfrm>
        </p:spPr>
        <p:txBody>
          <a:bodyPr tIns="180000" bIns="180000" rtlCol="0">
            <a:noAutofit/>
          </a:bodyPr>
          <a:lstStyle>
            <a:lvl1pPr marL="0" indent="0">
              <a:buFontTx/>
              <a:buNone/>
              <a:defRPr sz="1600">
                <a:solidFill>
                  <a:schemeClr val="accent2"/>
                </a:solidFill>
              </a:defRPr>
            </a:lvl1pPr>
          </a:lstStyle>
          <a:p>
            <a:pPr lvl="0"/>
            <a:r>
              <a:rPr lang="de-DE" noProof="0" smtClean="0"/>
              <a:t>Bild durch Klicken auf Symbol hinzufügen</a:t>
            </a:r>
            <a:endParaRPr lang="de-DE" noProof="0" dirty="0"/>
          </a:p>
        </p:txBody>
      </p:sp>
      <p:sp>
        <p:nvSpPr>
          <p:cNvPr id="9" name="Bildplatzhalter 1"/>
          <p:cNvSpPr>
            <a:spLocks noGrp="1"/>
          </p:cNvSpPr>
          <p:nvPr>
            <p:ph type="pic" sz="quarter" idx="14"/>
          </p:nvPr>
        </p:nvSpPr>
        <p:spPr>
          <a:xfrm>
            <a:off x="523732" y="944563"/>
            <a:ext cx="2772000" cy="2772000"/>
          </a:xfrm>
        </p:spPr>
        <p:txBody>
          <a:bodyPr tIns="180000" bIns="180000" rtlCol="0">
            <a:noAutofit/>
          </a:bodyPr>
          <a:lstStyle>
            <a:lvl1pPr marL="0" indent="0">
              <a:buFontTx/>
              <a:buNone/>
              <a:defRPr sz="1600">
                <a:solidFill>
                  <a:schemeClr val="accent2"/>
                </a:solidFill>
              </a:defRPr>
            </a:lvl1pPr>
          </a:lstStyle>
          <a:p>
            <a:pPr lvl="0"/>
            <a:r>
              <a:rPr lang="de-DE" noProof="0" smtClean="0"/>
              <a:t>Bild durch Klicken auf Symbol hinzufügen</a:t>
            </a:r>
            <a:endParaRPr lang="de-DE" noProof="0"/>
          </a:p>
        </p:txBody>
      </p:sp>
      <p:sp>
        <p:nvSpPr>
          <p:cNvPr id="13" name="Subheadline"/>
          <p:cNvSpPr>
            <a:spLocks noGrp="1"/>
          </p:cNvSpPr>
          <p:nvPr>
            <p:ph type="body" idx="13"/>
          </p:nvPr>
        </p:nvSpPr>
        <p:spPr>
          <a:xfrm>
            <a:off x="525600" y="548680"/>
            <a:ext cx="7308000" cy="288000"/>
          </a:xfrm>
        </p:spPr>
        <p:txBody>
          <a:bodyPr tIns="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12" name="Titel"/>
          <p:cNvSpPr>
            <a:spLocks noGrp="1"/>
          </p:cNvSpPr>
          <p:nvPr>
            <p:ph type="title"/>
          </p:nvPr>
        </p:nvSpPr>
        <p:spPr>
          <a:xfrm>
            <a:off x="525600" y="288000"/>
            <a:ext cx="7308000" cy="260680"/>
          </a:xfrm>
        </p:spPr>
        <p:txBody>
          <a:bodyPr/>
          <a:lstStyle>
            <a:lvl1pPr>
              <a:defRPr baseline="0"/>
            </a:lvl1pPr>
          </a:lstStyle>
          <a:p>
            <a:r>
              <a:rPr lang="en-US" dirty="0" err="1" smtClean="0"/>
              <a:t>Образец заголовка</a:t>
            </a:r>
            <a:endParaRPr lang="de-DE" dirty="0"/>
          </a:p>
        </p:txBody>
      </p:sp>
      <p:sp>
        <p:nvSpPr>
          <p:cNvPr id="8" name="Foliennummernplatzhalter"/>
          <p:cNvSpPr>
            <a:spLocks noGrp="1"/>
          </p:cNvSpPr>
          <p:nvPr>
            <p:ph type="sldNum" sz="quarter" idx="17"/>
          </p:nvPr>
        </p:nvSpPr>
        <p:spPr/>
        <p:txBody>
          <a:bodyPr/>
          <a:lstStyle>
            <a:lvl1pPr>
              <a:defRPr>
                <a:cs typeface="+mn-cs"/>
              </a:defRPr>
            </a:lvl1pPr>
          </a:lstStyle>
          <a:p>
            <a:pPr>
              <a:defRPr/>
            </a:pPr>
            <a:fld id="{922EE9FF-4AA6-442C-8905-1F04302818FC}" type="slidenum">
              <a:rPr lang="de-DE"/>
              <a:pPr>
                <a:defRPr/>
              </a:pPr>
              <a:t>‹#›</a:t>
            </a:fld>
            <a:endParaRPr lang="de-DE"/>
          </a:p>
        </p:txBody>
      </p:sp>
      <p:sp>
        <p:nvSpPr>
          <p:cNvPr id="14" name="Fußzeilenplatzhalter"/>
          <p:cNvSpPr>
            <a:spLocks noGrp="1"/>
          </p:cNvSpPr>
          <p:nvPr>
            <p:ph type="ftr" sz="quarter" idx="18"/>
          </p:nvPr>
        </p:nvSpPr>
        <p:spPr/>
        <p:txBody>
          <a:bodyPr/>
          <a:lstStyle>
            <a:lvl1pPr>
              <a:defRPr>
                <a:cs typeface="+mn-cs"/>
              </a:defRPr>
            </a:lvl1pPr>
          </a:lstStyle>
          <a:p>
            <a:pPr>
              <a:defRPr/>
            </a:pPr>
            <a:endParaRPr lang="de-DE"/>
          </a:p>
        </p:txBody>
      </p:sp>
      <p:sp>
        <p:nvSpPr>
          <p:cNvPr id="15" name="Datumsplatzhalter"/>
          <p:cNvSpPr>
            <a:spLocks noGrp="1"/>
          </p:cNvSpPr>
          <p:nvPr>
            <p:ph type="dt" sz="half" idx="19"/>
          </p:nvPr>
        </p:nvSpPr>
        <p:spPr/>
        <p:txBody>
          <a:bodyPr/>
          <a:lstStyle>
            <a:lvl1pPr>
              <a:defRPr>
                <a:cs typeface="+mn-cs"/>
              </a:defRPr>
            </a:lvl1pPr>
          </a:lstStyle>
          <a:p>
            <a:pPr>
              <a:defRPr/>
            </a:pPr>
            <a:endParaRPr lang="de-DE"/>
          </a:p>
        </p:txBody>
      </p:sp>
    </p:spTree>
    <p:extLst>
      <p:ext uri="{BB962C8B-B14F-4D97-AF65-F5344CB8AC3E}">
        <p14:creationId xmlns:p14="http://schemas.microsoft.com/office/powerpoint/2010/main" val="1316986498"/>
      </p:ext>
    </p:extLst>
  </p:cSld>
  <p:clrMapOvr>
    <a:masterClrMapping/>
  </p:clrMapOvr>
  <p:transition>
    <p:zoom/>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 Inhalte Matrix">
    <p:spTree>
      <p:nvGrpSpPr>
        <p:cNvPr id="1" name=""/>
        <p:cNvGrpSpPr/>
        <p:nvPr/>
      </p:nvGrpSpPr>
      <p:grpSpPr>
        <a:xfrm>
          <a:off x="0" y="0"/>
          <a:ext cx="0" cy="0"/>
          <a:chOff x="0" y="0"/>
          <a:chExt cx="0" cy="0"/>
        </a:xfrm>
      </p:grpSpPr>
      <p:sp>
        <p:nvSpPr>
          <p:cNvPr id="15" name="Inhaltsplatzhalter 4"/>
          <p:cNvSpPr>
            <a:spLocks noGrp="1"/>
          </p:cNvSpPr>
          <p:nvPr>
            <p:ph sz="half" idx="18"/>
          </p:nvPr>
        </p:nvSpPr>
        <p:spPr>
          <a:xfrm>
            <a:off x="5061504" y="3770312"/>
            <a:ext cx="4318470"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4" name="Inhaltsplatzhalter 3"/>
          <p:cNvSpPr>
            <a:spLocks noGrp="1"/>
          </p:cNvSpPr>
          <p:nvPr>
            <p:ph sz="half" idx="2"/>
          </p:nvPr>
        </p:nvSpPr>
        <p:spPr>
          <a:xfrm>
            <a:off x="523875" y="3770312"/>
            <a:ext cx="4314663"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12" name="Inhaltsplatzhalter 2"/>
          <p:cNvSpPr>
            <a:spLocks noGrp="1"/>
          </p:cNvSpPr>
          <p:nvPr>
            <p:ph sz="half" idx="15"/>
          </p:nvPr>
        </p:nvSpPr>
        <p:spPr>
          <a:xfrm>
            <a:off x="5061504" y="944563"/>
            <a:ext cx="4318470"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3" name="Inhaltsplatzhalter 1"/>
          <p:cNvSpPr>
            <a:spLocks noGrp="1"/>
          </p:cNvSpPr>
          <p:nvPr>
            <p:ph sz="half" idx="1"/>
          </p:nvPr>
        </p:nvSpPr>
        <p:spPr>
          <a:xfrm>
            <a:off x="523875" y="944563"/>
            <a:ext cx="4314663"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p:txBody>
      </p:sp>
      <p:sp>
        <p:nvSpPr>
          <p:cNvPr id="13" name="Subheadline"/>
          <p:cNvSpPr>
            <a:spLocks noGrp="1"/>
          </p:cNvSpPr>
          <p:nvPr>
            <p:ph type="body" idx="13"/>
          </p:nvPr>
        </p:nvSpPr>
        <p:spPr>
          <a:xfrm>
            <a:off x="525600" y="548680"/>
            <a:ext cx="7308000" cy="288000"/>
          </a:xfrm>
        </p:spPr>
        <p:txBody>
          <a:bodyPr tIns="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11" name="Titel"/>
          <p:cNvSpPr>
            <a:spLocks noGrp="1"/>
          </p:cNvSpPr>
          <p:nvPr>
            <p:ph type="title"/>
          </p:nvPr>
        </p:nvSpPr>
        <p:spPr>
          <a:xfrm>
            <a:off x="525600" y="288000"/>
            <a:ext cx="7308000" cy="260680"/>
          </a:xfrm>
        </p:spPr>
        <p:txBody>
          <a:bodyPr/>
          <a:lstStyle>
            <a:lvl1pPr>
              <a:defRPr baseline="0"/>
            </a:lvl1pPr>
          </a:lstStyle>
          <a:p>
            <a:r>
              <a:rPr lang="en-US" dirty="0" err="1" smtClean="0"/>
              <a:t>Образец заголовка</a:t>
            </a:r>
            <a:endParaRPr lang="de-DE" dirty="0"/>
          </a:p>
        </p:txBody>
      </p:sp>
      <p:sp>
        <p:nvSpPr>
          <p:cNvPr id="8" name="Foliennummernplatzhalter"/>
          <p:cNvSpPr>
            <a:spLocks noGrp="1"/>
          </p:cNvSpPr>
          <p:nvPr>
            <p:ph type="sldNum" sz="quarter" idx="19"/>
          </p:nvPr>
        </p:nvSpPr>
        <p:spPr/>
        <p:txBody>
          <a:bodyPr/>
          <a:lstStyle>
            <a:lvl1pPr>
              <a:defRPr>
                <a:cs typeface="+mn-cs"/>
              </a:defRPr>
            </a:lvl1pPr>
          </a:lstStyle>
          <a:p>
            <a:pPr>
              <a:defRPr/>
            </a:pPr>
            <a:fld id="{FA023B4B-B7B6-4D74-9AD5-4EBCB76237AA}" type="slidenum">
              <a:rPr lang="de-DE"/>
              <a:pPr>
                <a:defRPr/>
              </a:pPr>
              <a:t>‹#›</a:t>
            </a:fld>
            <a:endParaRPr lang="de-DE"/>
          </a:p>
        </p:txBody>
      </p:sp>
      <p:sp>
        <p:nvSpPr>
          <p:cNvPr id="9" name="Fußzeilenplatzhalter"/>
          <p:cNvSpPr>
            <a:spLocks noGrp="1"/>
          </p:cNvSpPr>
          <p:nvPr>
            <p:ph type="ftr" sz="quarter" idx="20"/>
          </p:nvPr>
        </p:nvSpPr>
        <p:spPr/>
        <p:txBody>
          <a:bodyPr/>
          <a:lstStyle>
            <a:lvl1pPr>
              <a:defRPr>
                <a:cs typeface="+mn-cs"/>
              </a:defRPr>
            </a:lvl1pPr>
          </a:lstStyle>
          <a:p>
            <a:pPr>
              <a:defRPr/>
            </a:pPr>
            <a:endParaRPr lang="de-DE"/>
          </a:p>
        </p:txBody>
      </p:sp>
      <p:sp>
        <p:nvSpPr>
          <p:cNvPr id="10" name="Datumsplatzhalter"/>
          <p:cNvSpPr>
            <a:spLocks noGrp="1"/>
          </p:cNvSpPr>
          <p:nvPr>
            <p:ph type="dt" sz="half" idx="21"/>
          </p:nvPr>
        </p:nvSpPr>
        <p:spPr/>
        <p:txBody>
          <a:bodyPr/>
          <a:lstStyle>
            <a:lvl1pPr>
              <a:defRPr>
                <a:cs typeface="+mn-cs"/>
              </a:defRPr>
            </a:lvl1pPr>
          </a:lstStyle>
          <a:p>
            <a:pPr>
              <a:defRPr/>
            </a:pPr>
            <a:endParaRPr lang="de-DE"/>
          </a:p>
        </p:txBody>
      </p:sp>
    </p:spTree>
    <p:extLst>
      <p:ext uri="{BB962C8B-B14F-4D97-AF65-F5344CB8AC3E}">
        <p14:creationId xmlns:p14="http://schemas.microsoft.com/office/powerpoint/2010/main" val="1599451561"/>
      </p:ext>
    </p:extLst>
  </p:cSld>
  <p:clrMapOvr>
    <a:masterClrMapping/>
  </p:clrMapOvr>
  <p:transition>
    <p:zoom/>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Nur Titel + Untertitel">
    <p:spTree>
      <p:nvGrpSpPr>
        <p:cNvPr id="1" name=""/>
        <p:cNvGrpSpPr/>
        <p:nvPr/>
      </p:nvGrpSpPr>
      <p:grpSpPr>
        <a:xfrm>
          <a:off x="0" y="0"/>
          <a:ext cx="0" cy="0"/>
          <a:chOff x="0" y="0"/>
          <a:chExt cx="0" cy="0"/>
        </a:xfrm>
      </p:grpSpPr>
      <p:sp>
        <p:nvSpPr>
          <p:cNvPr id="8" name="Subheadline"/>
          <p:cNvSpPr>
            <a:spLocks noGrp="1"/>
          </p:cNvSpPr>
          <p:nvPr>
            <p:ph type="body" idx="13"/>
          </p:nvPr>
        </p:nvSpPr>
        <p:spPr>
          <a:xfrm>
            <a:off x="525600" y="548680"/>
            <a:ext cx="7308000" cy="288000"/>
          </a:xfrm>
        </p:spPr>
        <p:txBody>
          <a:bodyPr tIns="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7" name="Titel"/>
          <p:cNvSpPr>
            <a:spLocks noGrp="1"/>
          </p:cNvSpPr>
          <p:nvPr>
            <p:ph type="title"/>
          </p:nvPr>
        </p:nvSpPr>
        <p:spPr>
          <a:xfrm>
            <a:off x="525600" y="288000"/>
            <a:ext cx="7308000" cy="260680"/>
          </a:xfrm>
        </p:spPr>
        <p:txBody>
          <a:bodyPr/>
          <a:lstStyle>
            <a:lvl1pPr>
              <a:defRPr baseline="0"/>
            </a:lvl1pPr>
          </a:lstStyle>
          <a:p>
            <a:r>
              <a:rPr lang="en-US" dirty="0" err="1" smtClean="0"/>
              <a:t>Образец заголовка</a:t>
            </a:r>
            <a:endParaRPr lang="de-DE" dirty="0"/>
          </a:p>
        </p:txBody>
      </p:sp>
      <p:sp>
        <p:nvSpPr>
          <p:cNvPr id="4" name="Foliennummernplatzhalter"/>
          <p:cNvSpPr>
            <a:spLocks noGrp="1"/>
          </p:cNvSpPr>
          <p:nvPr>
            <p:ph type="sldNum" sz="quarter" idx="14"/>
          </p:nvPr>
        </p:nvSpPr>
        <p:spPr/>
        <p:txBody>
          <a:bodyPr/>
          <a:lstStyle>
            <a:lvl1pPr>
              <a:defRPr>
                <a:cs typeface="+mn-cs"/>
              </a:defRPr>
            </a:lvl1pPr>
          </a:lstStyle>
          <a:p>
            <a:pPr>
              <a:defRPr/>
            </a:pPr>
            <a:fld id="{F7905D70-50D9-4CE3-98F1-5F645146AD1F}" type="slidenum">
              <a:rPr lang="de-DE"/>
              <a:pPr>
                <a:defRPr/>
              </a:pPr>
              <a:t>‹#›</a:t>
            </a:fld>
            <a:endParaRPr lang="de-DE"/>
          </a:p>
        </p:txBody>
      </p:sp>
      <p:sp>
        <p:nvSpPr>
          <p:cNvPr id="5" name="Fußzeilenplatzhalter"/>
          <p:cNvSpPr>
            <a:spLocks noGrp="1"/>
          </p:cNvSpPr>
          <p:nvPr>
            <p:ph type="ftr" sz="quarter" idx="15"/>
          </p:nvPr>
        </p:nvSpPr>
        <p:spPr/>
        <p:txBody>
          <a:bodyPr/>
          <a:lstStyle>
            <a:lvl1pPr>
              <a:defRPr>
                <a:cs typeface="+mn-cs"/>
              </a:defRPr>
            </a:lvl1pPr>
          </a:lstStyle>
          <a:p>
            <a:pPr>
              <a:defRPr/>
            </a:pPr>
            <a:endParaRPr lang="de-DE"/>
          </a:p>
        </p:txBody>
      </p:sp>
      <p:sp>
        <p:nvSpPr>
          <p:cNvPr id="6" name="Datumsplatzhalter"/>
          <p:cNvSpPr>
            <a:spLocks noGrp="1"/>
          </p:cNvSpPr>
          <p:nvPr>
            <p:ph type="dt" sz="half" idx="16"/>
          </p:nvPr>
        </p:nvSpPr>
        <p:spPr/>
        <p:txBody>
          <a:bodyPr/>
          <a:lstStyle>
            <a:lvl1pPr>
              <a:defRPr>
                <a:cs typeface="+mn-cs"/>
              </a:defRPr>
            </a:lvl1pPr>
          </a:lstStyle>
          <a:p>
            <a:pPr>
              <a:defRPr/>
            </a:pPr>
            <a:endParaRPr lang="de-DE"/>
          </a:p>
        </p:txBody>
      </p:sp>
    </p:spTree>
    <p:extLst>
      <p:ext uri="{BB962C8B-B14F-4D97-AF65-F5344CB8AC3E}">
        <p14:creationId xmlns:p14="http://schemas.microsoft.com/office/powerpoint/2010/main" val="999726618"/>
      </p:ext>
    </p:extLst>
  </p:cSld>
  <p:clrMapOvr>
    <a:masterClrMapping/>
  </p:clrMapOvr>
  <p:transition>
    <p:zoom/>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full faced with title banderole">
    <p:spTree>
      <p:nvGrpSpPr>
        <p:cNvPr id="1" name=""/>
        <p:cNvGrpSpPr/>
        <p:nvPr/>
      </p:nvGrpSpPr>
      <p:grpSpPr>
        <a:xfrm>
          <a:off x="0" y="0"/>
          <a:ext cx="0" cy="0"/>
          <a:chOff x="0" y="0"/>
          <a:chExt cx="0" cy="0"/>
        </a:xfrm>
      </p:grpSpPr>
      <p:sp>
        <p:nvSpPr>
          <p:cNvPr id="7"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6" name="Fußzeilenplatzhalter"/>
          <p:cNvSpPr>
            <a:spLocks noGrp="1"/>
          </p:cNvSpPr>
          <p:nvPr>
            <p:ph type="ftr" sz="quarter" idx="11"/>
          </p:nvPr>
        </p:nvSpPr>
        <p:spPr/>
        <p:txBody>
          <a:bodyPr/>
          <a:lstStyle/>
          <a:p>
            <a:endParaRPr lang="en-US" noProof="0" dirty="0"/>
          </a:p>
        </p:txBody>
      </p:sp>
      <p:sp>
        <p:nvSpPr>
          <p:cNvPr id="5" name="Datumsplatzhalter"/>
          <p:cNvSpPr>
            <a:spLocks noGrp="1"/>
          </p:cNvSpPr>
          <p:nvPr>
            <p:ph type="dt" sz="half" idx="10"/>
          </p:nvPr>
        </p:nvSpPr>
        <p:spPr/>
        <p:txBody>
          <a:bodyPr/>
          <a:lstStyle/>
          <a:p>
            <a:endParaRPr lang="en-US" noProof="0" dirty="0"/>
          </a:p>
        </p:txBody>
      </p:sp>
      <p:sp>
        <p:nvSpPr>
          <p:cNvPr id="3" name="Bildplatzhalter"/>
          <p:cNvSpPr>
            <a:spLocks noGrp="1"/>
          </p:cNvSpPr>
          <p:nvPr>
            <p:ph type="pic" idx="1"/>
          </p:nvPr>
        </p:nvSpPr>
        <p:spPr>
          <a:xfrm>
            <a:off x="0" y="944563"/>
            <a:ext cx="9906000" cy="5653087"/>
          </a:xfrm>
        </p:spPr>
        <p:txBody>
          <a:bodyPr lIns="396000" tIns="180000" rIns="396000" bIns="180000"/>
          <a:lstStyle>
            <a:lvl1pPr marL="0" indent="0">
              <a:buNone/>
              <a:defRPr sz="1600">
                <a:solidFill>
                  <a:schemeClr val="accent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noProof="0" smtClean="0"/>
              <a:t>Bild durch Klicken auf Symbol hinzufügen</a:t>
            </a:r>
            <a:endParaRPr lang="en-US" noProof="0" dirty="0"/>
          </a:p>
        </p:txBody>
      </p:sp>
      <p:sp>
        <p:nvSpPr>
          <p:cNvPr id="4" name="Subheadline"/>
          <p:cNvSpPr>
            <a:spLocks noGrp="1"/>
          </p:cNvSpPr>
          <p:nvPr>
            <p:ph type="body" sz="half" idx="2" hasCustomPrompt="1"/>
          </p:nvPr>
        </p:nvSpPr>
        <p:spPr>
          <a:xfrm>
            <a:off x="0" y="5220000"/>
            <a:ext cx="9906000" cy="540000"/>
          </a:xfrm>
          <a:solidFill>
            <a:srgbClr val="FFFFFF">
              <a:alpha val="85882"/>
            </a:srgbClr>
          </a:solidFill>
        </p:spPr>
        <p:txBody>
          <a:bodyPr lIns="525600" tIns="36000" rIns="525600" bIns="36000"/>
          <a:lstStyle>
            <a:lvl1pPr marL="0" indent="0">
              <a:buNone/>
              <a:defRPr sz="2000" cap="all"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Subheadline single spaced</a:t>
            </a:r>
          </a:p>
        </p:txBody>
      </p:sp>
      <p:sp>
        <p:nvSpPr>
          <p:cNvPr id="2" name="Titel"/>
          <p:cNvSpPr>
            <a:spLocks noGrp="1"/>
          </p:cNvSpPr>
          <p:nvPr>
            <p:ph type="title" hasCustomPrompt="1"/>
          </p:nvPr>
        </p:nvSpPr>
        <p:spPr>
          <a:xfrm>
            <a:off x="-1" y="4500000"/>
            <a:ext cx="9906000" cy="720000"/>
          </a:xfrm>
          <a:solidFill>
            <a:srgbClr val="FFFFFF">
              <a:alpha val="85882"/>
            </a:srgbClr>
          </a:solidFill>
        </p:spPr>
        <p:txBody>
          <a:bodyPr lIns="525600" tIns="36000" rIns="525600" bIns="36000" anchor="b"/>
          <a:lstStyle>
            <a:lvl1pPr algn="l">
              <a:defRPr sz="2400" b="0"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2308429764"/>
      </p:ext>
    </p:extLst>
  </p:cSld>
  <p:clrMapOvr>
    <a:masterClrMapping/>
  </p:clrMapOvr>
  <p:transition>
    <p:zoom/>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Kapitelfolie">
    <p:spTree>
      <p:nvGrpSpPr>
        <p:cNvPr id="1" name=""/>
        <p:cNvGrpSpPr/>
        <p:nvPr/>
      </p:nvGrpSpPr>
      <p:grpSpPr>
        <a:xfrm>
          <a:off x="0" y="0"/>
          <a:ext cx="0" cy="0"/>
          <a:chOff x="0" y="0"/>
          <a:chExt cx="0" cy="0"/>
        </a:xfrm>
      </p:grpSpPr>
      <p:sp>
        <p:nvSpPr>
          <p:cNvPr id="5" name="Rechteck"/>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endParaRPr>
          </a:p>
        </p:txBody>
      </p:sp>
      <p:sp>
        <p:nvSpPr>
          <p:cNvPr id="6" name="Sensorstrahl"/>
          <p:cNvSpPr/>
          <p:nvPr userDrawn="1"/>
        </p:nvSpPr>
        <p:spPr>
          <a:xfrm>
            <a:off x="0" y="4316413"/>
            <a:ext cx="9906000" cy="136525"/>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endParaRPr>
          </a:p>
        </p:txBody>
      </p:sp>
      <p:sp>
        <p:nvSpPr>
          <p:cNvPr id="13" name="Bildplatzhalter"/>
          <p:cNvSpPr>
            <a:spLocks noGrp="1"/>
          </p:cNvSpPr>
          <p:nvPr>
            <p:ph type="pic" sz="quarter" idx="14"/>
          </p:nvPr>
        </p:nvSpPr>
        <p:spPr>
          <a:xfrm>
            <a:off x="0" y="0"/>
            <a:ext cx="9906000" cy="4316400"/>
          </a:xfrm>
        </p:spPr>
        <p:txBody>
          <a:bodyPr lIns="396000" tIns="180000" rIns="396000" bIns="180000" rtlCol="0">
            <a:noAutofit/>
          </a:bodyPr>
          <a:lstStyle>
            <a:lvl1pPr marL="0" indent="0">
              <a:buFontTx/>
              <a:buNone/>
              <a:defRPr sz="1600">
                <a:solidFill>
                  <a:schemeClr val="accent2"/>
                </a:solidFill>
              </a:defRPr>
            </a:lvl1pPr>
          </a:lstStyle>
          <a:p>
            <a:pPr lvl="0"/>
            <a:r>
              <a:rPr lang="de-DE" noProof="0" smtClean="0"/>
              <a:t>Bild durch Klicken auf Symbol hinzufügen</a:t>
            </a:r>
            <a:endParaRPr lang="de-DE" noProof="0"/>
          </a:p>
        </p:txBody>
      </p:sp>
      <p:sp>
        <p:nvSpPr>
          <p:cNvPr id="3" name="Kapitelplatzhalter"/>
          <p:cNvSpPr>
            <a:spLocks noGrp="1"/>
          </p:cNvSpPr>
          <p:nvPr>
            <p:ph type="body" idx="1"/>
          </p:nvPr>
        </p:nvSpPr>
        <p:spPr>
          <a:xfrm>
            <a:off x="-15552" y="4453200"/>
            <a:ext cx="2145000" cy="1260000"/>
          </a:xfrm>
          <a:solidFill>
            <a:schemeClr val="bg1">
              <a:alpha val="85000"/>
            </a:schemeClr>
          </a:solidFill>
        </p:spPr>
        <p:txBody>
          <a:bodyPr lIns="525600" tIns="72000" rIns="396000" bIns="72000" anchor="ctr"/>
          <a:lstStyle>
            <a:lvl1pPr marL="0" indent="0" algn="l">
              <a:buNone/>
              <a:defRPr sz="6000" b="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Образец текста</a:t>
            </a:r>
          </a:p>
        </p:txBody>
      </p:sp>
      <p:sp>
        <p:nvSpPr>
          <p:cNvPr id="16" name="Titel"/>
          <p:cNvSpPr>
            <a:spLocks noGrp="1"/>
          </p:cNvSpPr>
          <p:nvPr>
            <p:ph type="ctrTitle"/>
          </p:nvPr>
        </p:nvSpPr>
        <p:spPr>
          <a:xfrm>
            <a:off x="0" y="2876400"/>
            <a:ext cx="9906000" cy="1440000"/>
          </a:xfrm>
          <a:blipFill dpi="0" rotWithShape="1">
            <a:blip r:embed="rId2" cstate="email">
              <a:extLst/>
            </a:blip>
            <a:srcRect/>
            <a:stretch>
              <a:fillRect/>
            </a:stretch>
          </a:blipFill>
        </p:spPr>
        <p:txBody>
          <a:bodyPr lIns="525600" rIns="2340000" bIns="298800" anchor="b"/>
          <a:lstStyle>
            <a:lvl1pPr>
              <a:lnSpc>
                <a:spcPct val="90000"/>
              </a:lnSpc>
              <a:defRPr sz="3200" baseline="0">
                <a:solidFill>
                  <a:schemeClr val="tx2"/>
                </a:solidFill>
              </a:defRPr>
            </a:lvl1pPr>
          </a:lstStyle>
          <a:p>
            <a:r>
              <a:rPr lang="en-US" dirty="0" smtClean="0"/>
              <a:t>Образец заголовка</a:t>
            </a:r>
            <a:endParaRPr lang="de-DE" dirty="0"/>
          </a:p>
        </p:txBody>
      </p:sp>
    </p:spTree>
    <p:extLst>
      <p:ext uri="{BB962C8B-B14F-4D97-AF65-F5344CB8AC3E}">
        <p14:creationId xmlns:p14="http://schemas.microsoft.com/office/powerpoint/2010/main" val="3586386423"/>
      </p:ext>
    </p:extLst>
  </p:cSld>
  <p:clrMapOvr>
    <a:masterClrMapping/>
  </p:clrMapOvr>
  <p:transition>
    <p:zoom/>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Bild vollflächig mit Titelbanderole">
    <p:spTree>
      <p:nvGrpSpPr>
        <p:cNvPr id="1" name=""/>
        <p:cNvGrpSpPr/>
        <p:nvPr/>
      </p:nvGrpSpPr>
      <p:grpSpPr>
        <a:xfrm>
          <a:off x="0" y="0"/>
          <a:ext cx="0" cy="0"/>
          <a:chOff x="0" y="0"/>
          <a:chExt cx="0" cy="0"/>
        </a:xfrm>
      </p:grpSpPr>
      <p:sp>
        <p:nvSpPr>
          <p:cNvPr id="3" name="Bildplatzhalter"/>
          <p:cNvSpPr>
            <a:spLocks noGrp="1"/>
          </p:cNvSpPr>
          <p:nvPr>
            <p:ph type="pic" idx="1"/>
          </p:nvPr>
        </p:nvSpPr>
        <p:spPr>
          <a:xfrm>
            <a:off x="0" y="944563"/>
            <a:ext cx="9906000" cy="5653087"/>
          </a:xfrm>
        </p:spPr>
        <p:txBody>
          <a:bodyPr lIns="396000" tIns="180000" rIns="396000" bIns="180000" rtlCol="0">
            <a:noAutofit/>
          </a:bodyPr>
          <a:lstStyle>
            <a:lvl1pPr marL="0" indent="0">
              <a:buNone/>
              <a:defRPr sz="1600">
                <a:solidFill>
                  <a:schemeClr val="accent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dirty="0"/>
          </a:p>
        </p:txBody>
      </p:sp>
      <p:sp>
        <p:nvSpPr>
          <p:cNvPr id="4" name="Subheadline"/>
          <p:cNvSpPr>
            <a:spLocks noGrp="1"/>
          </p:cNvSpPr>
          <p:nvPr>
            <p:ph type="body" sz="half" idx="2"/>
          </p:nvPr>
        </p:nvSpPr>
        <p:spPr>
          <a:xfrm>
            <a:off x="0" y="5220000"/>
            <a:ext cx="9906000" cy="540000"/>
          </a:xfrm>
          <a:solidFill>
            <a:srgbClr val="FFFFFF">
              <a:alpha val="85882"/>
            </a:srgbClr>
          </a:solidFill>
        </p:spPr>
        <p:txBody>
          <a:bodyPr lIns="525600" tIns="36000" rIns="525600" bIns="36000"/>
          <a:lstStyle>
            <a:lvl1pPr marL="0" indent="0">
              <a:buNone/>
              <a:defRPr sz="2000" cap="all"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Образец текста</a:t>
            </a:r>
          </a:p>
        </p:txBody>
      </p:sp>
      <p:sp>
        <p:nvSpPr>
          <p:cNvPr id="2" name="Titel"/>
          <p:cNvSpPr>
            <a:spLocks noGrp="1"/>
          </p:cNvSpPr>
          <p:nvPr>
            <p:ph type="title"/>
          </p:nvPr>
        </p:nvSpPr>
        <p:spPr>
          <a:xfrm>
            <a:off x="-1" y="4500000"/>
            <a:ext cx="9906000" cy="720000"/>
          </a:xfrm>
          <a:solidFill>
            <a:srgbClr val="FFFFFF">
              <a:alpha val="85882"/>
            </a:srgbClr>
          </a:solidFill>
        </p:spPr>
        <p:txBody>
          <a:bodyPr lIns="525600" tIns="36000" rIns="525600" bIns="36000" anchor="b"/>
          <a:lstStyle>
            <a:lvl1pPr algn="l">
              <a:defRPr sz="2400" b="0" baseline="0"/>
            </a:lvl1pPr>
          </a:lstStyle>
          <a:p>
            <a:r>
              <a:rPr lang="en-US" dirty="0" err="1" smtClean="0"/>
              <a:t>Образец заголовка</a:t>
            </a:r>
            <a:endParaRPr lang="de-DE" dirty="0"/>
          </a:p>
        </p:txBody>
      </p:sp>
      <p:sp>
        <p:nvSpPr>
          <p:cNvPr id="5" name="Foliennummernplatzhalter"/>
          <p:cNvSpPr>
            <a:spLocks noGrp="1"/>
          </p:cNvSpPr>
          <p:nvPr>
            <p:ph type="sldNum" sz="quarter" idx="10"/>
          </p:nvPr>
        </p:nvSpPr>
        <p:spPr/>
        <p:txBody>
          <a:bodyPr/>
          <a:lstStyle>
            <a:lvl1pPr>
              <a:defRPr>
                <a:cs typeface="+mn-cs"/>
              </a:defRPr>
            </a:lvl1pPr>
          </a:lstStyle>
          <a:p>
            <a:pPr>
              <a:defRPr/>
            </a:pPr>
            <a:fld id="{E7315FB5-8BD9-432A-A957-8255C7F56A68}" type="slidenum">
              <a:rPr lang="de-DE"/>
              <a:pPr>
                <a:defRPr/>
              </a:pPr>
              <a:t>‹#›</a:t>
            </a:fld>
            <a:endParaRPr lang="de-DE"/>
          </a:p>
        </p:txBody>
      </p:sp>
      <p:sp>
        <p:nvSpPr>
          <p:cNvPr id="6" name="Fußzeilenplatzhalter"/>
          <p:cNvSpPr>
            <a:spLocks noGrp="1"/>
          </p:cNvSpPr>
          <p:nvPr>
            <p:ph type="ftr" sz="quarter" idx="11"/>
          </p:nvPr>
        </p:nvSpPr>
        <p:spPr/>
        <p:txBody>
          <a:bodyPr/>
          <a:lstStyle>
            <a:lvl1pPr>
              <a:defRPr>
                <a:cs typeface="+mn-cs"/>
              </a:defRPr>
            </a:lvl1pPr>
          </a:lstStyle>
          <a:p>
            <a:pPr>
              <a:defRPr/>
            </a:pPr>
            <a:endParaRPr lang="de-DE"/>
          </a:p>
        </p:txBody>
      </p:sp>
      <p:sp>
        <p:nvSpPr>
          <p:cNvPr id="7" name="Datumsplatzhalter"/>
          <p:cNvSpPr>
            <a:spLocks noGrp="1"/>
          </p:cNvSpPr>
          <p:nvPr>
            <p:ph type="dt" sz="half" idx="12"/>
          </p:nvPr>
        </p:nvSpPr>
        <p:spPr/>
        <p:txBody>
          <a:bodyPr/>
          <a:lstStyle>
            <a:lvl1pPr>
              <a:defRPr>
                <a:cs typeface="+mn-cs"/>
              </a:defRPr>
            </a:lvl1pPr>
          </a:lstStyle>
          <a:p>
            <a:pPr>
              <a:defRPr/>
            </a:pPr>
            <a:endParaRPr lang="de-DE"/>
          </a:p>
        </p:txBody>
      </p:sp>
    </p:spTree>
    <p:extLst>
      <p:ext uri="{BB962C8B-B14F-4D97-AF65-F5344CB8AC3E}">
        <p14:creationId xmlns:p14="http://schemas.microsoft.com/office/powerpoint/2010/main" val="1764975802"/>
      </p:ext>
    </p:extLst>
  </p:cSld>
  <p:clrMapOvr>
    <a:masterClrMapping/>
  </p:clrMapOvr>
  <p:transition>
    <p:zoom/>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4" name="Rechteck 8"/>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endParaRPr>
          </a:p>
        </p:txBody>
      </p:sp>
      <p:sp>
        <p:nvSpPr>
          <p:cNvPr id="5" name="Sensorstrahl"/>
          <p:cNvSpPr/>
          <p:nvPr userDrawn="1"/>
        </p:nvSpPr>
        <p:spPr>
          <a:xfrm>
            <a:off x="0" y="4316413"/>
            <a:ext cx="9906000" cy="136525"/>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endParaRPr>
          </a:p>
        </p:txBody>
      </p:sp>
      <p:sp>
        <p:nvSpPr>
          <p:cNvPr id="15" name="Untertitel"/>
          <p:cNvSpPr>
            <a:spLocks noGrp="1"/>
          </p:cNvSpPr>
          <p:nvPr>
            <p:ph type="subTitle" idx="1"/>
          </p:nvPr>
        </p:nvSpPr>
        <p:spPr>
          <a:xfrm>
            <a:off x="0" y="4456800"/>
            <a:ext cx="9906000" cy="2401200"/>
          </a:xfrm>
          <a:noFill/>
        </p:spPr>
        <p:txBody>
          <a:bodyPr lIns="525600" tIns="216000" rIns="2340000" bIns="396000"/>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Образец подзаголовка</a:t>
            </a:r>
            <a:endParaRPr lang="de-DE" dirty="0" smtClean="0"/>
          </a:p>
        </p:txBody>
      </p:sp>
      <p:sp>
        <p:nvSpPr>
          <p:cNvPr id="13" name="Titel"/>
          <p:cNvSpPr>
            <a:spLocks noGrp="1"/>
          </p:cNvSpPr>
          <p:nvPr>
            <p:ph type="ctrTitle"/>
          </p:nvPr>
        </p:nvSpPr>
        <p:spPr>
          <a:xfrm>
            <a:off x="0" y="2876400"/>
            <a:ext cx="9906000" cy="1440000"/>
          </a:xfrm>
          <a:blipFill dpi="0" rotWithShape="1">
            <a:blip r:embed="rId2" cstate="email">
              <a:extLst/>
            </a:blip>
            <a:srcRect/>
            <a:stretch>
              <a:fillRect/>
            </a:stretch>
          </a:blipFill>
        </p:spPr>
        <p:txBody>
          <a:bodyPr lIns="525600" rIns="2340000" bIns="298800" anchor="b"/>
          <a:lstStyle>
            <a:lvl1pPr>
              <a:lnSpc>
                <a:spcPct val="90000"/>
              </a:lnSpc>
              <a:defRPr sz="3200" baseline="0">
                <a:solidFill>
                  <a:schemeClr val="tx2"/>
                </a:solidFill>
              </a:defRPr>
            </a:lvl1pPr>
          </a:lstStyle>
          <a:p>
            <a:r>
              <a:rPr lang="en-US" dirty="0" smtClean="0"/>
              <a:t>Образец заголовка</a:t>
            </a:r>
            <a:endParaRPr lang="de-DE" dirty="0"/>
          </a:p>
        </p:txBody>
      </p:sp>
    </p:spTree>
    <p:extLst>
      <p:ext uri="{BB962C8B-B14F-4D97-AF65-F5344CB8AC3E}">
        <p14:creationId xmlns:p14="http://schemas.microsoft.com/office/powerpoint/2010/main" val="1679645391"/>
      </p:ext>
    </p:extLst>
  </p:cSld>
  <p:clrMapOvr>
    <a:masterClrMapping/>
  </p:clrMapOvr>
  <p:transition>
    <p:zoom/>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Rechteck"/>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endParaRPr>
          </a:p>
        </p:txBody>
      </p:sp>
    </p:spTree>
    <p:extLst>
      <p:ext uri="{BB962C8B-B14F-4D97-AF65-F5344CB8AC3E}">
        <p14:creationId xmlns:p14="http://schemas.microsoft.com/office/powerpoint/2010/main" val="2775022150"/>
      </p:ext>
    </p:extLst>
  </p:cSld>
  <p:clrMapOvr>
    <a:masterClrMapping/>
  </p:clrMapOvr>
  <p:transition>
    <p:zoom/>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Content + title">
    <p:spTree>
      <p:nvGrpSpPr>
        <p:cNvPr id="1" name=""/>
        <p:cNvGrpSpPr/>
        <p:nvPr/>
      </p:nvGrpSpPr>
      <p:grpSpPr>
        <a:xfrm>
          <a:off x="0" y="0"/>
          <a:ext cx="0" cy="0"/>
          <a:chOff x="0" y="0"/>
          <a:chExt cx="0" cy="0"/>
        </a:xfrm>
      </p:grpSpPr>
      <p:sp>
        <p:nvSpPr>
          <p:cNvPr id="3" name="Inhaltsplatzhalter"/>
          <p:cNvSpPr>
            <a:spLocks noGrp="1"/>
          </p:cNvSpPr>
          <p:nvPr>
            <p:ph idx="1"/>
          </p:nvPr>
        </p:nvSpPr>
        <p:spPr>
          <a:xfrm>
            <a:off x="525600" y="944563"/>
            <a:ext cx="8856525" cy="5653087"/>
          </a:xfrm>
        </p:spPr>
        <p:txBody>
          <a:bodyPr bIns="72000" rtlCol="0">
            <a:noAutofit/>
          </a:bodyPr>
          <a:lstStyle>
            <a:lvl1pPr>
              <a:defRPr lang="de-DE" dirty="0" smtClean="0">
                <a:latin typeface="Arial" panose="020B0604020202020204" pitchFamily="34" charset="0"/>
                <a:cs typeface="Arial" panose="020B0604020202020204" pitchFamily="34" charset="0"/>
              </a:defRPr>
            </a:lvl1pPr>
            <a:lvl2pPr>
              <a:defRPr lang="de-DE" dirty="0" smtClean="0">
                <a:latin typeface="Arial" panose="020B0604020202020204" pitchFamily="34" charset="0"/>
                <a:cs typeface="Arial" panose="020B0604020202020204" pitchFamily="34" charset="0"/>
              </a:defRPr>
            </a:lvl2pPr>
            <a:lvl3pPr>
              <a:defRPr lang="de-DE" dirty="0" smtClean="0">
                <a:latin typeface="Arial" panose="020B0604020202020204" pitchFamily="34" charset="0"/>
                <a:cs typeface="Arial" panose="020B0604020202020204" pitchFamily="34" charset="0"/>
              </a:defRPr>
            </a:lvl3pPr>
            <a:lvl4pPr>
              <a:defRPr lang="de-DE" dirty="0" smtClean="0">
                <a:latin typeface="Arial" panose="020B0604020202020204" pitchFamily="34" charset="0"/>
                <a:cs typeface="Arial" panose="020B0604020202020204" pitchFamily="34" charset="0"/>
              </a:defRPr>
            </a:lvl4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p:txBody>
      </p:sp>
      <p:sp>
        <p:nvSpPr>
          <p:cNvPr id="7" name="Subheadline"/>
          <p:cNvSpPr>
            <a:spLocks noGrp="1"/>
          </p:cNvSpPr>
          <p:nvPr>
            <p:ph type="body" idx="13"/>
          </p:nvPr>
        </p:nvSpPr>
        <p:spPr>
          <a:xfrm>
            <a:off x="525601" y="548680"/>
            <a:ext cx="7307124" cy="288000"/>
          </a:xfrm>
        </p:spPr>
        <p:txBody>
          <a:bodyPr tIns="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Образец текста</a:t>
            </a:r>
          </a:p>
        </p:txBody>
      </p:sp>
      <p:sp>
        <p:nvSpPr>
          <p:cNvPr id="2" name="Titel"/>
          <p:cNvSpPr>
            <a:spLocks noGrp="1"/>
          </p:cNvSpPr>
          <p:nvPr>
            <p:ph type="title"/>
          </p:nvPr>
        </p:nvSpPr>
        <p:spPr>
          <a:xfrm>
            <a:off x="525601" y="288000"/>
            <a:ext cx="7307124" cy="260680"/>
          </a:xfrm>
        </p:spPr>
        <p:txBody>
          <a:bodyPr/>
          <a:lstStyle>
            <a:lvl1pPr>
              <a:defRPr baseline="0"/>
            </a:lvl1pPr>
          </a:lstStyle>
          <a:p>
            <a:r>
              <a:rPr lang="en-US" noProof="0" dirty="0" smtClean="0"/>
              <a:t>Образец заголовка</a:t>
            </a:r>
            <a:endParaRPr lang="en-US" noProof="0" dirty="0"/>
          </a:p>
        </p:txBody>
      </p:sp>
      <p:sp>
        <p:nvSpPr>
          <p:cNvPr id="5" name="Foliennummernplatzhalter"/>
          <p:cNvSpPr>
            <a:spLocks noGrp="1"/>
          </p:cNvSpPr>
          <p:nvPr>
            <p:ph type="sldNum" sz="quarter" idx="14"/>
          </p:nvPr>
        </p:nvSpPr>
        <p:spPr/>
        <p:txBody>
          <a:bodyPr/>
          <a:lstStyle>
            <a:lvl1pPr>
              <a:defRPr>
                <a:cs typeface="+mn-cs"/>
              </a:defRPr>
            </a:lvl1pPr>
          </a:lstStyle>
          <a:p>
            <a:pPr>
              <a:defRPr/>
            </a:pPr>
            <a:fld id="{E602CD46-7065-4B73-A341-3B390EF059BD}" type="slidenum">
              <a:rPr lang="en-US"/>
              <a:pPr>
                <a:defRPr/>
              </a:pPr>
              <a:t>‹#›</a:t>
            </a:fld>
            <a:endParaRPr lang="en-US" dirty="0"/>
          </a:p>
        </p:txBody>
      </p:sp>
      <p:sp>
        <p:nvSpPr>
          <p:cNvPr id="6" name="Fußzeilenplatzhalter"/>
          <p:cNvSpPr>
            <a:spLocks noGrp="1"/>
          </p:cNvSpPr>
          <p:nvPr>
            <p:ph type="ftr" sz="quarter" idx="15"/>
          </p:nvPr>
        </p:nvSpPr>
        <p:spPr/>
        <p:txBody>
          <a:bodyPr/>
          <a:lstStyle>
            <a:lvl1pPr>
              <a:defRPr>
                <a:cs typeface="+mn-cs"/>
              </a:defRPr>
            </a:lvl1pPr>
          </a:lstStyle>
          <a:p>
            <a:pPr>
              <a:defRPr/>
            </a:pPr>
            <a:endParaRPr lang="en-US"/>
          </a:p>
        </p:txBody>
      </p:sp>
      <p:sp>
        <p:nvSpPr>
          <p:cNvPr id="8" name="Datumsplatzhalter"/>
          <p:cNvSpPr>
            <a:spLocks noGrp="1"/>
          </p:cNvSpPr>
          <p:nvPr>
            <p:ph type="dt" sz="half" idx="16"/>
          </p:nvPr>
        </p:nvSpPr>
        <p:spPr/>
        <p:txBody>
          <a:bodyPr/>
          <a:lstStyle>
            <a:lvl1pPr>
              <a:defRPr>
                <a:cs typeface="+mn-cs"/>
              </a:defRPr>
            </a:lvl1pPr>
          </a:lstStyle>
          <a:p>
            <a:pPr>
              <a:defRPr/>
            </a:pPr>
            <a:endParaRPr lang="en-US"/>
          </a:p>
        </p:txBody>
      </p:sp>
    </p:spTree>
    <p:extLst>
      <p:ext uri="{BB962C8B-B14F-4D97-AF65-F5344CB8AC3E}">
        <p14:creationId xmlns:p14="http://schemas.microsoft.com/office/powerpoint/2010/main" val="3248554168"/>
      </p:ext>
    </p:extLst>
  </p:cSld>
  <p:clrMapOvr>
    <a:masterClrMapping/>
  </p:clrMapOvr>
  <p:transition>
    <p:zoom/>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9" name="Rechteck 8"/>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Sensorstrahl"/>
          <p:cNvSpPr/>
          <p:nvPr userDrawn="1"/>
        </p:nvSpPr>
        <p:spPr>
          <a:xfrm>
            <a:off x="0" y="4316400"/>
            <a:ext cx="9906000" cy="136800"/>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Untertitel"/>
          <p:cNvSpPr>
            <a:spLocks noGrp="1"/>
          </p:cNvSpPr>
          <p:nvPr>
            <p:ph type="subTitle" idx="1" hasCustomPrompt="1"/>
          </p:nvPr>
        </p:nvSpPr>
        <p:spPr>
          <a:xfrm>
            <a:off x="0" y="4456800"/>
            <a:ext cx="9906000" cy="2401200"/>
          </a:xfrm>
          <a:noFill/>
        </p:spPr>
        <p:txBody>
          <a:bodyPr lIns="525600" tIns="216000" rIns="2340000" bIns="396000"/>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ontact person</a:t>
            </a:r>
            <a:br>
              <a:rPr lang="en-US" noProof="0" dirty="0" smtClean="0"/>
            </a:br>
            <a:r>
              <a:rPr lang="en-US" noProof="0" dirty="0" smtClean="0"/>
              <a:t>Department</a:t>
            </a:r>
            <a:br>
              <a:rPr lang="en-US" noProof="0" dirty="0" smtClean="0"/>
            </a:br>
            <a:r>
              <a:rPr lang="en-US" noProof="0" dirty="0" smtClean="0"/>
              <a:t>As needed phone / e-mail</a:t>
            </a:r>
          </a:p>
        </p:txBody>
      </p:sp>
      <p:sp>
        <p:nvSpPr>
          <p:cNvPr id="13" name="Titel"/>
          <p:cNvSpPr>
            <a:spLocks noGrp="1"/>
          </p:cNvSpPr>
          <p:nvPr>
            <p:ph type="ctrTitle" hasCustomPrompt="1"/>
          </p:nvPr>
        </p:nvSpPr>
        <p:spPr>
          <a:xfrm>
            <a:off x="0" y="2876400"/>
            <a:ext cx="9906000" cy="1440000"/>
          </a:xfrm>
          <a:blipFill dpi="0" rotWithShape="1">
            <a:blip r:embed="rId2">
              <a:extLst>
                <a:ext uri="{28A0092B-C50C-407E-A947-70E740481C1C}">
                  <a14:useLocalDpi xmlns:a14="http://schemas.microsoft.com/office/drawing/2010/main" val="0"/>
                </a:ext>
              </a:extLst>
            </a:blip>
            <a:srcRect/>
            <a:stretch>
              <a:fillRect/>
            </a:stretch>
          </a:blipFill>
        </p:spPr>
        <p:txBody>
          <a:bodyPr lIns="525600" rIns="2340000" bIns="298800" anchor="b" anchorCtr="0"/>
          <a:lstStyle>
            <a:lvl1pPr>
              <a:lnSpc>
                <a:spcPct val="90000"/>
              </a:lnSpc>
              <a:defRPr sz="3200" baseline="0">
                <a:solidFill>
                  <a:schemeClr val="tx2"/>
                </a:solidFill>
              </a:defRPr>
            </a:lvl1pPr>
          </a:lstStyle>
          <a:p>
            <a:r>
              <a:rPr lang="en-US" noProof="0" dirty="0" smtClean="0"/>
              <a:t>Many thanks for your attention.</a:t>
            </a:r>
            <a:endParaRPr lang="en-US" noProof="0" dirty="0"/>
          </a:p>
        </p:txBody>
      </p:sp>
    </p:spTree>
    <p:extLst>
      <p:ext uri="{BB962C8B-B14F-4D97-AF65-F5344CB8AC3E}">
        <p14:creationId xmlns:p14="http://schemas.microsoft.com/office/powerpoint/2010/main" val="4125435039"/>
      </p:ext>
    </p:extLst>
  </p:cSld>
  <p:clrMapOvr>
    <a:masterClrMapping/>
  </p:clrMapOvr>
  <p:transition>
    <p:zoom/>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9" name="Rechteck"/>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52513383"/>
      </p:ext>
    </p:extLst>
  </p:cSld>
  <p:clrMapOvr>
    <a:masterClrMapping/>
  </p:clrMapOvr>
  <p:transition>
    <p:zoom/>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elfolie neutral">
    <p:spTree>
      <p:nvGrpSpPr>
        <p:cNvPr id="1" name=""/>
        <p:cNvGrpSpPr/>
        <p:nvPr/>
      </p:nvGrpSpPr>
      <p:grpSpPr>
        <a:xfrm>
          <a:off x="0" y="0"/>
          <a:ext cx="0" cy="0"/>
          <a:chOff x="0" y="0"/>
          <a:chExt cx="0" cy="0"/>
        </a:xfrm>
      </p:grpSpPr>
      <p:pic>
        <p:nvPicPr>
          <p:cNvPr id="7" name="Grafik"/>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5751"/>
          <a:stretch/>
        </p:blipFill>
        <p:spPr>
          <a:xfrm>
            <a:off x="0" y="0"/>
            <a:ext cx="9906000" cy="6858000"/>
          </a:xfrm>
          <a:prstGeom prst="rect">
            <a:avLst/>
          </a:prstGeom>
        </p:spPr>
      </p:pic>
      <p:sp>
        <p:nvSpPr>
          <p:cNvPr id="8" name="Titel"/>
          <p:cNvSpPr>
            <a:spLocks noGrp="1"/>
          </p:cNvSpPr>
          <p:nvPr>
            <p:ph type="ctrTitle" hasCustomPrompt="1"/>
          </p:nvPr>
        </p:nvSpPr>
        <p:spPr>
          <a:xfrm>
            <a:off x="0" y="2876400"/>
            <a:ext cx="9906000" cy="1440000"/>
          </a:xfrm>
          <a:blipFill dpi="0" rotWithShape="1">
            <a:blip r:embed="rId4">
              <a:extLst>
                <a:ext uri="{28A0092B-C50C-407E-A947-70E740481C1C}">
                  <a14:useLocalDpi xmlns:a14="http://schemas.microsoft.com/office/drawing/2010/main" val="0"/>
                </a:ext>
              </a:extLst>
            </a:blip>
            <a:srcRect/>
            <a:stretch>
              <a:fillRect/>
            </a:stretch>
          </a:blipFill>
        </p:spPr>
        <p:txBody>
          <a:bodyPr lIns="525600" rIns="2340000" bIns="298800" anchor="b" anchorCtr="0"/>
          <a:lstStyle>
            <a:lvl1pPr>
              <a:lnSpc>
                <a:spcPct val="90000"/>
              </a:lnSpc>
              <a:defRPr sz="3200" baseline="0">
                <a:solidFill>
                  <a:schemeClr val="tx2"/>
                </a:solidFill>
              </a:defRPr>
            </a:lvl1pPr>
          </a:lstStyle>
          <a:p>
            <a:r>
              <a:rPr lang="en-US" noProof="0" dirty="0" smtClean="0"/>
              <a:t>Presentation title</a:t>
            </a:r>
            <a:br>
              <a:rPr lang="en-US" noProof="0" dirty="0" smtClean="0"/>
            </a:br>
            <a:r>
              <a:rPr lang="en-US" noProof="0" dirty="0" smtClean="0"/>
              <a:t>optionally double spaced</a:t>
            </a:r>
            <a:endParaRPr lang="en-US" noProof="0" dirty="0"/>
          </a:p>
        </p:txBody>
      </p:sp>
      <p:sp>
        <p:nvSpPr>
          <p:cNvPr id="12" name="Untertitel"/>
          <p:cNvSpPr>
            <a:spLocks noGrp="1"/>
          </p:cNvSpPr>
          <p:nvPr>
            <p:ph type="subTitle" idx="1" hasCustomPrompt="1"/>
          </p:nvPr>
        </p:nvSpPr>
        <p:spPr>
          <a:xfrm>
            <a:off x="0" y="4456800"/>
            <a:ext cx="9906000" cy="2401200"/>
          </a:xfrm>
          <a:noFill/>
        </p:spPr>
        <p:txBody>
          <a:bodyPr lIns="525600" tIns="216000" rIns="2340000" bIns="396000"/>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Author</a:t>
            </a:r>
            <a:br>
              <a:rPr lang="en-US" noProof="0" dirty="0" smtClean="0"/>
            </a:br>
            <a:r>
              <a:rPr lang="en-US" noProof="0" dirty="0" smtClean="0"/>
              <a:t>Department</a:t>
            </a:r>
            <a:br>
              <a:rPr lang="en-US" noProof="0" dirty="0" smtClean="0"/>
            </a:br>
            <a:r>
              <a:rPr lang="en-US" noProof="0" dirty="0" smtClean="0"/>
              <a:t>Date</a:t>
            </a:r>
            <a:endParaRPr lang="en-US" noProof="0" dirty="0"/>
          </a:p>
        </p:txBody>
      </p:sp>
      <p:sp>
        <p:nvSpPr>
          <p:cNvPr id="13" name="Sensorstrahl"/>
          <p:cNvSpPr/>
          <p:nvPr userDrawn="1"/>
        </p:nvSpPr>
        <p:spPr>
          <a:xfrm>
            <a:off x="0" y="4316400"/>
            <a:ext cx="9906000" cy="136800"/>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236902978"/>
      </p:ext>
    </p:extLst>
  </p:cSld>
  <p:clrMapOvr>
    <a:masterClrMapping/>
  </p:clrMapOvr>
  <p:transition>
    <p:zoom/>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Inhalt 2-spaltig">
    <p:spTree>
      <p:nvGrpSpPr>
        <p:cNvPr id="1" name=""/>
        <p:cNvGrpSpPr/>
        <p:nvPr/>
      </p:nvGrpSpPr>
      <p:grpSpPr>
        <a:xfrm>
          <a:off x="0" y="0"/>
          <a:ext cx="0" cy="0"/>
          <a:chOff x="0" y="0"/>
          <a:chExt cx="0" cy="0"/>
        </a:xfrm>
      </p:grpSpPr>
      <p:sp>
        <p:nvSpPr>
          <p:cNvPr id="7"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6" name="Fußzeilenplatzhalter"/>
          <p:cNvSpPr>
            <a:spLocks noGrp="1"/>
          </p:cNvSpPr>
          <p:nvPr>
            <p:ph type="ftr" sz="quarter" idx="11"/>
          </p:nvPr>
        </p:nvSpPr>
        <p:spPr/>
        <p:txBody>
          <a:bodyPr/>
          <a:lstStyle/>
          <a:p>
            <a:endParaRPr lang="en-US" noProof="0" dirty="0"/>
          </a:p>
        </p:txBody>
      </p:sp>
      <p:sp>
        <p:nvSpPr>
          <p:cNvPr id="5" name="Datumsplatzhalter"/>
          <p:cNvSpPr>
            <a:spLocks noGrp="1"/>
          </p:cNvSpPr>
          <p:nvPr>
            <p:ph type="dt" sz="half" idx="10"/>
          </p:nvPr>
        </p:nvSpPr>
        <p:spPr/>
        <p:txBody>
          <a:bodyPr/>
          <a:lstStyle/>
          <a:p>
            <a:endParaRPr lang="en-US" noProof="0" dirty="0"/>
          </a:p>
        </p:txBody>
      </p:sp>
      <p:sp>
        <p:nvSpPr>
          <p:cNvPr id="4" name="Inhaltsplatzhalter 2"/>
          <p:cNvSpPr>
            <a:spLocks noGrp="1"/>
          </p:cNvSpPr>
          <p:nvPr>
            <p:ph sz="half" idx="2"/>
          </p:nvPr>
        </p:nvSpPr>
        <p:spPr>
          <a:xfrm>
            <a:off x="5031000" y="1304764"/>
            <a:ext cx="4351126"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3" name="Inhaltsplatzhalter 1"/>
          <p:cNvSpPr>
            <a:spLocks noGrp="1"/>
          </p:cNvSpPr>
          <p:nvPr>
            <p:ph sz="half" idx="1"/>
          </p:nvPr>
        </p:nvSpPr>
        <p:spPr>
          <a:xfrm>
            <a:off x="523874" y="1304764"/>
            <a:ext cx="4351125"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13" name="Spaltenüberschrift 2"/>
          <p:cNvSpPr>
            <a:spLocks noGrp="1"/>
          </p:cNvSpPr>
          <p:nvPr>
            <p:ph type="body" idx="16" hasCustomPrompt="1"/>
          </p:nvPr>
        </p:nvSpPr>
        <p:spPr>
          <a:xfrm>
            <a:off x="5030999" y="900000"/>
            <a:ext cx="4351127" cy="360000"/>
          </a:xfrm>
        </p:spPr>
        <p:txBody>
          <a:bodyPr tIns="0" anchor="ctr" anchorCtr="0"/>
          <a:lstStyle>
            <a:lvl1pPr marL="0" marR="0" indent="0" algn="ctr" defTabSz="914400" rtl="0" eaLnBrk="1" fontAlgn="auto" latinLnBrk="0" hangingPunct="1">
              <a:lnSpc>
                <a:spcPct val="100000"/>
              </a:lnSpc>
              <a:spcBef>
                <a:spcPts val="600"/>
              </a:spcBef>
              <a:spcAft>
                <a:spcPts val="0"/>
              </a:spcAft>
              <a:buClr>
                <a:srgbClr val="000000"/>
              </a:buClr>
              <a:buSzPct val="100000"/>
              <a:buFont typeface="Wingdings" panose="05000000000000000000" pitchFamily="2" charset="2"/>
              <a:buNone/>
              <a:tabLst/>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ctr" defTabSz="914400" rtl="0" eaLnBrk="1" fontAlgn="auto" latinLnBrk="0" hangingPunct="1">
              <a:lnSpc>
                <a:spcPct val="100000"/>
              </a:lnSpc>
              <a:spcBef>
                <a:spcPts val="600"/>
              </a:spcBef>
              <a:spcAft>
                <a:spcPts val="0"/>
              </a:spcAft>
              <a:buClr>
                <a:srgbClr val="000000"/>
              </a:buClr>
              <a:buSzPct val="100000"/>
              <a:buFont typeface="Wingdings" panose="05000000000000000000" pitchFamily="2" charset="2"/>
              <a:buNone/>
              <a:tabLst/>
              <a:defRPr/>
            </a:pPr>
            <a:r>
              <a:rPr lang="en-US" noProof="0" dirty="0" smtClean="0"/>
              <a:t>Column Header</a:t>
            </a:r>
          </a:p>
        </p:txBody>
      </p:sp>
      <p:sp>
        <p:nvSpPr>
          <p:cNvPr id="9" name="Spaltenüberschrift 1"/>
          <p:cNvSpPr>
            <a:spLocks noGrp="1"/>
          </p:cNvSpPr>
          <p:nvPr>
            <p:ph type="body" idx="14" hasCustomPrompt="1"/>
          </p:nvPr>
        </p:nvSpPr>
        <p:spPr>
          <a:xfrm>
            <a:off x="523873" y="900000"/>
            <a:ext cx="4350355"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cxnSp>
        <p:nvCxnSpPr>
          <p:cNvPr id="12" name="Trennstrich Spaltenüberschrift"/>
          <p:cNvCxnSpPr/>
          <p:nvPr userDrawn="1"/>
        </p:nvCxnSpPr>
        <p:spPr>
          <a:xfrm>
            <a:off x="0" y="1260000"/>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6"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
        <p:nvSpPr>
          <p:cNvPr id="15" name="Titel"/>
          <p:cNvSpPr>
            <a:spLocks noGrp="1"/>
          </p:cNvSpPr>
          <p:nvPr>
            <p:ph type="title" hasCustomPrompt="1"/>
          </p:nvPr>
        </p:nvSpPr>
        <p:spPr>
          <a:xfrm>
            <a:off x="525600" y="288000"/>
            <a:ext cx="7308000" cy="260680"/>
          </a:xfrm>
        </p:spPr>
        <p:txBody>
          <a:bodyPr/>
          <a:lstStyle>
            <a:lvl1pPr>
              <a:defRPr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3204672479"/>
      </p:ext>
    </p:extLst>
  </p:cSld>
  <p:clrMapOvr>
    <a:masterClrMapping/>
  </p:clrMapOvr>
  <p:transition>
    <p:zoom/>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Inhalt 3-spaltig">
    <p:spTree>
      <p:nvGrpSpPr>
        <p:cNvPr id="1" name=""/>
        <p:cNvGrpSpPr/>
        <p:nvPr/>
      </p:nvGrpSpPr>
      <p:grpSpPr>
        <a:xfrm>
          <a:off x="0" y="0"/>
          <a:ext cx="0" cy="0"/>
          <a:chOff x="0" y="0"/>
          <a:chExt cx="0" cy="0"/>
        </a:xfrm>
      </p:grpSpPr>
      <p:sp>
        <p:nvSpPr>
          <p:cNvPr id="7"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6" name="Fußzeilenplatzhalter"/>
          <p:cNvSpPr>
            <a:spLocks noGrp="1"/>
          </p:cNvSpPr>
          <p:nvPr>
            <p:ph type="ftr" sz="quarter" idx="11"/>
          </p:nvPr>
        </p:nvSpPr>
        <p:spPr/>
        <p:txBody>
          <a:bodyPr/>
          <a:lstStyle/>
          <a:p>
            <a:endParaRPr lang="en-US" noProof="0" dirty="0"/>
          </a:p>
        </p:txBody>
      </p:sp>
      <p:sp>
        <p:nvSpPr>
          <p:cNvPr id="5" name="Datumsplatzhalter"/>
          <p:cNvSpPr>
            <a:spLocks noGrp="1"/>
          </p:cNvSpPr>
          <p:nvPr>
            <p:ph type="dt" sz="half" idx="10"/>
          </p:nvPr>
        </p:nvSpPr>
        <p:spPr/>
        <p:txBody>
          <a:bodyPr/>
          <a:lstStyle/>
          <a:p>
            <a:endParaRPr lang="en-US" noProof="0" dirty="0"/>
          </a:p>
        </p:txBody>
      </p:sp>
      <p:sp>
        <p:nvSpPr>
          <p:cNvPr id="12" name="Inhaltsplatzhalter 3"/>
          <p:cNvSpPr>
            <a:spLocks noGrp="1"/>
          </p:cNvSpPr>
          <p:nvPr>
            <p:ph sz="half" idx="15"/>
          </p:nvPr>
        </p:nvSpPr>
        <p:spPr>
          <a:xfrm>
            <a:off x="6501172" y="1304764"/>
            <a:ext cx="2880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4" name="Inhaltsplatzhalter 2"/>
          <p:cNvSpPr>
            <a:spLocks noGrp="1"/>
          </p:cNvSpPr>
          <p:nvPr>
            <p:ph sz="half" idx="2"/>
          </p:nvPr>
        </p:nvSpPr>
        <p:spPr>
          <a:xfrm>
            <a:off x="3513000" y="1304764"/>
            <a:ext cx="2880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3" name="Inhaltsplatzhalter 1"/>
          <p:cNvSpPr>
            <a:spLocks noGrp="1"/>
          </p:cNvSpPr>
          <p:nvPr>
            <p:ph sz="half" idx="1"/>
          </p:nvPr>
        </p:nvSpPr>
        <p:spPr>
          <a:xfrm>
            <a:off x="523874" y="1304764"/>
            <a:ext cx="2880049"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14" name="Spaltenüberschrift 3"/>
          <p:cNvSpPr>
            <a:spLocks noGrp="1"/>
          </p:cNvSpPr>
          <p:nvPr>
            <p:ph type="body" idx="17" hasCustomPrompt="1"/>
          </p:nvPr>
        </p:nvSpPr>
        <p:spPr>
          <a:xfrm>
            <a:off x="6501172" y="900000"/>
            <a:ext cx="2880000" cy="360000"/>
          </a:xfrm>
        </p:spPr>
        <p:txBody>
          <a:bodyPr tIns="0" anchor="ctr" anchorCtr="0"/>
          <a:lstStyle>
            <a:lvl1pPr marL="0" marR="0" indent="0" algn="ctr" defTabSz="914400" rtl="0" eaLnBrk="1" fontAlgn="auto" latinLnBrk="0" hangingPunct="1">
              <a:lnSpc>
                <a:spcPct val="100000"/>
              </a:lnSpc>
              <a:spcBef>
                <a:spcPts val="600"/>
              </a:spcBef>
              <a:spcAft>
                <a:spcPts val="0"/>
              </a:spcAft>
              <a:buClr>
                <a:srgbClr val="000000"/>
              </a:buClr>
              <a:buSzPct val="100000"/>
              <a:buFont typeface="Wingdings" panose="05000000000000000000" pitchFamily="2" charset="2"/>
              <a:buNone/>
              <a:tabLst/>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ctr" defTabSz="914400" rtl="0" eaLnBrk="1" fontAlgn="auto" latinLnBrk="0" hangingPunct="1">
              <a:lnSpc>
                <a:spcPct val="100000"/>
              </a:lnSpc>
              <a:spcBef>
                <a:spcPts val="600"/>
              </a:spcBef>
              <a:spcAft>
                <a:spcPts val="0"/>
              </a:spcAft>
              <a:buClr>
                <a:srgbClr val="000000"/>
              </a:buClr>
              <a:buSzPct val="100000"/>
              <a:buFont typeface="Wingdings" panose="05000000000000000000" pitchFamily="2" charset="2"/>
              <a:buNone/>
              <a:tabLst/>
              <a:defRPr/>
            </a:pPr>
            <a:r>
              <a:rPr lang="en-US" noProof="0" dirty="0" smtClean="0"/>
              <a:t>Column Header</a:t>
            </a:r>
          </a:p>
        </p:txBody>
      </p:sp>
      <p:sp>
        <p:nvSpPr>
          <p:cNvPr id="13" name="Spaltenüberschrift 2"/>
          <p:cNvSpPr>
            <a:spLocks noGrp="1"/>
          </p:cNvSpPr>
          <p:nvPr>
            <p:ph type="body" idx="16" hasCustomPrompt="1"/>
          </p:nvPr>
        </p:nvSpPr>
        <p:spPr>
          <a:xfrm>
            <a:off x="3513000" y="900000"/>
            <a:ext cx="2880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9" name="Spaltenüberschrift 1"/>
          <p:cNvSpPr>
            <a:spLocks noGrp="1"/>
          </p:cNvSpPr>
          <p:nvPr>
            <p:ph type="body" idx="14" hasCustomPrompt="1"/>
          </p:nvPr>
        </p:nvSpPr>
        <p:spPr>
          <a:xfrm>
            <a:off x="523923" y="900000"/>
            <a:ext cx="2880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cxnSp>
        <p:nvCxnSpPr>
          <p:cNvPr id="15" name="Trennlinie Spaltenüberschrift"/>
          <p:cNvCxnSpPr/>
          <p:nvPr userDrawn="1"/>
        </p:nvCxnSpPr>
        <p:spPr>
          <a:xfrm>
            <a:off x="0" y="1260000"/>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9"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
        <p:nvSpPr>
          <p:cNvPr id="18" name="Titel"/>
          <p:cNvSpPr>
            <a:spLocks noGrp="1"/>
          </p:cNvSpPr>
          <p:nvPr>
            <p:ph type="title" hasCustomPrompt="1"/>
          </p:nvPr>
        </p:nvSpPr>
        <p:spPr>
          <a:xfrm>
            <a:off x="525600" y="288000"/>
            <a:ext cx="7308000" cy="260680"/>
          </a:xfrm>
        </p:spPr>
        <p:txBody>
          <a:bodyPr/>
          <a:lstStyle>
            <a:lvl1pPr>
              <a:defRPr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3812523310"/>
      </p:ext>
    </p:extLst>
  </p:cSld>
  <p:clrMapOvr>
    <a:masterClrMapping/>
  </p:clrMapOvr>
  <p:transition>
    <p:zoom/>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12" name="Rechteck"/>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Bildplatzhalter"/>
          <p:cNvSpPr>
            <a:spLocks noGrp="1"/>
          </p:cNvSpPr>
          <p:nvPr>
            <p:ph type="pic" sz="quarter" idx="14"/>
          </p:nvPr>
        </p:nvSpPr>
        <p:spPr>
          <a:xfrm>
            <a:off x="0" y="0"/>
            <a:ext cx="9906000" cy="4316400"/>
          </a:xfrm>
        </p:spPr>
        <p:txBody>
          <a:bodyPr lIns="396000" tIns="180000" rIns="396000" bIns="180000"/>
          <a:lstStyle>
            <a:lvl1pPr marL="0" indent="0">
              <a:buFontTx/>
              <a:buNone/>
              <a:defRPr sz="1500">
                <a:solidFill>
                  <a:schemeClr val="accent2"/>
                </a:solidFill>
              </a:defRPr>
            </a:lvl1pPr>
          </a:lstStyle>
          <a:p>
            <a:r>
              <a:rPr lang="de-DE" noProof="0" smtClean="0"/>
              <a:t>Bild durch Klicken auf Symbol hinzufügen</a:t>
            </a:r>
            <a:endParaRPr lang="en-US" noProof="0" dirty="0"/>
          </a:p>
        </p:txBody>
      </p:sp>
      <p:sp>
        <p:nvSpPr>
          <p:cNvPr id="3" name="Untertitel"/>
          <p:cNvSpPr>
            <a:spLocks noGrp="1"/>
          </p:cNvSpPr>
          <p:nvPr>
            <p:ph type="subTitle" idx="1" hasCustomPrompt="1"/>
          </p:nvPr>
        </p:nvSpPr>
        <p:spPr>
          <a:xfrm>
            <a:off x="0" y="4456800"/>
            <a:ext cx="9906000" cy="2401200"/>
          </a:xfrm>
          <a:noFill/>
        </p:spPr>
        <p:txBody>
          <a:bodyPr lIns="525600" tIns="216000" rIns="2340000" bIns="396000"/>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Author</a:t>
            </a:r>
            <a:br>
              <a:rPr lang="en-US" noProof="0" dirty="0" smtClean="0"/>
            </a:br>
            <a:r>
              <a:rPr lang="en-US" noProof="0" dirty="0" smtClean="0"/>
              <a:t>Department</a:t>
            </a:r>
            <a:br>
              <a:rPr lang="en-US" noProof="0" dirty="0" smtClean="0"/>
            </a:br>
            <a:r>
              <a:rPr lang="en-US" noProof="0" dirty="0" smtClean="0"/>
              <a:t>Date</a:t>
            </a:r>
            <a:endParaRPr lang="en-US" noProof="0" dirty="0"/>
          </a:p>
        </p:txBody>
      </p:sp>
      <p:sp>
        <p:nvSpPr>
          <p:cNvPr id="10" name="Sensorstrahl"/>
          <p:cNvSpPr/>
          <p:nvPr userDrawn="1"/>
        </p:nvSpPr>
        <p:spPr>
          <a:xfrm>
            <a:off x="0" y="4316400"/>
            <a:ext cx="9906000" cy="136800"/>
          </a:xfrm>
          <a:prstGeom prst="rect">
            <a:avLst/>
          </a:prstGeom>
          <a:gradFill flip="none" rotWithShape="1">
            <a:gsLst>
              <a:gs pos="0">
                <a:schemeClr val="tx2"/>
              </a:gs>
              <a:gs pos="100000">
                <a:schemeClr val="tx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el"/>
          <p:cNvSpPr>
            <a:spLocks noGrp="1"/>
          </p:cNvSpPr>
          <p:nvPr>
            <p:ph type="ctrTitle" hasCustomPrompt="1"/>
          </p:nvPr>
        </p:nvSpPr>
        <p:spPr>
          <a:xfrm>
            <a:off x="0" y="2876400"/>
            <a:ext cx="9906000" cy="1440000"/>
          </a:xfrm>
          <a:blipFill dpi="0" rotWithShape="1">
            <a:blip r:embed="rId2">
              <a:extLst>
                <a:ext uri="{28A0092B-C50C-407E-A947-70E740481C1C}">
                  <a14:useLocalDpi xmlns:a14="http://schemas.microsoft.com/office/drawing/2010/main" val="0"/>
                </a:ext>
              </a:extLst>
            </a:blip>
            <a:srcRect/>
            <a:stretch>
              <a:fillRect/>
            </a:stretch>
          </a:blipFill>
        </p:spPr>
        <p:txBody>
          <a:bodyPr lIns="525600" rIns="2340000" bIns="298800" anchor="b" anchorCtr="0"/>
          <a:lstStyle>
            <a:lvl1pPr>
              <a:lnSpc>
                <a:spcPct val="90000"/>
              </a:lnSpc>
              <a:defRPr sz="3200" baseline="0">
                <a:solidFill>
                  <a:schemeClr val="tx2"/>
                </a:solidFill>
              </a:defRPr>
            </a:lvl1pPr>
          </a:lstStyle>
          <a:p>
            <a:r>
              <a:rPr lang="en-US" noProof="0" dirty="0" smtClean="0"/>
              <a:t>Presentation title</a:t>
            </a:r>
            <a:br>
              <a:rPr lang="en-US" noProof="0" dirty="0" smtClean="0"/>
            </a:br>
            <a:r>
              <a:rPr lang="en-US" noProof="0" dirty="0" smtClean="0"/>
              <a:t>optionally double spaced</a:t>
            </a:r>
            <a:endParaRPr lang="en-US" noProof="0" dirty="0"/>
          </a:p>
        </p:txBody>
      </p:sp>
    </p:spTree>
    <p:extLst>
      <p:ext uri="{BB962C8B-B14F-4D97-AF65-F5344CB8AC3E}">
        <p14:creationId xmlns:p14="http://schemas.microsoft.com/office/powerpoint/2010/main" val="3494868978"/>
      </p:ext>
    </p:extLst>
  </p:cSld>
  <p:clrMapOvr>
    <a:masterClrMapping/>
  </p:clrMapOvr>
  <p:transition>
    <p:zo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neutral">
    <p:spTree>
      <p:nvGrpSpPr>
        <p:cNvPr id="1" name=""/>
        <p:cNvGrpSpPr/>
        <p:nvPr/>
      </p:nvGrpSpPr>
      <p:grpSpPr>
        <a:xfrm>
          <a:off x="0" y="0"/>
          <a:ext cx="0" cy="0"/>
          <a:chOff x="0" y="0"/>
          <a:chExt cx="0" cy="0"/>
        </a:xfrm>
      </p:grpSpPr>
      <p:graphicFrame>
        <p:nvGraphicFramePr>
          <p:cNvPr id="4"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49"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6"/>
          <p:cNvPicPr>
            <a:picLocks noChangeAspect="1"/>
          </p:cNvPicPr>
          <p:nvPr userDrawn="1"/>
        </p:nvPicPr>
        <p:blipFill>
          <a:blip r:embed="rId6" cstate="email">
            <a:extLst>
              <a:ext uri="{28A0092B-C50C-407E-A947-70E740481C1C}">
                <a14:useLocalDpi xmlns:a14="http://schemas.microsoft.com/office/drawing/2010/main" val="0"/>
              </a:ext>
            </a:extLst>
          </a:blip>
          <a:srcRect l="5751"/>
          <a:stretch>
            <a:fillRect/>
          </a:stretch>
        </p:blipFill>
        <p:spPr bwMode="auto">
          <a:xfrm>
            <a:off x="0" y="0"/>
            <a:ext cx="990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8"/>
          <p:cNvPicPr>
            <a:picLocks noChangeAspect="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7888288" y="4679950"/>
            <a:ext cx="1587500"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hteck 9"/>
          <p:cNvSpPr/>
          <p:nvPr userDrawn="1"/>
        </p:nvSpPr>
        <p:spPr>
          <a:xfrm>
            <a:off x="0" y="4319588"/>
            <a:ext cx="9906000" cy="73025"/>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2" name="Titel 1"/>
          <p:cNvSpPr>
            <a:spLocks noGrp="1"/>
          </p:cNvSpPr>
          <p:nvPr>
            <p:ph type="ctrTitle"/>
          </p:nvPr>
        </p:nvSpPr>
        <p:spPr>
          <a:xfrm>
            <a:off x="415924" y="2924944"/>
            <a:ext cx="9074151" cy="1035056"/>
          </a:xfrm>
        </p:spPr>
        <p:txBody>
          <a:bodyPr anchor="b"/>
          <a:lstStyle>
            <a:lvl1pPr>
              <a:lnSpc>
                <a:spcPct val="90000"/>
              </a:lnSpc>
              <a:defRPr sz="3200" baseline="0">
                <a:solidFill>
                  <a:schemeClr val="tx2"/>
                </a:solidFill>
              </a:defRPr>
            </a:lvl1pPr>
          </a:lstStyle>
          <a:p>
            <a:r>
              <a:rPr lang="en-US" noProof="0" smtClean="0"/>
              <a:t>Click to edit Master title style</a:t>
            </a:r>
            <a:endParaRPr lang="en-US" noProof="0" dirty="0"/>
          </a:p>
        </p:txBody>
      </p:sp>
      <p:sp>
        <p:nvSpPr>
          <p:cNvPr id="3" name="Untertitel 2"/>
          <p:cNvSpPr>
            <a:spLocks noGrp="1"/>
          </p:cNvSpPr>
          <p:nvPr>
            <p:ph type="subTitle" idx="1"/>
          </p:nvPr>
        </p:nvSpPr>
        <p:spPr>
          <a:xfrm>
            <a:off x="415925" y="4608000"/>
            <a:ext cx="7020000" cy="1800000"/>
          </a:xfrm>
        </p:spPr>
        <p:txBody>
          <a:bodyPr tIns="0"/>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dirty="0"/>
          </a:p>
        </p:txBody>
      </p:sp>
    </p:spTree>
    <p:extLst>
      <p:ext uri="{BB962C8B-B14F-4D97-AF65-F5344CB8AC3E}">
        <p14:creationId xmlns:p14="http://schemas.microsoft.com/office/powerpoint/2010/main" val="3009650544"/>
      </p:ext>
    </p:extLst>
  </p:cSld>
  <p:clrMapOvr>
    <a:masterClrMapping/>
  </p:clrMapOvr>
  <p:transition>
    <p:zoom/>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3"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1"/>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7" name="Rechteck 9"/>
          <p:cNvSpPr/>
          <p:nvPr userDrawn="1"/>
        </p:nvSpPr>
        <p:spPr>
          <a:xfrm>
            <a:off x="0" y="4319588"/>
            <a:ext cx="9906000" cy="73025"/>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pic>
        <p:nvPicPr>
          <p:cNvPr id="8" name="Grafik 14"/>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7888288" y="4679950"/>
            <a:ext cx="1587500"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Bildplatzhalter 8"/>
          <p:cNvSpPr>
            <a:spLocks noGrp="1"/>
          </p:cNvSpPr>
          <p:nvPr>
            <p:ph type="pic" sz="quarter" idx="14"/>
          </p:nvPr>
        </p:nvSpPr>
        <p:spPr>
          <a:xfrm>
            <a:off x="0" y="0"/>
            <a:ext cx="9906000" cy="4284406"/>
          </a:xfrm>
        </p:spPr>
        <p:txBody>
          <a:bodyPr lIns="396000" tIns="180000" rIns="396000" bIns="180000" rtlCol="0">
            <a:noAutofit/>
          </a:bodyPr>
          <a:lstStyle>
            <a:lvl1pPr marL="0" indent="0">
              <a:buFontTx/>
              <a:buNone/>
              <a:defRPr sz="1500">
                <a:solidFill>
                  <a:schemeClr val="accent2"/>
                </a:solidFill>
              </a:defRPr>
            </a:lvl1pPr>
          </a:lstStyle>
          <a:p>
            <a:pPr lvl="0"/>
            <a:r>
              <a:rPr lang="en-US" noProof="0" smtClean="0"/>
              <a:t>Click icon to add picture</a:t>
            </a:r>
            <a:endParaRPr lang="en-US" noProof="0" dirty="0"/>
          </a:p>
        </p:txBody>
      </p:sp>
      <p:sp>
        <p:nvSpPr>
          <p:cNvPr id="3" name="Untertitel 2"/>
          <p:cNvSpPr>
            <a:spLocks noGrp="1"/>
          </p:cNvSpPr>
          <p:nvPr>
            <p:ph type="subTitle" idx="1"/>
          </p:nvPr>
        </p:nvSpPr>
        <p:spPr>
          <a:xfrm>
            <a:off x="0" y="4395600"/>
            <a:ext cx="9906000" cy="2462400"/>
          </a:xfrm>
          <a:noFill/>
        </p:spPr>
        <p:txBody>
          <a:bodyPr lIns="396000" tIns="216000" rIns="2268000" bIns="396000"/>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dirty="0"/>
          </a:p>
        </p:txBody>
      </p:sp>
      <p:sp>
        <p:nvSpPr>
          <p:cNvPr id="2" name="Titel 1"/>
          <p:cNvSpPr>
            <a:spLocks noGrp="1"/>
          </p:cNvSpPr>
          <p:nvPr>
            <p:ph type="ctrTitle"/>
          </p:nvPr>
        </p:nvSpPr>
        <p:spPr>
          <a:xfrm>
            <a:off x="0" y="2876400"/>
            <a:ext cx="9906000" cy="1440000"/>
          </a:xfrm>
          <a:solidFill>
            <a:schemeClr val="bg1">
              <a:alpha val="80000"/>
            </a:schemeClr>
          </a:solidFill>
        </p:spPr>
        <p:txBody>
          <a:bodyPr lIns="414000" rIns="396000" bIns="360000" anchor="b"/>
          <a:lstStyle>
            <a:lvl1pPr>
              <a:lnSpc>
                <a:spcPct val="90000"/>
              </a:lnSpc>
              <a:defRPr sz="3200" baseline="0">
                <a:solidFill>
                  <a:schemeClr val="tx2"/>
                </a:solidFill>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745145541"/>
      </p:ext>
    </p:extLst>
  </p:cSld>
  <p:clrMapOvr>
    <a:masterClrMapping/>
  </p:clrMapOvr>
  <p:transition>
    <p:zoom/>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 title">
    <p:spTree>
      <p:nvGrpSpPr>
        <p:cNvPr id="1" name=""/>
        <p:cNvGrpSpPr/>
        <p:nvPr/>
      </p:nvGrpSpPr>
      <p:grpSpPr>
        <a:xfrm>
          <a:off x="0" y="0"/>
          <a:ext cx="0" cy="0"/>
          <a:chOff x="0" y="0"/>
          <a:chExt cx="0" cy="0"/>
        </a:xfrm>
      </p:grpSpPr>
      <p:sp>
        <p:nvSpPr>
          <p:cNvPr id="2" name="Titel 1"/>
          <p:cNvSpPr>
            <a:spLocks noGrp="1"/>
          </p:cNvSpPr>
          <p:nvPr>
            <p:ph type="title"/>
          </p:nvPr>
        </p:nvSpPr>
        <p:spPr>
          <a:xfrm>
            <a:off x="415925" y="288000"/>
            <a:ext cx="7741431" cy="260680"/>
          </a:xfrm>
        </p:spPr>
        <p:txBody>
          <a:bodyPr/>
          <a:lstStyle>
            <a:lvl1pPr>
              <a:defRPr baseline="0"/>
            </a:lvl1pPr>
          </a:lstStyle>
          <a:p>
            <a:r>
              <a:rPr lang="en-US" noProof="0" smtClean="0"/>
              <a:t>Click to edit Master title style</a:t>
            </a:r>
            <a:endParaRPr lang="en-US" noProof="0" dirty="0"/>
          </a:p>
        </p:txBody>
      </p:sp>
      <p:sp>
        <p:nvSpPr>
          <p:cNvPr id="3" name="Inhaltsplatzhalter 2"/>
          <p:cNvSpPr>
            <a:spLocks noGrp="1"/>
          </p:cNvSpPr>
          <p:nvPr>
            <p:ph idx="1"/>
          </p:nvPr>
        </p:nvSpPr>
        <p:spPr>
          <a:xfrm>
            <a:off x="415926" y="944563"/>
            <a:ext cx="9074149" cy="5653087"/>
          </a:xfrm>
        </p:spPr>
        <p:txBody>
          <a:bodyPr bIns="72000" rtlCol="0">
            <a:noAutofit/>
          </a:bodyPr>
          <a:lstStyle>
            <a:lvl1pPr>
              <a:defRPr lang="de-DE" dirty="0" smtClean="0"/>
            </a:lvl1pPr>
            <a:lvl2pPr>
              <a:defRPr lang="de-DE" dirty="0" smtClean="0"/>
            </a:lvl2pPr>
            <a:lvl3pPr>
              <a:defRPr lang="de-DE" dirty="0" smtClean="0"/>
            </a:lvl3pPr>
            <a:lvl4pPr>
              <a:defRPr lang="de-DE" dirty="0" smtClean="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platzhalter 2"/>
          <p:cNvSpPr>
            <a:spLocks noGrp="1"/>
          </p:cNvSpPr>
          <p:nvPr>
            <p:ph type="body" idx="13"/>
          </p:nvPr>
        </p:nvSpPr>
        <p:spPr>
          <a:xfrm>
            <a:off x="415925" y="548680"/>
            <a:ext cx="7741431" cy="288000"/>
          </a:xfrm>
        </p:spPr>
        <p:txBody>
          <a:bodyPr tIns="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5" name="Datumsplatzhalter 3"/>
          <p:cNvSpPr>
            <a:spLocks noGrp="1"/>
          </p:cNvSpPr>
          <p:nvPr>
            <p:ph type="dt" sz="half" idx="14"/>
          </p:nvPr>
        </p:nvSpPr>
        <p:spPr/>
        <p:txBody>
          <a:bodyPr/>
          <a:lstStyle>
            <a:lvl1pPr>
              <a:defRPr/>
            </a:lvl1pPr>
          </a:lstStyle>
          <a:p>
            <a:pPr>
              <a:defRPr/>
            </a:pPr>
            <a:endParaRPr lang="en-US" dirty="0">
              <a:solidFill>
                <a:srgbClr val="6E7A82"/>
              </a:solidFill>
            </a:endParaRPr>
          </a:p>
        </p:txBody>
      </p:sp>
      <p:sp>
        <p:nvSpPr>
          <p:cNvPr id="6" name="Fußzeilenplatzhalter 4"/>
          <p:cNvSpPr>
            <a:spLocks noGrp="1"/>
          </p:cNvSpPr>
          <p:nvPr>
            <p:ph type="ftr" sz="quarter" idx="15"/>
          </p:nvPr>
        </p:nvSpPr>
        <p:spPr/>
        <p:txBody>
          <a:bodyPr/>
          <a:lstStyle>
            <a:lvl1pPr>
              <a:defRPr/>
            </a:lvl1pPr>
          </a:lstStyle>
          <a:p>
            <a:pPr>
              <a:defRPr/>
            </a:pPr>
            <a:endParaRPr lang="en-US" dirty="0">
              <a:solidFill>
                <a:srgbClr val="007FC3"/>
              </a:solidFill>
            </a:endParaRPr>
          </a:p>
        </p:txBody>
      </p:sp>
      <p:sp>
        <p:nvSpPr>
          <p:cNvPr id="8" name="Foliennummernplatzhalter 5"/>
          <p:cNvSpPr>
            <a:spLocks noGrp="1"/>
          </p:cNvSpPr>
          <p:nvPr>
            <p:ph type="sldNum" sz="quarter" idx="16"/>
          </p:nvPr>
        </p:nvSpPr>
        <p:spPr/>
        <p:txBody>
          <a:bodyPr/>
          <a:lstStyle>
            <a:lvl1pPr>
              <a:defRPr/>
            </a:lvl1pPr>
          </a:lstStyle>
          <a:p>
            <a:pPr>
              <a:defRPr/>
            </a:pPr>
            <a:fld id="{27F7A63C-3AAF-4232-A5CA-85B48AC38C5C}" type="slidenum">
              <a:rPr lang="en-US">
                <a:solidFill>
                  <a:srgbClr val="6E7A82"/>
                </a:solidFill>
              </a:rPr>
              <a:pPr>
                <a:defRPr/>
              </a:pPr>
              <a:t>‹#›</a:t>
            </a:fld>
            <a:endParaRPr lang="en-US" dirty="0">
              <a:solidFill>
                <a:srgbClr val="6E7A82"/>
              </a:solidFill>
            </a:endParaRPr>
          </a:p>
        </p:txBody>
      </p:sp>
    </p:spTree>
    <p:extLst>
      <p:ext uri="{BB962C8B-B14F-4D97-AF65-F5344CB8AC3E}">
        <p14:creationId xmlns:p14="http://schemas.microsoft.com/office/powerpoint/2010/main" val="1787869212"/>
      </p:ext>
    </p:extLst>
  </p:cSld>
  <p:clrMapOvr>
    <a:masterClrMapping/>
  </p:clrMapOvr>
  <p:transition>
    <p:zoom/>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 title double spaced">
    <p:spTree>
      <p:nvGrpSpPr>
        <p:cNvPr id="1" name=""/>
        <p:cNvGrpSpPr/>
        <p:nvPr/>
      </p:nvGrpSpPr>
      <p:grpSpPr>
        <a:xfrm>
          <a:off x="0" y="0"/>
          <a:ext cx="0" cy="0"/>
          <a:chOff x="0" y="0"/>
          <a:chExt cx="0" cy="0"/>
        </a:xfrm>
      </p:grpSpPr>
      <p:sp>
        <p:nvSpPr>
          <p:cNvPr id="2" name="Titel 1"/>
          <p:cNvSpPr>
            <a:spLocks noGrp="1"/>
          </p:cNvSpPr>
          <p:nvPr>
            <p:ph type="title"/>
          </p:nvPr>
        </p:nvSpPr>
        <p:spPr>
          <a:xfrm>
            <a:off x="415926" y="288000"/>
            <a:ext cx="7741430" cy="576000"/>
          </a:xfrm>
        </p:spPr>
        <p:txBody>
          <a:bodyPr/>
          <a:lstStyle>
            <a:lvl1pPr>
              <a:defRPr baseline="0"/>
            </a:lvl1pPr>
          </a:lstStyle>
          <a:p>
            <a:r>
              <a:rPr lang="en-US" noProof="0" smtClean="0"/>
              <a:t>Click to edit Master title style</a:t>
            </a:r>
            <a:endParaRPr lang="en-US" noProof="0" dirty="0"/>
          </a:p>
        </p:txBody>
      </p:sp>
      <p:sp>
        <p:nvSpPr>
          <p:cNvPr id="3" name="Inhaltsplatzhalter 2"/>
          <p:cNvSpPr>
            <a:spLocks noGrp="1"/>
          </p:cNvSpPr>
          <p:nvPr>
            <p:ph idx="1"/>
          </p:nvPr>
        </p:nvSpPr>
        <p:spPr>
          <a:xfrm>
            <a:off x="415926" y="944563"/>
            <a:ext cx="9074150" cy="5653087"/>
          </a:xfrm>
        </p:spPr>
        <p:txBody>
          <a:bodyPr bIns="72000"/>
          <a:lstStyle>
            <a:lvl4pPr>
              <a:defRPr sz="16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Datumsplatzhalter 3"/>
          <p:cNvSpPr>
            <a:spLocks noGrp="1"/>
          </p:cNvSpPr>
          <p:nvPr>
            <p:ph type="dt" sz="half" idx="10"/>
          </p:nvPr>
        </p:nvSpPr>
        <p:spPr/>
        <p:txBody>
          <a:bodyPr/>
          <a:lstStyle>
            <a:lvl1pPr>
              <a:defRPr/>
            </a:lvl1pPr>
          </a:lstStyle>
          <a:p>
            <a:pPr>
              <a:defRPr/>
            </a:pPr>
            <a:endParaRPr lang="en-US" dirty="0">
              <a:solidFill>
                <a:srgbClr val="6E7A82"/>
              </a:solidFill>
            </a:endParaRPr>
          </a:p>
        </p:txBody>
      </p:sp>
      <p:sp>
        <p:nvSpPr>
          <p:cNvPr id="5" name="Fußzeilenplatzhalter 4"/>
          <p:cNvSpPr>
            <a:spLocks noGrp="1"/>
          </p:cNvSpPr>
          <p:nvPr>
            <p:ph type="ftr" sz="quarter" idx="11"/>
          </p:nvPr>
        </p:nvSpPr>
        <p:spPr/>
        <p:txBody>
          <a:bodyPr/>
          <a:lstStyle>
            <a:lvl1pPr>
              <a:defRPr/>
            </a:lvl1pPr>
          </a:lstStyle>
          <a:p>
            <a:pPr>
              <a:defRPr/>
            </a:pPr>
            <a:endParaRPr lang="en-US" dirty="0">
              <a:solidFill>
                <a:srgbClr val="007FC3"/>
              </a:solidFill>
            </a:endParaRPr>
          </a:p>
        </p:txBody>
      </p:sp>
      <p:sp>
        <p:nvSpPr>
          <p:cNvPr id="6" name="Foliennummernplatzhalter 5"/>
          <p:cNvSpPr>
            <a:spLocks noGrp="1"/>
          </p:cNvSpPr>
          <p:nvPr>
            <p:ph type="sldNum" sz="quarter" idx="12"/>
          </p:nvPr>
        </p:nvSpPr>
        <p:spPr/>
        <p:txBody>
          <a:bodyPr/>
          <a:lstStyle>
            <a:lvl1pPr>
              <a:defRPr/>
            </a:lvl1pPr>
          </a:lstStyle>
          <a:p>
            <a:pPr>
              <a:defRPr/>
            </a:pPr>
            <a:fld id="{15B2A557-EC2B-4564-A7D4-9C2FB8B83180}" type="slidenum">
              <a:rPr lang="en-US">
                <a:solidFill>
                  <a:srgbClr val="6E7A82"/>
                </a:solidFill>
              </a:rPr>
              <a:pPr>
                <a:defRPr/>
              </a:pPr>
              <a:t>‹#›</a:t>
            </a:fld>
            <a:endParaRPr lang="en-US" dirty="0">
              <a:solidFill>
                <a:srgbClr val="6E7A82"/>
              </a:solidFill>
            </a:endParaRPr>
          </a:p>
        </p:txBody>
      </p:sp>
    </p:spTree>
    <p:extLst>
      <p:ext uri="{BB962C8B-B14F-4D97-AF65-F5344CB8AC3E}">
        <p14:creationId xmlns:p14="http://schemas.microsoft.com/office/powerpoint/2010/main" val="3770134092"/>
      </p:ext>
    </p:extLst>
  </p:cSld>
  <p:clrMapOvr>
    <a:masterClrMapping/>
  </p:clrMapOvr>
  <p:transition>
    <p:zoom/>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left picture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415926" y="944563"/>
            <a:ext cx="4459074" cy="5653087"/>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9" name="Bildplatzhalter 8"/>
          <p:cNvSpPr>
            <a:spLocks noGrp="1"/>
          </p:cNvSpPr>
          <p:nvPr>
            <p:ph type="pic" sz="quarter" idx="14"/>
          </p:nvPr>
        </p:nvSpPr>
        <p:spPr>
          <a:xfrm>
            <a:off x="5030389" y="944563"/>
            <a:ext cx="4459685" cy="5653087"/>
          </a:xfrm>
        </p:spPr>
        <p:txBody>
          <a:bodyPr tIns="180000" bIns="180000" rtlCol="0">
            <a:noAutofit/>
          </a:bodyPr>
          <a:lstStyle>
            <a:lvl1pPr marL="0" indent="0">
              <a:buFontTx/>
              <a:buNone/>
              <a:defRPr sz="1600">
                <a:solidFill>
                  <a:schemeClr val="accent2"/>
                </a:solidFill>
              </a:defRPr>
            </a:lvl1pPr>
          </a:lstStyle>
          <a:p>
            <a:pPr lvl="0"/>
            <a:r>
              <a:rPr lang="en-US" noProof="0" smtClean="0"/>
              <a:t>Click icon to add picture</a:t>
            </a:r>
            <a:endParaRPr lang="en-US" noProof="0" dirty="0"/>
          </a:p>
        </p:txBody>
      </p:sp>
      <p:sp>
        <p:nvSpPr>
          <p:cNvPr id="10" name="Titel 1"/>
          <p:cNvSpPr>
            <a:spLocks noGrp="1"/>
          </p:cNvSpPr>
          <p:nvPr>
            <p:ph type="title"/>
          </p:nvPr>
        </p:nvSpPr>
        <p:spPr>
          <a:xfrm>
            <a:off x="415925" y="288000"/>
            <a:ext cx="7741431" cy="260680"/>
          </a:xfrm>
        </p:spPr>
        <p:txBody>
          <a:bodyPr/>
          <a:lstStyle>
            <a:lvl1pPr>
              <a:defRPr baseline="0"/>
            </a:lvl1pPr>
          </a:lstStyle>
          <a:p>
            <a:r>
              <a:rPr lang="en-US" noProof="0" smtClean="0"/>
              <a:t>Click to edit Master title style</a:t>
            </a:r>
            <a:endParaRPr lang="en-US" noProof="0" dirty="0"/>
          </a:p>
        </p:txBody>
      </p:sp>
      <p:sp>
        <p:nvSpPr>
          <p:cNvPr id="11" name="Textplatzhalter 2"/>
          <p:cNvSpPr>
            <a:spLocks noGrp="1"/>
          </p:cNvSpPr>
          <p:nvPr>
            <p:ph type="body" idx="13"/>
          </p:nvPr>
        </p:nvSpPr>
        <p:spPr>
          <a:xfrm>
            <a:off x="415925" y="548680"/>
            <a:ext cx="7741431" cy="288000"/>
          </a:xfrm>
        </p:spPr>
        <p:txBody>
          <a:bodyPr tIns="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6" name="Datumsplatzhalter 3"/>
          <p:cNvSpPr>
            <a:spLocks noGrp="1"/>
          </p:cNvSpPr>
          <p:nvPr>
            <p:ph type="dt" sz="half" idx="15"/>
          </p:nvPr>
        </p:nvSpPr>
        <p:spPr/>
        <p:txBody>
          <a:bodyPr/>
          <a:lstStyle>
            <a:lvl1pPr>
              <a:defRPr/>
            </a:lvl1pPr>
          </a:lstStyle>
          <a:p>
            <a:pPr>
              <a:defRPr/>
            </a:pPr>
            <a:endParaRPr lang="en-US" dirty="0">
              <a:solidFill>
                <a:srgbClr val="6E7A82"/>
              </a:solidFill>
            </a:endParaRPr>
          </a:p>
        </p:txBody>
      </p:sp>
      <p:sp>
        <p:nvSpPr>
          <p:cNvPr id="7" name="Fußzeilenplatzhalter 4"/>
          <p:cNvSpPr>
            <a:spLocks noGrp="1"/>
          </p:cNvSpPr>
          <p:nvPr>
            <p:ph type="ftr" sz="quarter" idx="16"/>
          </p:nvPr>
        </p:nvSpPr>
        <p:spPr/>
        <p:txBody>
          <a:bodyPr/>
          <a:lstStyle>
            <a:lvl1pPr>
              <a:defRPr/>
            </a:lvl1pPr>
          </a:lstStyle>
          <a:p>
            <a:pPr>
              <a:defRPr/>
            </a:pPr>
            <a:endParaRPr lang="en-US" dirty="0">
              <a:solidFill>
                <a:srgbClr val="007FC3"/>
              </a:solidFill>
            </a:endParaRPr>
          </a:p>
        </p:txBody>
      </p:sp>
      <p:sp>
        <p:nvSpPr>
          <p:cNvPr id="8" name="Foliennummernplatzhalter 5"/>
          <p:cNvSpPr>
            <a:spLocks noGrp="1"/>
          </p:cNvSpPr>
          <p:nvPr>
            <p:ph type="sldNum" sz="quarter" idx="17"/>
          </p:nvPr>
        </p:nvSpPr>
        <p:spPr/>
        <p:txBody>
          <a:bodyPr/>
          <a:lstStyle>
            <a:lvl1pPr>
              <a:defRPr/>
            </a:lvl1pPr>
          </a:lstStyle>
          <a:p>
            <a:pPr>
              <a:defRPr/>
            </a:pPr>
            <a:fld id="{E3770329-A6F0-45FF-825C-D4D381EC5103}" type="slidenum">
              <a:rPr lang="en-US">
                <a:solidFill>
                  <a:srgbClr val="6E7A82"/>
                </a:solidFill>
              </a:rPr>
              <a:pPr>
                <a:defRPr/>
              </a:pPr>
              <a:t>‹#›</a:t>
            </a:fld>
            <a:endParaRPr lang="en-US" dirty="0">
              <a:solidFill>
                <a:srgbClr val="6E7A82"/>
              </a:solidFill>
            </a:endParaRPr>
          </a:p>
        </p:txBody>
      </p:sp>
    </p:spTree>
    <p:extLst>
      <p:ext uri="{BB962C8B-B14F-4D97-AF65-F5344CB8AC3E}">
        <p14:creationId xmlns:p14="http://schemas.microsoft.com/office/powerpoint/2010/main" val="1780242794"/>
      </p:ext>
    </p:extLst>
  </p:cSld>
  <p:clrMapOvr>
    <a:masterClrMapping/>
  </p:clrMapOvr>
  <p:transition>
    <p:zoom/>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left content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5030999" y="944563"/>
            <a:ext cx="4459075" cy="5653087"/>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9" name="Bildplatzhalter 8"/>
          <p:cNvSpPr>
            <a:spLocks noGrp="1"/>
          </p:cNvSpPr>
          <p:nvPr>
            <p:ph type="pic" sz="quarter" idx="14"/>
          </p:nvPr>
        </p:nvSpPr>
        <p:spPr>
          <a:xfrm>
            <a:off x="415926" y="944563"/>
            <a:ext cx="4459074" cy="5653087"/>
          </a:xfrm>
        </p:spPr>
        <p:txBody>
          <a:bodyPr tIns="180000" bIns="180000" rtlCol="0">
            <a:noAutofit/>
          </a:bodyPr>
          <a:lstStyle>
            <a:lvl1pPr marL="0" indent="0">
              <a:buFontTx/>
              <a:buNone/>
              <a:defRPr sz="1600">
                <a:solidFill>
                  <a:schemeClr val="accent2"/>
                </a:solidFill>
              </a:defRPr>
            </a:lvl1pPr>
          </a:lstStyle>
          <a:p>
            <a:pPr lvl="0"/>
            <a:r>
              <a:rPr lang="en-US" noProof="0" smtClean="0"/>
              <a:t>Click icon to add picture</a:t>
            </a:r>
            <a:endParaRPr lang="en-US" noProof="0" dirty="0"/>
          </a:p>
        </p:txBody>
      </p:sp>
      <p:sp>
        <p:nvSpPr>
          <p:cNvPr id="10" name="Titel 1"/>
          <p:cNvSpPr>
            <a:spLocks noGrp="1"/>
          </p:cNvSpPr>
          <p:nvPr>
            <p:ph type="title"/>
          </p:nvPr>
        </p:nvSpPr>
        <p:spPr>
          <a:xfrm>
            <a:off x="415925" y="288000"/>
            <a:ext cx="7741431" cy="260680"/>
          </a:xfrm>
        </p:spPr>
        <p:txBody>
          <a:bodyPr/>
          <a:lstStyle>
            <a:lvl1pPr>
              <a:defRPr baseline="0"/>
            </a:lvl1pPr>
          </a:lstStyle>
          <a:p>
            <a:r>
              <a:rPr lang="en-US" noProof="0" smtClean="0"/>
              <a:t>Click to edit Master title style</a:t>
            </a:r>
            <a:endParaRPr lang="en-US" noProof="0" dirty="0"/>
          </a:p>
        </p:txBody>
      </p:sp>
      <p:sp>
        <p:nvSpPr>
          <p:cNvPr id="11" name="Textplatzhalter 2"/>
          <p:cNvSpPr>
            <a:spLocks noGrp="1"/>
          </p:cNvSpPr>
          <p:nvPr>
            <p:ph type="body" idx="13"/>
          </p:nvPr>
        </p:nvSpPr>
        <p:spPr>
          <a:xfrm>
            <a:off x="415925" y="548680"/>
            <a:ext cx="7741431" cy="288000"/>
          </a:xfrm>
        </p:spPr>
        <p:txBody>
          <a:bodyPr tIns="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6" name="Datumsplatzhalter 3"/>
          <p:cNvSpPr>
            <a:spLocks noGrp="1"/>
          </p:cNvSpPr>
          <p:nvPr>
            <p:ph type="dt" sz="half" idx="15"/>
          </p:nvPr>
        </p:nvSpPr>
        <p:spPr/>
        <p:txBody>
          <a:bodyPr/>
          <a:lstStyle>
            <a:lvl1pPr>
              <a:defRPr/>
            </a:lvl1pPr>
          </a:lstStyle>
          <a:p>
            <a:pPr>
              <a:defRPr/>
            </a:pPr>
            <a:endParaRPr lang="en-US" dirty="0">
              <a:solidFill>
                <a:srgbClr val="6E7A82"/>
              </a:solidFill>
            </a:endParaRPr>
          </a:p>
        </p:txBody>
      </p:sp>
      <p:sp>
        <p:nvSpPr>
          <p:cNvPr id="7" name="Fußzeilenplatzhalter 4"/>
          <p:cNvSpPr>
            <a:spLocks noGrp="1"/>
          </p:cNvSpPr>
          <p:nvPr>
            <p:ph type="ftr" sz="quarter" idx="16"/>
          </p:nvPr>
        </p:nvSpPr>
        <p:spPr/>
        <p:txBody>
          <a:bodyPr/>
          <a:lstStyle>
            <a:lvl1pPr>
              <a:defRPr/>
            </a:lvl1pPr>
          </a:lstStyle>
          <a:p>
            <a:pPr>
              <a:defRPr/>
            </a:pPr>
            <a:endParaRPr lang="en-US" dirty="0">
              <a:solidFill>
                <a:srgbClr val="007FC3"/>
              </a:solidFill>
            </a:endParaRPr>
          </a:p>
        </p:txBody>
      </p:sp>
      <p:sp>
        <p:nvSpPr>
          <p:cNvPr id="8" name="Foliennummernplatzhalter 5"/>
          <p:cNvSpPr>
            <a:spLocks noGrp="1"/>
          </p:cNvSpPr>
          <p:nvPr>
            <p:ph type="sldNum" sz="quarter" idx="17"/>
          </p:nvPr>
        </p:nvSpPr>
        <p:spPr/>
        <p:txBody>
          <a:bodyPr/>
          <a:lstStyle>
            <a:lvl1pPr>
              <a:defRPr/>
            </a:lvl1pPr>
          </a:lstStyle>
          <a:p>
            <a:pPr>
              <a:defRPr/>
            </a:pPr>
            <a:fld id="{5A475CBA-FE94-4E79-9EA5-FD8C290C02E8}" type="slidenum">
              <a:rPr lang="en-US">
                <a:solidFill>
                  <a:srgbClr val="6E7A82"/>
                </a:solidFill>
              </a:rPr>
              <a:pPr>
                <a:defRPr/>
              </a:pPr>
              <a:t>‹#›</a:t>
            </a:fld>
            <a:endParaRPr lang="en-US" dirty="0">
              <a:solidFill>
                <a:srgbClr val="6E7A82"/>
              </a:solidFill>
            </a:endParaRPr>
          </a:p>
        </p:txBody>
      </p:sp>
    </p:spTree>
    <p:extLst>
      <p:ext uri="{BB962C8B-B14F-4D97-AF65-F5344CB8AC3E}">
        <p14:creationId xmlns:p14="http://schemas.microsoft.com/office/powerpoint/2010/main" val="3938283786"/>
      </p:ext>
    </p:extLst>
  </p:cSld>
  <p:clrMapOvr>
    <a:masterClrMapping/>
  </p:clrMapOvr>
  <p:transition>
    <p:zoom/>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cxnSp>
        <p:nvCxnSpPr>
          <p:cNvPr id="8" name="Gerade Verbindung 11"/>
          <p:cNvCxnSpPr/>
          <p:nvPr userDrawn="1"/>
        </p:nvCxnSpPr>
        <p:spPr>
          <a:xfrm>
            <a:off x="0" y="1260475"/>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3" name="Inhaltsplatzhalter 2"/>
          <p:cNvSpPr>
            <a:spLocks noGrp="1"/>
          </p:cNvSpPr>
          <p:nvPr>
            <p:ph sz="half" idx="1"/>
          </p:nvPr>
        </p:nvSpPr>
        <p:spPr>
          <a:xfrm>
            <a:off x="415926" y="1304764"/>
            <a:ext cx="4459074" cy="5292886"/>
          </a:xfrm>
        </p:spPr>
        <p:txBody>
          <a:bodyPr bIns="72000"/>
          <a:lstStyle>
            <a:lvl1pPr>
              <a:defRPr sz="2000"/>
            </a:lvl1pPr>
            <a:lvl2pPr>
              <a:defRPr sz="17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Inhaltsplatzhalter 3"/>
          <p:cNvSpPr>
            <a:spLocks noGrp="1"/>
          </p:cNvSpPr>
          <p:nvPr>
            <p:ph sz="half" idx="2"/>
          </p:nvPr>
        </p:nvSpPr>
        <p:spPr>
          <a:xfrm>
            <a:off x="5030999" y="1304764"/>
            <a:ext cx="4459075" cy="5292886"/>
          </a:xfrm>
        </p:spPr>
        <p:txBody>
          <a:bodyPr bIns="72000"/>
          <a:lstStyle>
            <a:lvl1pPr>
              <a:defRPr sz="1900"/>
            </a:lvl1pPr>
            <a:lvl2pPr>
              <a:defRPr sz="1800"/>
            </a:lvl2pPr>
            <a:lvl3pPr>
              <a:defRPr sz="15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9" name="Textplatzhalter 2"/>
          <p:cNvSpPr>
            <a:spLocks noGrp="1"/>
          </p:cNvSpPr>
          <p:nvPr>
            <p:ph type="body" idx="14"/>
          </p:nvPr>
        </p:nvSpPr>
        <p:spPr>
          <a:xfrm>
            <a:off x="415925" y="900000"/>
            <a:ext cx="4458304"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13" name="Textplatzhalter 2"/>
          <p:cNvSpPr>
            <a:spLocks noGrp="1"/>
          </p:cNvSpPr>
          <p:nvPr>
            <p:ph type="body" idx="16"/>
          </p:nvPr>
        </p:nvSpPr>
        <p:spPr>
          <a:xfrm>
            <a:off x="5030999" y="900000"/>
            <a:ext cx="4459075"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15" name="Titel 1"/>
          <p:cNvSpPr>
            <a:spLocks noGrp="1"/>
          </p:cNvSpPr>
          <p:nvPr>
            <p:ph type="title"/>
          </p:nvPr>
        </p:nvSpPr>
        <p:spPr>
          <a:xfrm>
            <a:off x="415925" y="288000"/>
            <a:ext cx="7741431" cy="260680"/>
          </a:xfrm>
        </p:spPr>
        <p:txBody>
          <a:bodyPr/>
          <a:lstStyle>
            <a:lvl1pPr>
              <a:defRPr baseline="0"/>
            </a:lvl1pPr>
          </a:lstStyle>
          <a:p>
            <a:r>
              <a:rPr lang="en-US" noProof="0" smtClean="0"/>
              <a:t>Click to edit Master title style</a:t>
            </a:r>
            <a:endParaRPr lang="en-US" noProof="0" dirty="0"/>
          </a:p>
        </p:txBody>
      </p:sp>
      <p:sp>
        <p:nvSpPr>
          <p:cNvPr id="16" name="Textplatzhalter 2"/>
          <p:cNvSpPr>
            <a:spLocks noGrp="1"/>
          </p:cNvSpPr>
          <p:nvPr>
            <p:ph type="body" idx="13"/>
          </p:nvPr>
        </p:nvSpPr>
        <p:spPr>
          <a:xfrm>
            <a:off x="415925" y="548680"/>
            <a:ext cx="7741431" cy="288000"/>
          </a:xfrm>
        </p:spPr>
        <p:txBody>
          <a:bodyPr tIns="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10" name="Datumsplatzhalter 4"/>
          <p:cNvSpPr>
            <a:spLocks noGrp="1"/>
          </p:cNvSpPr>
          <p:nvPr>
            <p:ph type="dt" sz="half" idx="17"/>
          </p:nvPr>
        </p:nvSpPr>
        <p:spPr/>
        <p:txBody>
          <a:bodyPr/>
          <a:lstStyle>
            <a:lvl1pPr>
              <a:defRPr/>
            </a:lvl1pPr>
          </a:lstStyle>
          <a:p>
            <a:pPr>
              <a:defRPr/>
            </a:pPr>
            <a:endParaRPr lang="en-US" dirty="0">
              <a:solidFill>
                <a:srgbClr val="6E7A82"/>
              </a:solidFill>
            </a:endParaRPr>
          </a:p>
        </p:txBody>
      </p:sp>
      <p:sp>
        <p:nvSpPr>
          <p:cNvPr id="11" name="Fußzeilenplatzhalter 5"/>
          <p:cNvSpPr>
            <a:spLocks noGrp="1"/>
          </p:cNvSpPr>
          <p:nvPr>
            <p:ph type="ftr" sz="quarter" idx="18"/>
          </p:nvPr>
        </p:nvSpPr>
        <p:spPr/>
        <p:txBody>
          <a:bodyPr/>
          <a:lstStyle>
            <a:lvl1pPr>
              <a:defRPr/>
            </a:lvl1pPr>
          </a:lstStyle>
          <a:p>
            <a:pPr>
              <a:defRPr/>
            </a:pPr>
            <a:endParaRPr lang="en-US" dirty="0">
              <a:solidFill>
                <a:srgbClr val="007FC3"/>
              </a:solidFill>
            </a:endParaRPr>
          </a:p>
        </p:txBody>
      </p:sp>
      <p:sp>
        <p:nvSpPr>
          <p:cNvPr id="12" name="Foliennummernplatzhalter 6"/>
          <p:cNvSpPr>
            <a:spLocks noGrp="1"/>
          </p:cNvSpPr>
          <p:nvPr>
            <p:ph type="sldNum" sz="quarter" idx="19"/>
          </p:nvPr>
        </p:nvSpPr>
        <p:spPr/>
        <p:txBody>
          <a:bodyPr/>
          <a:lstStyle>
            <a:lvl1pPr>
              <a:defRPr/>
            </a:lvl1pPr>
          </a:lstStyle>
          <a:p>
            <a:pPr>
              <a:defRPr/>
            </a:pPr>
            <a:fld id="{0EDF22B0-9273-4D77-B6AB-70CD7931075E}" type="slidenum">
              <a:rPr lang="en-US">
                <a:solidFill>
                  <a:srgbClr val="6E7A82"/>
                </a:solidFill>
              </a:rPr>
              <a:pPr>
                <a:defRPr/>
              </a:pPr>
              <a:t>‹#›</a:t>
            </a:fld>
            <a:endParaRPr lang="en-US" dirty="0">
              <a:solidFill>
                <a:srgbClr val="6E7A82"/>
              </a:solidFill>
            </a:endParaRPr>
          </a:p>
        </p:txBody>
      </p:sp>
    </p:spTree>
    <p:extLst>
      <p:ext uri="{BB962C8B-B14F-4D97-AF65-F5344CB8AC3E}">
        <p14:creationId xmlns:p14="http://schemas.microsoft.com/office/powerpoint/2010/main" val="2810015212"/>
      </p:ext>
    </p:extLst>
  </p:cSld>
  <p:clrMapOvr>
    <a:masterClrMapping/>
  </p:clrMapOvr>
  <p:transition>
    <p:zoom/>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cxnSp>
        <p:nvCxnSpPr>
          <p:cNvPr id="10" name="Gerade Verbindung 14"/>
          <p:cNvCxnSpPr/>
          <p:nvPr userDrawn="1"/>
        </p:nvCxnSpPr>
        <p:spPr>
          <a:xfrm>
            <a:off x="0" y="1260475"/>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3" name="Inhaltsplatzhalter 2"/>
          <p:cNvSpPr>
            <a:spLocks noGrp="1"/>
          </p:cNvSpPr>
          <p:nvPr>
            <p:ph sz="half" idx="1"/>
          </p:nvPr>
        </p:nvSpPr>
        <p:spPr>
          <a:xfrm>
            <a:off x="415924" y="1304764"/>
            <a:ext cx="2988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Inhaltsplatzhalter 3"/>
          <p:cNvSpPr>
            <a:spLocks noGrp="1"/>
          </p:cNvSpPr>
          <p:nvPr>
            <p:ph sz="half" idx="2"/>
          </p:nvPr>
        </p:nvSpPr>
        <p:spPr>
          <a:xfrm>
            <a:off x="3458547" y="1304764"/>
            <a:ext cx="2988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9" name="Textplatzhalter 2"/>
          <p:cNvSpPr>
            <a:spLocks noGrp="1"/>
          </p:cNvSpPr>
          <p:nvPr>
            <p:ph type="body" idx="14"/>
          </p:nvPr>
        </p:nvSpPr>
        <p:spPr>
          <a:xfrm>
            <a:off x="415924" y="900000"/>
            <a:ext cx="2988000"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12" name="Inhaltsplatzhalter 3"/>
          <p:cNvSpPr>
            <a:spLocks noGrp="1"/>
          </p:cNvSpPr>
          <p:nvPr>
            <p:ph sz="half" idx="15"/>
          </p:nvPr>
        </p:nvSpPr>
        <p:spPr>
          <a:xfrm>
            <a:off x="6501172" y="1304764"/>
            <a:ext cx="2988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3" name="Textplatzhalter 2"/>
          <p:cNvSpPr>
            <a:spLocks noGrp="1"/>
          </p:cNvSpPr>
          <p:nvPr>
            <p:ph type="body" idx="16"/>
          </p:nvPr>
        </p:nvSpPr>
        <p:spPr>
          <a:xfrm>
            <a:off x="3458547" y="900000"/>
            <a:ext cx="2988000"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14" name="Textplatzhalter 2"/>
          <p:cNvSpPr>
            <a:spLocks noGrp="1"/>
          </p:cNvSpPr>
          <p:nvPr>
            <p:ph type="body" idx="17"/>
          </p:nvPr>
        </p:nvSpPr>
        <p:spPr>
          <a:xfrm>
            <a:off x="6501172" y="900000"/>
            <a:ext cx="2988000"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18" name="Titel 1"/>
          <p:cNvSpPr>
            <a:spLocks noGrp="1"/>
          </p:cNvSpPr>
          <p:nvPr>
            <p:ph type="title"/>
          </p:nvPr>
        </p:nvSpPr>
        <p:spPr>
          <a:xfrm>
            <a:off x="415925" y="288000"/>
            <a:ext cx="7741431" cy="260680"/>
          </a:xfrm>
        </p:spPr>
        <p:txBody>
          <a:bodyPr/>
          <a:lstStyle>
            <a:lvl1pPr>
              <a:defRPr baseline="0"/>
            </a:lvl1pPr>
          </a:lstStyle>
          <a:p>
            <a:r>
              <a:rPr lang="en-US" noProof="0" smtClean="0"/>
              <a:t>Click to edit Master title style</a:t>
            </a:r>
            <a:endParaRPr lang="en-US" noProof="0" dirty="0"/>
          </a:p>
        </p:txBody>
      </p:sp>
      <p:sp>
        <p:nvSpPr>
          <p:cNvPr id="19" name="Textplatzhalter 2"/>
          <p:cNvSpPr>
            <a:spLocks noGrp="1"/>
          </p:cNvSpPr>
          <p:nvPr>
            <p:ph type="body" idx="13"/>
          </p:nvPr>
        </p:nvSpPr>
        <p:spPr>
          <a:xfrm>
            <a:off x="415925" y="548680"/>
            <a:ext cx="7741431" cy="288000"/>
          </a:xfrm>
        </p:spPr>
        <p:txBody>
          <a:bodyPr tIns="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11" name="Datumsplatzhalter 4"/>
          <p:cNvSpPr>
            <a:spLocks noGrp="1"/>
          </p:cNvSpPr>
          <p:nvPr>
            <p:ph type="dt" sz="half" idx="18"/>
          </p:nvPr>
        </p:nvSpPr>
        <p:spPr/>
        <p:txBody>
          <a:bodyPr/>
          <a:lstStyle>
            <a:lvl1pPr>
              <a:defRPr/>
            </a:lvl1pPr>
          </a:lstStyle>
          <a:p>
            <a:pPr>
              <a:defRPr/>
            </a:pPr>
            <a:endParaRPr lang="en-US" dirty="0">
              <a:solidFill>
                <a:srgbClr val="6E7A82"/>
              </a:solidFill>
            </a:endParaRPr>
          </a:p>
        </p:txBody>
      </p:sp>
      <p:sp>
        <p:nvSpPr>
          <p:cNvPr id="15" name="Fußzeilenplatzhalter 5"/>
          <p:cNvSpPr>
            <a:spLocks noGrp="1"/>
          </p:cNvSpPr>
          <p:nvPr>
            <p:ph type="ftr" sz="quarter" idx="19"/>
          </p:nvPr>
        </p:nvSpPr>
        <p:spPr/>
        <p:txBody>
          <a:bodyPr/>
          <a:lstStyle>
            <a:lvl1pPr>
              <a:defRPr/>
            </a:lvl1pPr>
          </a:lstStyle>
          <a:p>
            <a:pPr>
              <a:defRPr/>
            </a:pPr>
            <a:endParaRPr lang="en-US" dirty="0">
              <a:solidFill>
                <a:srgbClr val="007FC3"/>
              </a:solidFill>
            </a:endParaRPr>
          </a:p>
        </p:txBody>
      </p:sp>
      <p:sp>
        <p:nvSpPr>
          <p:cNvPr id="16" name="Foliennummernplatzhalter 6"/>
          <p:cNvSpPr>
            <a:spLocks noGrp="1"/>
          </p:cNvSpPr>
          <p:nvPr>
            <p:ph type="sldNum" sz="quarter" idx="20"/>
          </p:nvPr>
        </p:nvSpPr>
        <p:spPr/>
        <p:txBody>
          <a:bodyPr/>
          <a:lstStyle>
            <a:lvl1pPr>
              <a:defRPr/>
            </a:lvl1pPr>
          </a:lstStyle>
          <a:p>
            <a:pPr>
              <a:defRPr/>
            </a:pPr>
            <a:fld id="{6CEC9065-A4EF-44FA-A676-73783A9643D4}" type="slidenum">
              <a:rPr lang="en-US">
                <a:solidFill>
                  <a:srgbClr val="6E7A82"/>
                </a:solidFill>
              </a:rPr>
              <a:pPr>
                <a:defRPr/>
              </a:pPr>
              <a:t>‹#›</a:t>
            </a:fld>
            <a:endParaRPr lang="en-US" dirty="0">
              <a:solidFill>
                <a:srgbClr val="6E7A82"/>
              </a:solidFill>
            </a:endParaRPr>
          </a:p>
        </p:txBody>
      </p:sp>
    </p:spTree>
    <p:extLst>
      <p:ext uri="{BB962C8B-B14F-4D97-AF65-F5344CB8AC3E}">
        <p14:creationId xmlns:p14="http://schemas.microsoft.com/office/powerpoint/2010/main" val="1963738364"/>
      </p:ext>
    </p:extLst>
  </p:cSld>
  <p:clrMapOvr>
    <a:masterClrMapping/>
  </p:clrMapOvr>
  <p:transition>
    <p:zoom/>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3 columns with pictures">
    <p:spTree>
      <p:nvGrpSpPr>
        <p:cNvPr id="1" name=""/>
        <p:cNvGrpSpPr/>
        <p:nvPr/>
      </p:nvGrpSpPr>
      <p:grpSpPr>
        <a:xfrm>
          <a:off x="0" y="0"/>
          <a:ext cx="0" cy="0"/>
          <a:chOff x="0" y="0"/>
          <a:chExt cx="0" cy="0"/>
        </a:xfrm>
      </p:grpSpPr>
      <p:graphicFrame>
        <p:nvGraphicFramePr>
          <p:cNvPr id="13" name="Objek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97"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4" name="Gerade Verbindung 17"/>
          <p:cNvCxnSpPr/>
          <p:nvPr userDrawn="1"/>
        </p:nvCxnSpPr>
        <p:spPr>
          <a:xfrm>
            <a:off x="0" y="1260475"/>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8" name="Gerade Verbindung 32"/>
          <p:cNvCxnSpPr/>
          <p:nvPr userDrawn="1"/>
        </p:nvCxnSpPr>
        <p:spPr>
          <a:xfrm>
            <a:off x="0" y="1260475"/>
            <a:ext cx="2962275"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5" name="Bildplatzhalter 8"/>
          <p:cNvSpPr>
            <a:spLocks noGrp="1"/>
          </p:cNvSpPr>
          <p:nvPr>
            <p:ph type="pic" sz="quarter" idx="18"/>
          </p:nvPr>
        </p:nvSpPr>
        <p:spPr>
          <a:xfrm>
            <a:off x="415924" y="4748975"/>
            <a:ext cx="2988000" cy="1800000"/>
          </a:xfrm>
        </p:spPr>
        <p:txBody>
          <a:bodyPr tIns="180000" bIns="180000" rtlCol="0">
            <a:noAutofit/>
          </a:bodyPr>
          <a:lstStyle>
            <a:lvl1pPr marL="0" indent="0">
              <a:buFontTx/>
              <a:buNone/>
              <a:defRPr sz="1400">
                <a:solidFill>
                  <a:schemeClr val="accent2"/>
                </a:solidFill>
              </a:defRPr>
            </a:lvl1pPr>
          </a:lstStyle>
          <a:p>
            <a:pPr lvl="0"/>
            <a:r>
              <a:rPr lang="en-US" noProof="0" smtClean="0"/>
              <a:t>Click icon to add picture</a:t>
            </a:r>
            <a:endParaRPr lang="en-US" noProof="0" dirty="0"/>
          </a:p>
        </p:txBody>
      </p:sp>
      <p:sp>
        <p:nvSpPr>
          <p:cNvPr id="16" name="Bildplatzhalter 8"/>
          <p:cNvSpPr>
            <a:spLocks noGrp="1"/>
          </p:cNvSpPr>
          <p:nvPr>
            <p:ph type="pic" sz="quarter" idx="19"/>
          </p:nvPr>
        </p:nvSpPr>
        <p:spPr>
          <a:xfrm>
            <a:off x="3458548" y="4748975"/>
            <a:ext cx="2988000" cy="1800000"/>
          </a:xfrm>
        </p:spPr>
        <p:txBody>
          <a:bodyPr tIns="180000" bIns="180000" rtlCol="0">
            <a:noAutofit/>
          </a:bodyPr>
          <a:lstStyle>
            <a:lvl1pPr marL="0" indent="0">
              <a:buFontTx/>
              <a:buNone/>
              <a:defRPr sz="1400">
                <a:solidFill>
                  <a:schemeClr val="accent2"/>
                </a:solidFill>
              </a:defRPr>
            </a:lvl1pPr>
          </a:lstStyle>
          <a:p>
            <a:pPr lvl="0"/>
            <a:r>
              <a:rPr lang="en-US" noProof="0" smtClean="0"/>
              <a:t>Click icon to add picture</a:t>
            </a:r>
            <a:endParaRPr lang="en-US" noProof="0" dirty="0"/>
          </a:p>
        </p:txBody>
      </p:sp>
      <p:sp>
        <p:nvSpPr>
          <p:cNvPr id="17" name="Bildplatzhalter 8"/>
          <p:cNvSpPr>
            <a:spLocks noGrp="1"/>
          </p:cNvSpPr>
          <p:nvPr>
            <p:ph type="pic" sz="quarter" idx="20"/>
          </p:nvPr>
        </p:nvSpPr>
        <p:spPr>
          <a:xfrm>
            <a:off x="6501172" y="4748975"/>
            <a:ext cx="2988000" cy="1800000"/>
          </a:xfrm>
        </p:spPr>
        <p:txBody>
          <a:bodyPr tIns="180000" bIns="180000" rtlCol="0">
            <a:noAutofit/>
          </a:bodyPr>
          <a:lstStyle>
            <a:lvl1pPr marL="0" indent="0">
              <a:buFontTx/>
              <a:buNone/>
              <a:defRPr sz="1400">
                <a:solidFill>
                  <a:schemeClr val="accent2"/>
                </a:solidFill>
              </a:defRPr>
            </a:lvl1pPr>
          </a:lstStyle>
          <a:p>
            <a:pPr lvl="0"/>
            <a:r>
              <a:rPr lang="en-US" noProof="0" smtClean="0"/>
              <a:t>Click icon to add picture</a:t>
            </a:r>
            <a:endParaRPr lang="en-US" noProof="0" dirty="0"/>
          </a:p>
        </p:txBody>
      </p:sp>
      <p:sp>
        <p:nvSpPr>
          <p:cNvPr id="34" name="Inhaltsplatzhalter 2"/>
          <p:cNvSpPr>
            <a:spLocks noGrp="1"/>
          </p:cNvSpPr>
          <p:nvPr>
            <p:ph sz="half" idx="1"/>
          </p:nvPr>
        </p:nvSpPr>
        <p:spPr>
          <a:xfrm>
            <a:off x="415924" y="1304764"/>
            <a:ext cx="2988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35" name="Inhaltsplatzhalter 3"/>
          <p:cNvSpPr>
            <a:spLocks noGrp="1"/>
          </p:cNvSpPr>
          <p:nvPr>
            <p:ph sz="half" idx="2"/>
          </p:nvPr>
        </p:nvSpPr>
        <p:spPr>
          <a:xfrm>
            <a:off x="3458547" y="1304764"/>
            <a:ext cx="2988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36" name="Textplatzhalter 2"/>
          <p:cNvSpPr>
            <a:spLocks noGrp="1"/>
          </p:cNvSpPr>
          <p:nvPr>
            <p:ph type="body" idx="14"/>
          </p:nvPr>
        </p:nvSpPr>
        <p:spPr>
          <a:xfrm>
            <a:off x="415924" y="900000"/>
            <a:ext cx="2988000"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37" name="Inhaltsplatzhalter 3"/>
          <p:cNvSpPr>
            <a:spLocks noGrp="1"/>
          </p:cNvSpPr>
          <p:nvPr>
            <p:ph sz="half" idx="15"/>
          </p:nvPr>
        </p:nvSpPr>
        <p:spPr>
          <a:xfrm>
            <a:off x="6501172" y="1304764"/>
            <a:ext cx="2988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38" name="Textplatzhalter 2"/>
          <p:cNvSpPr>
            <a:spLocks noGrp="1"/>
          </p:cNvSpPr>
          <p:nvPr>
            <p:ph type="body" idx="16"/>
          </p:nvPr>
        </p:nvSpPr>
        <p:spPr>
          <a:xfrm>
            <a:off x="3458547" y="900000"/>
            <a:ext cx="2988000"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39" name="Textplatzhalter 2"/>
          <p:cNvSpPr>
            <a:spLocks noGrp="1"/>
          </p:cNvSpPr>
          <p:nvPr>
            <p:ph type="body" idx="17"/>
          </p:nvPr>
        </p:nvSpPr>
        <p:spPr>
          <a:xfrm>
            <a:off x="6501172" y="900000"/>
            <a:ext cx="2988000" cy="360000"/>
          </a:xfrm>
        </p:spPr>
        <p:txBody>
          <a:bodyPr tIns="0" anchor="ctr"/>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19" name="Titel 1"/>
          <p:cNvSpPr>
            <a:spLocks noGrp="1"/>
          </p:cNvSpPr>
          <p:nvPr>
            <p:ph type="title"/>
          </p:nvPr>
        </p:nvSpPr>
        <p:spPr>
          <a:xfrm>
            <a:off x="415925" y="288000"/>
            <a:ext cx="7741431" cy="260680"/>
          </a:xfrm>
        </p:spPr>
        <p:txBody>
          <a:bodyPr/>
          <a:lstStyle>
            <a:lvl1pPr>
              <a:defRPr baseline="0"/>
            </a:lvl1pPr>
          </a:lstStyle>
          <a:p>
            <a:r>
              <a:rPr lang="en-US" noProof="0" smtClean="0"/>
              <a:t>Click to edit Master title style</a:t>
            </a:r>
            <a:endParaRPr lang="en-US" noProof="0" dirty="0"/>
          </a:p>
        </p:txBody>
      </p:sp>
      <p:sp>
        <p:nvSpPr>
          <p:cNvPr id="20" name="Textplatzhalter 2"/>
          <p:cNvSpPr>
            <a:spLocks noGrp="1"/>
          </p:cNvSpPr>
          <p:nvPr>
            <p:ph type="body" idx="13"/>
          </p:nvPr>
        </p:nvSpPr>
        <p:spPr>
          <a:xfrm>
            <a:off x="415925" y="548680"/>
            <a:ext cx="7741431" cy="288000"/>
          </a:xfrm>
        </p:spPr>
        <p:txBody>
          <a:bodyPr tIns="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21" name="Datumsplatzhalter 4"/>
          <p:cNvSpPr>
            <a:spLocks noGrp="1"/>
          </p:cNvSpPr>
          <p:nvPr>
            <p:ph type="dt" sz="half" idx="21"/>
          </p:nvPr>
        </p:nvSpPr>
        <p:spPr/>
        <p:txBody>
          <a:bodyPr/>
          <a:lstStyle>
            <a:lvl1pPr>
              <a:defRPr/>
            </a:lvl1pPr>
          </a:lstStyle>
          <a:p>
            <a:pPr>
              <a:defRPr/>
            </a:pPr>
            <a:endParaRPr lang="en-US" dirty="0">
              <a:solidFill>
                <a:srgbClr val="6E7A82"/>
              </a:solidFill>
            </a:endParaRPr>
          </a:p>
        </p:txBody>
      </p:sp>
      <p:sp>
        <p:nvSpPr>
          <p:cNvPr id="22" name="Fußzeilenplatzhalter 5"/>
          <p:cNvSpPr>
            <a:spLocks noGrp="1"/>
          </p:cNvSpPr>
          <p:nvPr>
            <p:ph type="ftr" sz="quarter" idx="22"/>
          </p:nvPr>
        </p:nvSpPr>
        <p:spPr/>
        <p:txBody>
          <a:bodyPr/>
          <a:lstStyle>
            <a:lvl1pPr>
              <a:defRPr/>
            </a:lvl1pPr>
          </a:lstStyle>
          <a:p>
            <a:pPr>
              <a:defRPr/>
            </a:pPr>
            <a:endParaRPr lang="en-US" dirty="0">
              <a:solidFill>
                <a:srgbClr val="007FC3"/>
              </a:solidFill>
            </a:endParaRPr>
          </a:p>
        </p:txBody>
      </p:sp>
      <p:sp>
        <p:nvSpPr>
          <p:cNvPr id="23" name="Foliennummernplatzhalter 6"/>
          <p:cNvSpPr>
            <a:spLocks noGrp="1"/>
          </p:cNvSpPr>
          <p:nvPr>
            <p:ph type="sldNum" sz="quarter" idx="23"/>
          </p:nvPr>
        </p:nvSpPr>
        <p:spPr/>
        <p:txBody>
          <a:bodyPr/>
          <a:lstStyle>
            <a:lvl1pPr>
              <a:defRPr/>
            </a:lvl1pPr>
          </a:lstStyle>
          <a:p>
            <a:pPr>
              <a:defRPr/>
            </a:pPr>
            <a:fld id="{D814D7BD-FF5B-4BA6-B9F5-09494DD77EA5}" type="slidenum">
              <a:rPr lang="en-US">
                <a:solidFill>
                  <a:srgbClr val="6E7A82"/>
                </a:solidFill>
              </a:rPr>
              <a:pPr>
                <a:defRPr/>
              </a:pPr>
              <a:t>‹#›</a:t>
            </a:fld>
            <a:endParaRPr lang="en-US" dirty="0">
              <a:solidFill>
                <a:srgbClr val="6E7A82"/>
              </a:solidFill>
            </a:endParaRPr>
          </a:p>
        </p:txBody>
      </p:sp>
    </p:spTree>
    <p:extLst>
      <p:ext uri="{BB962C8B-B14F-4D97-AF65-F5344CB8AC3E}">
        <p14:creationId xmlns:p14="http://schemas.microsoft.com/office/powerpoint/2010/main" val="130264410"/>
      </p:ext>
    </p:extLst>
  </p:cSld>
  <p:clrMapOvr>
    <a:masterClrMapping/>
  </p:clrMapOvr>
  <p:transition>
    <p:zoom/>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pictures 2 contents">
    <p:spTree>
      <p:nvGrpSpPr>
        <p:cNvPr id="1" name=""/>
        <p:cNvGrpSpPr/>
        <p:nvPr/>
      </p:nvGrpSpPr>
      <p:grpSpPr>
        <a:xfrm>
          <a:off x="0" y="0"/>
          <a:ext cx="0" cy="0"/>
          <a:chOff x="0" y="0"/>
          <a:chExt cx="0" cy="0"/>
        </a:xfrm>
      </p:grpSpPr>
      <p:sp>
        <p:nvSpPr>
          <p:cNvPr id="3" name="Inhaltsplatzhalter 2"/>
          <p:cNvSpPr>
            <a:spLocks noGrp="1"/>
          </p:cNvSpPr>
          <p:nvPr>
            <p:ph idx="1"/>
          </p:nvPr>
        </p:nvSpPr>
        <p:spPr>
          <a:xfrm>
            <a:off x="3432000" y="944563"/>
            <a:ext cx="6045000" cy="2825749"/>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9" name="Bildplatzhalter 8"/>
          <p:cNvSpPr>
            <a:spLocks noGrp="1"/>
          </p:cNvSpPr>
          <p:nvPr>
            <p:ph type="pic" sz="quarter" idx="14"/>
          </p:nvPr>
        </p:nvSpPr>
        <p:spPr>
          <a:xfrm>
            <a:off x="415925" y="944563"/>
            <a:ext cx="2772000" cy="2772000"/>
          </a:xfrm>
        </p:spPr>
        <p:txBody>
          <a:bodyPr tIns="180000" bIns="180000" rtlCol="0">
            <a:noAutofit/>
          </a:bodyPr>
          <a:lstStyle>
            <a:lvl1pPr marL="0" indent="0">
              <a:buFontTx/>
              <a:buNone/>
              <a:defRPr sz="1600">
                <a:solidFill>
                  <a:schemeClr val="accent2"/>
                </a:solidFill>
              </a:defRPr>
            </a:lvl1pPr>
          </a:lstStyle>
          <a:p>
            <a:pPr lvl="0"/>
            <a:r>
              <a:rPr lang="en-US" noProof="0" smtClean="0"/>
              <a:t>Click icon to add picture</a:t>
            </a:r>
            <a:endParaRPr lang="en-US" noProof="0" dirty="0"/>
          </a:p>
        </p:txBody>
      </p:sp>
      <p:sp>
        <p:nvSpPr>
          <p:cNvPr id="10" name="Bildplatzhalter 8"/>
          <p:cNvSpPr>
            <a:spLocks noGrp="1"/>
          </p:cNvSpPr>
          <p:nvPr>
            <p:ph type="pic" sz="quarter" idx="15"/>
          </p:nvPr>
        </p:nvSpPr>
        <p:spPr>
          <a:xfrm>
            <a:off x="417009" y="3825650"/>
            <a:ext cx="2772000" cy="2772000"/>
          </a:xfrm>
        </p:spPr>
        <p:txBody>
          <a:bodyPr tIns="180000" bIns="180000" rtlCol="0">
            <a:noAutofit/>
          </a:bodyPr>
          <a:lstStyle>
            <a:lvl1pPr marL="0" indent="0">
              <a:buFontTx/>
              <a:buNone/>
              <a:defRPr sz="1600">
                <a:solidFill>
                  <a:schemeClr val="accent2"/>
                </a:solidFill>
              </a:defRPr>
            </a:lvl1pPr>
          </a:lstStyle>
          <a:p>
            <a:pPr lvl="0"/>
            <a:r>
              <a:rPr lang="en-US" noProof="0" smtClean="0"/>
              <a:t>Click icon to add picture</a:t>
            </a:r>
            <a:endParaRPr lang="en-US" noProof="0" dirty="0"/>
          </a:p>
        </p:txBody>
      </p:sp>
      <p:sp>
        <p:nvSpPr>
          <p:cNvPr id="11" name="Inhaltsplatzhalter 2"/>
          <p:cNvSpPr>
            <a:spLocks noGrp="1"/>
          </p:cNvSpPr>
          <p:nvPr>
            <p:ph idx="16"/>
          </p:nvPr>
        </p:nvSpPr>
        <p:spPr>
          <a:xfrm>
            <a:off x="3432000" y="3770313"/>
            <a:ext cx="6045000" cy="2827337"/>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2" name="Titel 1"/>
          <p:cNvSpPr>
            <a:spLocks noGrp="1"/>
          </p:cNvSpPr>
          <p:nvPr>
            <p:ph type="title"/>
          </p:nvPr>
        </p:nvSpPr>
        <p:spPr>
          <a:xfrm>
            <a:off x="415925" y="288000"/>
            <a:ext cx="7741431" cy="260680"/>
          </a:xfrm>
        </p:spPr>
        <p:txBody>
          <a:bodyPr/>
          <a:lstStyle>
            <a:lvl1pPr>
              <a:defRPr baseline="0"/>
            </a:lvl1pPr>
          </a:lstStyle>
          <a:p>
            <a:r>
              <a:rPr lang="en-US" noProof="0" smtClean="0"/>
              <a:t>Click to edit Master title style</a:t>
            </a:r>
            <a:endParaRPr lang="en-US" noProof="0" dirty="0"/>
          </a:p>
        </p:txBody>
      </p:sp>
      <p:sp>
        <p:nvSpPr>
          <p:cNvPr id="13" name="Textplatzhalter 2"/>
          <p:cNvSpPr>
            <a:spLocks noGrp="1"/>
          </p:cNvSpPr>
          <p:nvPr>
            <p:ph type="body" idx="13"/>
          </p:nvPr>
        </p:nvSpPr>
        <p:spPr>
          <a:xfrm>
            <a:off x="415925" y="548680"/>
            <a:ext cx="7741431" cy="288000"/>
          </a:xfrm>
        </p:spPr>
        <p:txBody>
          <a:bodyPr tIns="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8" name="Datumsplatzhalter 3"/>
          <p:cNvSpPr>
            <a:spLocks noGrp="1"/>
          </p:cNvSpPr>
          <p:nvPr>
            <p:ph type="dt" sz="half" idx="17"/>
          </p:nvPr>
        </p:nvSpPr>
        <p:spPr/>
        <p:txBody>
          <a:bodyPr/>
          <a:lstStyle>
            <a:lvl1pPr>
              <a:defRPr/>
            </a:lvl1pPr>
          </a:lstStyle>
          <a:p>
            <a:pPr>
              <a:defRPr/>
            </a:pPr>
            <a:endParaRPr lang="en-US" dirty="0">
              <a:solidFill>
                <a:srgbClr val="6E7A82"/>
              </a:solidFill>
            </a:endParaRPr>
          </a:p>
        </p:txBody>
      </p:sp>
      <p:sp>
        <p:nvSpPr>
          <p:cNvPr id="14" name="Fußzeilenplatzhalter 4"/>
          <p:cNvSpPr>
            <a:spLocks noGrp="1"/>
          </p:cNvSpPr>
          <p:nvPr>
            <p:ph type="ftr" sz="quarter" idx="18"/>
          </p:nvPr>
        </p:nvSpPr>
        <p:spPr/>
        <p:txBody>
          <a:bodyPr/>
          <a:lstStyle>
            <a:lvl1pPr>
              <a:defRPr/>
            </a:lvl1pPr>
          </a:lstStyle>
          <a:p>
            <a:pPr>
              <a:defRPr/>
            </a:pPr>
            <a:endParaRPr lang="en-US" dirty="0">
              <a:solidFill>
                <a:srgbClr val="007FC3"/>
              </a:solidFill>
            </a:endParaRPr>
          </a:p>
        </p:txBody>
      </p:sp>
      <p:sp>
        <p:nvSpPr>
          <p:cNvPr id="15" name="Foliennummernplatzhalter 5"/>
          <p:cNvSpPr>
            <a:spLocks noGrp="1"/>
          </p:cNvSpPr>
          <p:nvPr>
            <p:ph type="sldNum" sz="quarter" idx="19"/>
          </p:nvPr>
        </p:nvSpPr>
        <p:spPr/>
        <p:txBody>
          <a:bodyPr/>
          <a:lstStyle>
            <a:lvl1pPr>
              <a:defRPr/>
            </a:lvl1pPr>
          </a:lstStyle>
          <a:p>
            <a:pPr>
              <a:defRPr/>
            </a:pPr>
            <a:fld id="{EFEA80F4-37F9-40CE-9834-2DDC69FC6BB5}" type="slidenum">
              <a:rPr lang="en-US">
                <a:solidFill>
                  <a:srgbClr val="6E7A82"/>
                </a:solidFill>
              </a:rPr>
              <a:pPr>
                <a:defRPr/>
              </a:pPr>
              <a:t>‹#›</a:t>
            </a:fld>
            <a:endParaRPr lang="en-US" dirty="0">
              <a:solidFill>
                <a:srgbClr val="6E7A82"/>
              </a:solidFill>
            </a:endParaRPr>
          </a:p>
        </p:txBody>
      </p:sp>
    </p:spTree>
    <p:extLst>
      <p:ext uri="{BB962C8B-B14F-4D97-AF65-F5344CB8AC3E}">
        <p14:creationId xmlns:p14="http://schemas.microsoft.com/office/powerpoint/2010/main" val="2519165480"/>
      </p:ext>
    </p:extLst>
  </p:cSld>
  <p:clrMapOvr>
    <a:masterClrMapping/>
  </p:clrMapOvr>
  <p:transition>
    <p:zo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 title">
    <p:spTree>
      <p:nvGrpSpPr>
        <p:cNvPr id="1" name=""/>
        <p:cNvGrpSpPr/>
        <p:nvPr/>
      </p:nvGrpSpPr>
      <p:grpSpPr>
        <a:xfrm>
          <a:off x="0" y="0"/>
          <a:ext cx="0" cy="0"/>
          <a:chOff x="0" y="0"/>
          <a:chExt cx="0" cy="0"/>
        </a:xfrm>
      </p:grpSpPr>
      <p:sp>
        <p:nvSpPr>
          <p:cNvPr id="6"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5" name="Fußzeilenplatzhalter"/>
          <p:cNvSpPr>
            <a:spLocks noGrp="1"/>
          </p:cNvSpPr>
          <p:nvPr>
            <p:ph type="ftr" sz="quarter" idx="11"/>
          </p:nvPr>
        </p:nvSpPr>
        <p:spPr/>
        <p:txBody>
          <a:bodyPr/>
          <a:lstStyle/>
          <a:p>
            <a:endParaRPr lang="en-US" noProof="0" dirty="0"/>
          </a:p>
        </p:txBody>
      </p:sp>
      <p:sp>
        <p:nvSpPr>
          <p:cNvPr id="4" name="Datumsplatzhalter"/>
          <p:cNvSpPr>
            <a:spLocks noGrp="1"/>
          </p:cNvSpPr>
          <p:nvPr>
            <p:ph type="dt" sz="half" idx="10"/>
          </p:nvPr>
        </p:nvSpPr>
        <p:spPr/>
        <p:txBody>
          <a:bodyPr/>
          <a:lstStyle/>
          <a:p>
            <a:endParaRPr lang="en-US" noProof="0" dirty="0"/>
          </a:p>
        </p:txBody>
      </p:sp>
      <p:sp>
        <p:nvSpPr>
          <p:cNvPr id="3" name="Inhaltsplatzhalter"/>
          <p:cNvSpPr>
            <a:spLocks noGrp="1"/>
          </p:cNvSpPr>
          <p:nvPr>
            <p:ph idx="1"/>
          </p:nvPr>
        </p:nvSpPr>
        <p:spPr>
          <a:xfrm>
            <a:off x="525600" y="944563"/>
            <a:ext cx="8856525" cy="5653087"/>
          </a:xfrm>
        </p:spPr>
        <p:txBody>
          <a:bodyPr vert="horz" lIns="0" tIns="144000" rIns="0" bIns="72000" rtlCol="0">
            <a:noAutofit/>
          </a:bodyPr>
          <a:lstStyle>
            <a:lvl1pPr>
              <a:defRPr lang="de-DE" dirty="0" smtClean="0"/>
            </a:lvl1pPr>
            <a:lvl2pPr>
              <a:defRPr lang="de-DE" dirty="0" smtClean="0"/>
            </a:lvl2pPr>
            <a:lvl3pPr>
              <a:defRPr lang="de-DE" dirty="0" smtClean="0"/>
            </a:lvl3pPr>
            <a:lvl4pPr>
              <a:defRPr lang="de-DE" dirty="0" smtClean="0"/>
            </a:lvl4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p:txBody>
      </p:sp>
      <p:sp>
        <p:nvSpPr>
          <p:cNvPr id="7" name="Subheadline"/>
          <p:cNvSpPr>
            <a:spLocks noGrp="1"/>
          </p:cNvSpPr>
          <p:nvPr>
            <p:ph type="body" idx="13" hasCustomPrompt="1"/>
          </p:nvPr>
        </p:nvSpPr>
        <p:spPr>
          <a:xfrm>
            <a:off x="525601" y="548680"/>
            <a:ext cx="7307124"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
        <p:nvSpPr>
          <p:cNvPr id="2" name="Titel"/>
          <p:cNvSpPr>
            <a:spLocks noGrp="1"/>
          </p:cNvSpPr>
          <p:nvPr>
            <p:ph type="title" hasCustomPrompt="1"/>
          </p:nvPr>
        </p:nvSpPr>
        <p:spPr>
          <a:xfrm>
            <a:off x="525601" y="288000"/>
            <a:ext cx="7307124" cy="260680"/>
          </a:xfrm>
        </p:spPr>
        <p:txBody>
          <a:bodyPr/>
          <a:lstStyle>
            <a:lvl1pPr>
              <a:defRPr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4117496805"/>
      </p:ext>
    </p:extLst>
  </p:cSld>
  <p:clrMapOvr>
    <a:masterClrMapping/>
  </p:clrMapOvr>
  <p:transition>
    <p:zoom/>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ntents matrix">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11663" y="944563"/>
            <a:ext cx="4426875"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Inhaltsplatzhalter 3"/>
          <p:cNvSpPr>
            <a:spLocks noGrp="1"/>
          </p:cNvSpPr>
          <p:nvPr>
            <p:ph sz="half" idx="2"/>
          </p:nvPr>
        </p:nvSpPr>
        <p:spPr>
          <a:xfrm>
            <a:off x="411663" y="3770312"/>
            <a:ext cx="4426875"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2" name="Inhaltsplatzhalter 3"/>
          <p:cNvSpPr>
            <a:spLocks noGrp="1"/>
          </p:cNvSpPr>
          <p:nvPr>
            <p:ph sz="half" idx="15"/>
          </p:nvPr>
        </p:nvSpPr>
        <p:spPr>
          <a:xfrm>
            <a:off x="5061504" y="944563"/>
            <a:ext cx="4428000"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5" name="Inhaltsplatzhalter 3"/>
          <p:cNvSpPr>
            <a:spLocks noGrp="1"/>
          </p:cNvSpPr>
          <p:nvPr>
            <p:ph sz="half" idx="18"/>
          </p:nvPr>
        </p:nvSpPr>
        <p:spPr>
          <a:xfrm>
            <a:off x="5061504" y="3770312"/>
            <a:ext cx="4428000"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1" name="Titel 1"/>
          <p:cNvSpPr>
            <a:spLocks noGrp="1"/>
          </p:cNvSpPr>
          <p:nvPr>
            <p:ph type="title"/>
          </p:nvPr>
        </p:nvSpPr>
        <p:spPr>
          <a:xfrm>
            <a:off x="415925" y="288000"/>
            <a:ext cx="7741431" cy="260680"/>
          </a:xfrm>
        </p:spPr>
        <p:txBody>
          <a:bodyPr/>
          <a:lstStyle>
            <a:lvl1pPr>
              <a:defRPr baseline="0"/>
            </a:lvl1pPr>
          </a:lstStyle>
          <a:p>
            <a:r>
              <a:rPr lang="en-US" noProof="0" smtClean="0"/>
              <a:t>Click to edit Master title style</a:t>
            </a:r>
            <a:endParaRPr lang="en-US" noProof="0" dirty="0"/>
          </a:p>
        </p:txBody>
      </p:sp>
      <p:sp>
        <p:nvSpPr>
          <p:cNvPr id="13" name="Textplatzhalter 2"/>
          <p:cNvSpPr>
            <a:spLocks noGrp="1"/>
          </p:cNvSpPr>
          <p:nvPr>
            <p:ph type="body" idx="13"/>
          </p:nvPr>
        </p:nvSpPr>
        <p:spPr>
          <a:xfrm>
            <a:off x="415925" y="548680"/>
            <a:ext cx="7741431" cy="288000"/>
          </a:xfrm>
        </p:spPr>
        <p:txBody>
          <a:bodyPr tIns="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8" name="Datumsplatzhalter 3"/>
          <p:cNvSpPr>
            <a:spLocks noGrp="1"/>
          </p:cNvSpPr>
          <p:nvPr>
            <p:ph type="dt" sz="half" idx="19"/>
          </p:nvPr>
        </p:nvSpPr>
        <p:spPr/>
        <p:txBody>
          <a:bodyPr/>
          <a:lstStyle>
            <a:lvl1pPr>
              <a:defRPr/>
            </a:lvl1pPr>
          </a:lstStyle>
          <a:p>
            <a:pPr>
              <a:defRPr/>
            </a:pPr>
            <a:endParaRPr lang="en-US" dirty="0">
              <a:solidFill>
                <a:srgbClr val="6E7A82"/>
              </a:solidFill>
            </a:endParaRPr>
          </a:p>
        </p:txBody>
      </p:sp>
      <p:sp>
        <p:nvSpPr>
          <p:cNvPr id="9" name="Fußzeilenplatzhalter 4"/>
          <p:cNvSpPr>
            <a:spLocks noGrp="1"/>
          </p:cNvSpPr>
          <p:nvPr>
            <p:ph type="ftr" sz="quarter" idx="20"/>
          </p:nvPr>
        </p:nvSpPr>
        <p:spPr/>
        <p:txBody>
          <a:bodyPr/>
          <a:lstStyle>
            <a:lvl1pPr>
              <a:defRPr/>
            </a:lvl1pPr>
          </a:lstStyle>
          <a:p>
            <a:pPr>
              <a:defRPr/>
            </a:pPr>
            <a:endParaRPr lang="en-US" dirty="0">
              <a:solidFill>
                <a:srgbClr val="007FC3"/>
              </a:solidFill>
            </a:endParaRPr>
          </a:p>
        </p:txBody>
      </p:sp>
      <p:sp>
        <p:nvSpPr>
          <p:cNvPr id="10" name="Foliennummernplatzhalter 5"/>
          <p:cNvSpPr>
            <a:spLocks noGrp="1"/>
          </p:cNvSpPr>
          <p:nvPr>
            <p:ph type="sldNum" sz="quarter" idx="21"/>
          </p:nvPr>
        </p:nvSpPr>
        <p:spPr/>
        <p:txBody>
          <a:bodyPr/>
          <a:lstStyle>
            <a:lvl1pPr>
              <a:defRPr/>
            </a:lvl1pPr>
          </a:lstStyle>
          <a:p>
            <a:pPr>
              <a:defRPr/>
            </a:pPr>
            <a:fld id="{48528AD9-110C-4B0C-8FCE-123E146BF607}" type="slidenum">
              <a:rPr lang="en-US">
                <a:solidFill>
                  <a:srgbClr val="6E7A82"/>
                </a:solidFill>
              </a:rPr>
              <a:pPr>
                <a:defRPr/>
              </a:pPr>
              <a:t>‹#›</a:t>
            </a:fld>
            <a:endParaRPr lang="en-US" dirty="0">
              <a:solidFill>
                <a:srgbClr val="6E7A82"/>
              </a:solidFill>
            </a:endParaRPr>
          </a:p>
        </p:txBody>
      </p:sp>
    </p:spTree>
    <p:extLst>
      <p:ext uri="{BB962C8B-B14F-4D97-AF65-F5344CB8AC3E}">
        <p14:creationId xmlns:p14="http://schemas.microsoft.com/office/powerpoint/2010/main" val="3449592071"/>
      </p:ext>
    </p:extLst>
  </p:cSld>
  <p:clrMapOvr>
    <a:masterClrMapping/>
  </p:clrMapOvr>
  <p:transition>
    <p:zoom/>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ly title + subheadline">
    <p:spTree>
      <p:nvGrpSpPr>
        <p:cNvPr id="1" name=""/>
        <p:cNvGrpSpPr/>
        <p:nvPr/>
      </p:nvGrpSpPr>
      <p:grpSpPr>
        <a:xfrm>
          <a:off x="0" y="0"/>
          <a:ext cx="0" cy="0"/>
          <a:chOff x="0" y="0"/>
          <a:chExt cx="0" cy="0"/>
        </a:xfrm>
      </p:grpSpPr>
      <p:sp>
        <p:nvSpPr>
          <p:cNvPr id="7" name="Titel 1"/>
          <p:cNvSpPr>
            <a:spLocks noGrp="1"/>
          </p:cNvSpPr>
          <p:nvPr>
            <p:ph type="title"/>
          </p:nvPr>
        </p:nvSpPr>
        <p:spPr>
          <a:xfrm>
            <a:off x="415925" y="288000"/>
            <a:ext cx="7741431" cy="260680"/>
          </a:xfrm>
        </p:spPr>
        <p:txBody>
          <a:bodyPr/>
          <a:lstStyle>
            <a:lvl1pPr>
              <a:defRPr baseline="0"/>
            </a:lvl1pPr>
          </a:lstStyle>
          <a:p>
            <a:r>
              <a:rPr lang="en-US" noProof="0" smtClean="0"/>
              <a:t>Click to edit Master title style</a:t>
            </a:r>
            <a:endParaRPr lang="en-US" noProof="0" dirty="0"/>
          </a:p>
        </p:txBody>
      </p:sp>
      <p:sp>
        <p:nvSpPr>
          <p:cNvPr id="8" name="Textplatzhalter 2"/>
          <p:cNvSpPr>
            <a:spLocks noGrp="1"/>
          </p:cNvSpPr>
          <p:nvPr>
            <p:ph type="body" idx="13"/>
          </p:nvPr>
        </p:nvSpPr>
        <p:spPr>
          <a:xfrm>
            <a:off x="415925" y="548680"/>
            <a:ext cx="7741431" cy="288000"/>
          </a:xfrm>
        </p:spPr>
        <p:txBody>
          <a:bodyPr tIns="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4" name="Datumsplatzhalter 3"/>
          <p:cNvSpPr>
            <a:spLocks noGrp="1"/>
          </p:cNvSpPr>
          <p:nvPr>
            <p:ph type="dt" sz="half" idx="14"/>
          </p:nvPr>
        </p:nvSpPr>
        <p:spPr/>
        <p:txBody>
          <a:bodyPr/>
          <a:lstStyle>
            <a:lvl1pPr>
              <a:defRPr/>
            </a:lvl1pPr>
          </a:lstStyle>
          <a:p>
            <a:pPr>
              <a:defRPr/>
            </a:pPr>
            <a:endParaRPr lang="en-US" dirty="0">
              <a:solidFill>
                <a:srgbClr val="6E7A82"/>
              </a:solidFill>
            </a:endParaRPr>
          </a:p>
        </p:txBody>
      </p:sp>
      <p:sp>
        <p:nvSpPr>
          <p:cNvPr id="5" name="Fußzeilenplatzhalter 4"/>
          <p:cNvSpPr>
            <a:spLocks noGrp="1"/>
          </p:cNvSpPr>
          <p:nvPr>
            <p:ph type="ftr" sz="quarter" idx="15"/>
          </p:nvPr>
        </p:nvSpPr>
        <p:spPr/>
        <p:txBody>
          <a:bodyPr/>
          <a:lstStyle>
            <a:lvl1pPr>
              <a:defRPr/>
            </a:lvl1pPr>
          </a:lstStyle>
          <a:p>
            <a:pPr>
              <a:defRPr/>
            </a:pPr>
            <a:endParaRPr lang="en-US" dirty="0">
              <a:solidFill>
                <a:srgbClr val="007FC3"/>
              </a:solidFill>
            </a:endParaRPr>
          </a:p>
        </p:txBody>
      </p:sp>
      <p:sp>
        <p:nvSpPr>
          <p:cNvPr id="6" name="Foliennummernplatzhalter 5"/>
          <p:cNvSpPr>
            <a:spLocks noGrp="1"/>
          </p:cNvSpPr>
          <p:nvPr>
            <p:ph type="sldNum" sz="quarter" idx="16"/>
          </p:nvPr>
        </p:nvSpPr>
        <p:spPr/>
        <p:txBody>
          <a:bodyPr/>
          <a:lstStyle>
            <a:lvl1pPr>
              <a:defRPr/>
            </a:lvl1pPr>
          </a:lstStyle>
          <a:p>
            <a:pPr>
              <a:defRPr/>
            </a:pPr>
            <a:fld id="{4F5F0457-558F-4597-9FE9-1D3C229E138A}" type="slidenum">
              <a:rPr lang="en-US">
                <a:solidFill>
                  <a:srgbClr val="6E7A82"/>
                </a:solidFill>
              </a:rPr>
              <a:pPr>
                <a:defRPr/>
              </a:pPr>
              <a:t>‹#›</a:t>
            </a:fld>
            <a:endParaRPr lang="en-US" dirty="0">
              <a:solidFill>
                <a:srgbClr val="6E7A82"/>
              </a:solidFill>
            </a:endParaRPr>
          </a:p>
        </p:txBody>
      </p:sp>
    </p:spTree>
    <p:extLst>
      <p:ext uri="{BB962C8B-B14F-4D97-AF65-F5344CB8AC3E}">
        <p14:creationId xmlns:p14="http://schemas.microsoft.com/office/powerpoint/2010/main" val="1740170307"/>
      </p:ext>
    </p:extLst>
  </p:cSld>
  <p:clrMapOvr>
    <a:masterClrMapping/>
  </p:clrMapOvr>
  <p:transition>
    <p:zoom/>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5" name="Objek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21"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8"/>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7" name="Rechteck 10"/>
          <p:cNvSpPr/>
          <p:nvPr userDrawn="1"/>
        </p:nvSpPr>
        <p:spPr>
          <a:xfrm>
            <a:off x="0" y="4319588"/>
            <a:ext cx="9906000" cy="73025"/>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pic>
        <p:nvPicPr>
          <p:cNvPr id="8" name="Grafik 14"/>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7888288" y="4679950"/>
            <a:ext cx="1587500"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Bildplatzhalter 8"/>
          <p:cNvSpPr>
            <a:spLocks noGrp="1"/>
          </p:cNvSpPr>
          <p:nvPr>
            <p:ph type="pic" sz="quarter" idx="14"/>
          </p:nvPr>
        </p:nvSpPr>
        <p:spPr>
          <a:xfrm>
            <a:off x="0" y="0"/>
            <a:ext cx="9906000" cy="4284406"/>
          </a:xfrm>
        </p:spPr>
        <p:txBody>
          <a:bodyPr lIns="396000" tIns="180000" rIns="396000" bIns="180000" rtlCol="0">
            <a:noAutofit/>
          </a:bodyPr>
          <a:lstStyle>
            <a:lvl1pPr marL="0" indent="0">
              <a:buFontTx/>
              <a:buNone/>
              <a:defRPr sz="1600">
                <a:solidFill>
                  <a:schemeClr val="accent2"/>
                </a:solidFill>
              </a:defRPr>
            </a:lvl1pPr>
          </a:lstStyle>
          <a:p>
            <a:pPr lvl="0"/>
            <a:r>
              <a:rPr lang="en-US" noProof="0" smtClean="0"/>
              <a:t>Click icon to add picture</a:t>
            </a:r>
            <a:endParaRPr lang="en-US" noProof="0" dirty="0"/>
          </a:p>
        </p:txBody>
      </p:sp>
      <p:sp>
        <p:nvSpPr>
          <p:cNvPr id="2" name="Titel 1"/>
          <p:cNvSpPr>
            <a:spLocks noGrp="1"/>
          </p:cNvSpPr>
          <p:nvPr>
            <p:ph type="title"/>
          </p:nvPr>
        </p:nvSpPr>
        <p:spPr>
          <a:xfrm>
            <a:off x="416496" y="4680000"/>
            <a:ext cx="7020000" cy="1800000"/>
          </a:xfrm>
        </p:spPr>
        <p:txBody>
          <a:bodyPr/>
          <a:lstStyle>
            <a:lvl1pPr algn="l">
              <a:defRPr sz="3200" b="0" cap="all" baseline="0">
                <a:sym typeface="Wingdings" panose="05000000000000000000" pitchFamily="2" charset="2"/>
              </a:defRPr>
            </a:lvl1pPr>
          </a:lstStyle>
          <a:p>
            <a:r>
              <a:rPr lang="en-US" noProof="0" smtClean="0"/>
              <a:t>Click to edit Master title style</a:t>
            </a:r>
            <a:endParaRPr lang="en-US" noProof="0" dirty="0"/>
          </a:p>
        </p:txBody>
      </p:sp>
      <p:sp>
        <p:nvSpPr>
          <p:cNvPr id="3" name="Textplatzhalter 2"/>
          <p:cNvSpPr>
            <a:spLocks noGrp="1"/>
          </p:cNvSpPr>
          <p:nvPr>
            <p:ph type="body" idx="1"/>
          </p:nvPr>
        </p:nvSpPr>
        <p:spPr>
          <a:xfrm>
            <a:off x="7761000" y="3019334"/>
            <a:ext cx="2145000" cy="1260000"/>
          </a:xfrm>
          <a:solidFill>
            <a:schemeClr val="bg1">
              <a:alpha val="85000"/>
            </a:schemeClr>
          </a:solidFill>
        </p:spPr>
        <p:txBody>
          <a:bodyPr lIns="180000" tIns="72000" rIns="396000" bIns="72000" anchor="ctr"/>
          <a:lstStyle>
            <a:lvl1pPr marL="0" indent="0">
              <a:buNone/>
              <a:defRPr sz="6000" b="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508031240"/>
      </p:ext>
    </p:extLst>
  </p:cSld>
  <p:clrMapOvr>
    <a:masterClrMapping/>
  </p:clrMapOvr>
  <p:transition>
    <p:zoom/>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full faced with title banderole">
    <p:spTree>
      <p:nvGrpSpPr>
        <p:cNvPr id="1" name=""/>
        <p:cNvGrpSpPr/>
        <p:nvPr/>
      </p:nvGrpSpPr>
      <p:grpSpPr>
        <a:xfrm>
          <a:off x="0" y="0"/>
          <a:ext cx="0" cy="0"/>
          <a:chOff x="0" y="0"/>
          <a:chExt cx="0" cy="0"/>
        </a:xfrm>
      </p:grpSpPr>
      <p:graphicFrame>
        <p:nvGraphicFramePr>
          <p:cNvPr id="5" name="Objek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5"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Bildplatzhalter 2"/>
          <p:cNvSpPr>
            <a:spLocks noGrp="1"/>
          </p:cNvSpPr>
          <p:nvPr>
            <p:ph type="pic" idx="1"/>
          </p:nvPr>
        </p:nvSpPr>
        <p:spPr>
          <a:xfrm>
            <a:off x="0" y="944563"/>
            <a:ext cx="9906000" cy="5653087"/>
          </a:xfrm>
        </p:spPr>
        <p:txBody>
          <a:bodyPr lIns="396000" tIns="180000" rIns="396000" bIns="180000" rtlCol="0">
            <a:noAutofit/>
          </a:bodyPr>
          <a:lstStyle>
            <a:lvl1pPr marL="0" indent="0">
              <a:buNone/>
              <a:defRPr sz="1600">
                <a:solidFill>
                  <a:schemeClr val="accent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a:p>
        </p:txBody>
      </p:sp>
      <p:sp>
        <p:nvSpPr>
          <p:cNvPr id="2" name="Titel 1"/>
          <p:cNvSpPr>
            <a:spLocks noGrp="1"/>
          </p:cNvSpPr>
          <p:nvPr>
            <p:ph type="title"/>
          </p:nvPr>
        </p:nvSpPr>
        <p:spPr>
          <a:xfrm>
            <a:off x="-1" y="4500000"/>
            <a:ext cx="9906000" cy="720000"/>
          </a:xfrm>
          <a:solidFill>
            <a:srgbClr val="FFFFFF">
              <a:alpha val="90000"/>
            </a:srgbClr>
          </a:solidFill>
        </p:spPr>
        <p:txBody>
          <a:bodyPr lIns="396000" tIns="36000" rIns="396000" bIns="36000" anchor="b"/>
          <a:lstStyle>
            <a:lvl1pPr algn="l">
              <a:defRPr sz="2400" b="0" baseline="0"/>
            </a:lvl1pPr>
          </a:lstStyle>
          <a:p>
            <a:r>
              <a:rPr lang="en-US" noProof="0" smtClean="0"/>
              <a:t>Click to edit Master title style</a:t>
            </a:r>
            <a:endParaRPr lang="en-US" noProof="0" dirty="0"/>
          </a:p>
        </p:txBody>
      </p:sp>
      <p:sp>
        <p:nvSpPr>
          <p:cNvPr id="4" name="Textplatzhalter 3"/>
          <p:cNvSpPr>
            <a:spLocks noGrp="1"/>
          </p:cNvSpPr>
          <p:nvPr>
            <p:ph type="body" sz="half" idx="2"/>
          </p:nvPr>
        </p:nvSpPr>
        <p:spPr>
          <a:xfrm>
            <a:off x="0" y="5220000"/>
            <a:ext cx="9906000" cy="540000"/>
          </a:xfrm>
          <a:solidFill>
            <a:srgbClr val="FFFFFF">
              <a:alpha val="75000"/>
            </a:srgbClr>
          </a:solidFill>
        </p:spPr>
        <p:txBody>
          <a:bodyPr lIns="396000" tIns="36000" rIns="396000" bIns="36000"/>
          <a:lstStyle>
            <a:lvl1pPr marL="0" indent="0">
              <a:buNone/>
              <a:defRPr sz="2000" cap="all"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smtClean="0"/>
              <a:t>Click to edit Master text styles</a:t>
            </a:r>
          </a:p>
        </p:txBody>
      </p:sp>
      <p:sp>
        <p:nvSpPr>
          <p:cNvPr id="6" name="Datumsplatzhalter 4"/>
          <p:cNvSpPr>
            <a:spLocks noGrp="1"/>
          </p:cNvSpPr>
          <p:nvPr>
            <p:ph type="dt" sz="half" idx="10"/>
          </p:nvPr>
        </p:nvSpPr>
        <p:spPr/>
        <p:txBody>
          <a:bodyPr/>
          <a:lstStyle>
            <a:lvl1pPr>
              <a:defRPr/>
            </a:lvl1pPr>
          </a:lstStyle>
          <a:p>
            <a:pPr>
              <a:defRPr/>
            </a:pPr>
            <a:endParaRPr lang="en-US" dirty="0">
              <a:solidFill>
                <a:srgbClr val="6E7A82"/>
              </a:solidFill>
            </a:endParaRPr>
          </a:p>
        </p:txBody>
      </p:sp>
      <p:sp>
        <p:nvSpPr>
          <p:cNvPr id="7" name="Fußzeilenplatzhalter 5"/>
          <p:cNvSpPr>
            <a:spLocks noGrp="1"/>
          </p:cNvSpPr>
          <p:nvPr>
            <p:ph type="ftr" sz="quarter" idx="11"/>
          </p:nvPr>
        </p:nvSpPr>
        <p:spPr/>
        <p:txBody>
          <a:bodyPr/>
          <a:lstStyle>
            <a:lvl1pPr>
              <a:defRPr/>
            </a:lvl1pPr>
          </a:lstStyle>
          <a:p>
            <a:pPr>
              <a:defRPr/>
            </a:pPr>
            <a:endParaRPr lang="en-US" dirty="0">
              <a:solidFill>
                <a:srgbClr val="007FC3"/>
              </a:solidFill>
            </a:endParaRPr>
          </a:p>
        </p:txBody>
      </p:sp>
      <p:sp>
        <p:nvSpPr>
          <p:cNvPr id="8" name="Foliennummernplatzhalter 6"/>
          <p:cNvSpPr>
            <a:spLocks noGrp="1"/>
          </p:cNvSpPr>
          <p:nvPr>
            <p:ph type="sldNum" sz="quarter" idx="12"/>
          </p:nvPr>
        </p:nvSpPr>
        <p:spPr/>
        <p:txBody>
          <a:bodyPr/>
          <a:lstStyle>
            <a:lvl1pPr>
              <a:defRPr/>
            </a:lvl1pPr>
          </a:lstStyle>
          <a:p>
            <a:pPr>
              <a:defRPr/>
            </a:pPr>
            <a:fld id="{F49807B1-353F-4C4C-9E8D-1A5B68AAE543}" type="slidenum">
              <a:rPr lang="en-US">
                <a:solidFill>
                  <a:srgbClr val="6E7A82"/>
                </a:solidFill>
              </a:rPr>
              <a:pPr>
                <a:defRPr/>
              </a:pPr>
              <a:t>‹#›</a:t>
            </a:fld>
            <a:endParaRPr lang="en-US" dirty="0">
              <a:solidFill>
                <a:srgbClr val="6E7A82"/>
              </a:solidFill>
            </a:endParaRPr>
          </a:p>
        </p:txBody>
      </p:sp>
    </p:spTree>
    <p:extLst>
      <p:ext uri="{BB962C8B-B14F-4D97-AF65-F5344CB8AC3E}">
        <p14:creationId xmlns:p14="http://schemas.microsoft.com/office/powerpoint/2010/main" val="304903001"/>
      </p:ext>
    </p:extLst>
  </p:cSld>
  <p:clrMapOvr>
    <a:masterClrMapping/>
  </p:clrMapOvr>
  <p:transition>
    <p:zoom/>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Closing slide">
    <p:spTree>
      <p:nvGrpSpPr>
        <p:cNvPr id="1" name=""/>
        <p:cNvGrpSpPr/>
        <p:nvPr/>
      </p:nvGrpSpPr>
      <p:grpSpPr>
        <a:xfrm>
          <a:off x="0" y="0"/>
          <a:ext cx="0" cy="0"/>
          <a:chOff x="0" y="0"/>
          <a:chExt cx="0" cy="0"/>
        </a:xfrm>
      </p:grpSpPr>
      <p:graphicFrame>
        <p:nvGraphicFramePr>
          <p:cNvPr id="4" name="Objek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69"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8"/>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6" name="Rechteck 11"/>
          <p:cNvSpPr/>
          <p:nvPr userDrawn="1"/>
        </p:nvSpPr>
        <p:spPr>
          <a:xfrm>
            <a:off x="0" y="4319588"/>
            <a:ext cx="9906000" cy="73025"/>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pic>
        <p:nvPicPr>
          <p:cNvPr id="7" name="Grafik 7"/>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7888288" y="4679950"/>
            <a:ext cx="1587500"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407095" y="2924944"/>
            <a:ext cx="7020000" cy="1035056"/>
          </a:xfrm>
        </p:spPr>
        <p:txBody>
          <a:bodyPr anchor="b"/>
          <a:lstStyle>
            <a:lvl1pPr algn="l">
              <a:defRPr sz="3200" b="0" cap="all" baseline="0"/>
            </a:lvl1pPr>
          </a:lstStyle>
          <a:p>
            <a:r>
              <a:rPr lang="en-US" noProof="0" smtClean="0"/>
              <a:t>Click to edit Master title style</a:t>
            </a:r>
            <a:endParaRPr lang="en-US" noProof="0" dirty="0"/>
          </a:p>
        </p:txBody>
      </p:sp>
      <p:sp>
        <p:nvSpPr>
          <p:cNvPr id="3" name="Textplatzhalter 2"/>
          <p:cNvSpPr>
            <a:spLocks noGrp="1"/>
          </p:cNvSpPr>
          <p:nvPr>
            <p:ph type="body" idx="1"/>
          </p:nvPr>
        </p:nvSpPr>
        <p:spPr>
          <a:xfrm>
            <a:off x="407095" y="4608000"/>
            <a:ext cx="7020000" cy="1800000"/>
          </a:xfrm>
        </p:spPr>
        <p:txBody>
          <a:bodyPr tIns="0"/>
          <a:lstStyle>
            <a:lvl1pPr marL="0" indent="0">
              <a:buNone/>
              <a:defRPr sz="2000" baseline="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379153796"/>
      </p:ext>
    </p:extLst>
  </p:cSld>
  <p:clrMapOvr>
    <a:masterClrMapping/>
  </p:clrMapOvr>
  <p:transition>
    <p:zoom/>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2" name="Objek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93"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8"/>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endParaRPr>
          </a:p>
        </p:txBody>
      </p:sp>
    </p:spTree>
    <p:extLst>
      <p:ext uri="{BB962C8B-B14F-4D97-AF65-F5344CB8AC3E}">
        <p14:creationId xmlns:p14="http://schemas.microsoft.com/office/powerpoint/2010/main" val="3542938855"/>
      </p:ext>
    </p:extLst>
  </p:cSld>
  <p:clrMapOvr>
    <a:masterClrMapping/>
  </p:clrMapOvr>
  <p:transition>
    <p:zoom/>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ftr" sz="quarter" idx="10"/>
          </p:nvPr>
        </p:nvSpPr>
        <p:spPr/>
        <p:txBody>
          <a:bodyPr/>
          <a:lstStyle>
            <a:lvl1pPr>
              <a:defRPr/>
            </a:lvl1pPr>
          </a:lstStyle>
          <a:p>
            <a:pPr>
              <a:defRPr/>
            </a:pPr>
            <a:endParaRPr lang="de-DE">
              <a:solidFill>
                <a:srgbClr val="007FC3"/>
              </a:solidFill>
            </a:endParaRPr>
          </a:p>
        </p:txBody>
      </p:sp>
      <p:sp>
        <p:nvSpPr>
          <p:cNvPr id="5" name="Rectangle 5"/>
          <p:cNvSpPr>
            <a:spLocks noGrp="1" noChangeArrowheads="1"/>
          </p:cNvSpPr>
          <p:nvPr>
            <p:ph type="sldNum" sz="quarter" idx="11"/>
          </p:nvPr>
        </p:nvSpPr>
        <p:spPr/>
        <p:txBody>
          <a:bodyPr/>
          <a:lstStyle>
            <a:lvl1pPr>
              <a:defRPr/>
            </a:lvl1pPr>
          </a:lstStyle>
          <a:p>
            <a:pPr>
              <a:defRPr/>
            </a:pPr>
            <a:fld id="{70E0DD5A-4DF8-4CD9-BD97-D9E4F5FD32C1}"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933744067"/>
      </p:ext>
    </p:extLst>
  </p:cSld>
  <p:clrMapOvr>
    <a:masterClrMapping/>
  </p:clrMapOvr>
  <p:transition>
    <p:zoom/>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4"/>
          <p:cNvSpPr>
            <a:spLocks noGrp="1" noChangeArrowheads="1"/>
          </p:cNvSpPr>
          <p:nvPr>
            <p:ph type="ftr" sz="quarter" idx="10"/>
          </p:nvPr>
        </p:nvSpPr>
        <p:spPr/>
        <p:txBody>
          <a:bodyPr/>
          <a:lstStyle>
            <a:lvl1pPr>
              <a:defRPr/>
            </a:lvl1pPr>
          </a:lstStyle>
          <a:p>
            <a:pPr>
              <a:defRPr/>
            </a:pPr>
            <a:endParaRPr lang="de-DE">
              <a:solidFill>
                <a:srgbClr val="007FC3"/>
              </a:solidFill>
            </a:endParaRPr>
          </a:p>
        </p:txBody>
      </p:sp>
      <p:sp>
        <p:nvSpPr>
          <p:cNvPr id="4" name="Rectangle 5"/>
          <p:cNvSpPr>
            <a:spLocks noGrp="1" noChangeArrowheads="1"/>
          </p:cNvSpPr>
          <p:nvPr>
            <p:ph type="sldNum" sz="quarter" idx="11"/>
          </p:nvPr>
        </p:nvSpPr>
        <p:spPr/>
        <p:txBody>
          <a:bodyPr/>
          <a:lstStyle>
            <a:lvl1pPr>
              <a:defRPr/>
            </a:lvl1pPr>
          </a:lstStyle>
          <a:p>
            <a:pPr>
              <a:defRPr/>
            </a:pPr>
            <a:fld id="{C11A9251-FE0B-4164-9006-2021A6557B1C}"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2913085451"/>
      </p:ext>
    </p:extLst>
  </p:cSld>
  <p:clrMapOvr>
    <a:masterClrMapping/>
  </p:clrMapOvr>
  <p:transition>
    <p:zo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chartAndTx">
  <p:cSld name="Заголовок, диаграмм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77788"/>
            <a:ext cx="7770813" cy="720725"/>
          </a:xfrm>
        </p:spPr>
        <p:txBody>
          <a:bodyPr/>
          <a:lstStyle/>
          <a:p>
            <a:r>
              <a:rPr lang="ru-RU" smtClean="0"/>
              <a:t>Образец заголовка</a:t>
            </a:r>
            <a:endParaRPr lang="en-US"/>
          </a:p>
        </p:txBody>
      </p:sp>
      <p:sp>
        <p:nvSpPr>
          <p:cNvPr id="3" name="Диаграмма 2"/>
          <p:cNvSpPr>
            <a:spLocks noGrp="1"/>
          </p:cNvSpPr>
          <p:nvPr>
            <p:ph type="chart" sz="half" idx="1"/>
          </p:nvPr>
        </p:nvSpPr>
        <p:spPr>
          <a:xfrm>
            <a:off x="214313" y="976313"/>
            <a:ext cx="4668837" cy="5548312"/>
          </a:xfrm>
        </p:spPr>
        <p:txBody>
          <a:bodyPr rtlCol="0">
            <a:noAutofit/>
          </a:bodyPr>
          <a:lstStyle/>
          <a:p>
            <a:pPr lvl="0"/>
            <a:endParaRPr lang="en-US" noProof="0"/>
          </a:p>
        </p:txBody>
      </p:sp>
      <p:sp>
        <p:nvSpPr>
          <p:cNvPr id="4" name="Текст 3"/>
          <p:cNvSpPr>
            <a:spLocks noGrp="1"/>
          </p:cNvSpPr>
          <p:nvPr>
            <p:ph type="body" sz="half" idx="2"/>
          </p:nvPr>
        </p:nvSpPr>
        <p:spPr>
          <a:xfrm>
            <a:off x="5035550" y="976313"/>
            <a:ext cx="4670425" cy="5548312"/>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5" name="Rectangle 4"/>
          <p:cNvSpPr>
            <a:spLocks noGrp="1" noChangeArrowheads="1"/>
          </p:cNvSpPr>
          <p:nvPr>
            <p:ph type="ftr" sz="quarter" idx="10"/>
          </p:nvPr>
        </p:nvSpPr>
        <p:spPr/>
        <p:txBody>
          <a:bodyPr/>
          <a:lstStyle>
            <a:lvl1pPr>
              <a:defRPr/>
            </a:lvl1pPr>
          </a:lstStyle>
          <a:p>
            <a:pPr>
              <a:defRPr/>
            </a:pPr>
            <a:endParaRPr lang="de-DE">
              <a:solidFill>
                <a:srgbClr val="007FC3"/>
              </a:solidFill>
            </a:endParaRPr>
          </a:p>
        </p:txBody>
      </p:sp>
      <p:sp>
        <p:nvSpPr>
          <p:cNvPr id="6" name="Rectangle 5"/>
          <p:cNvSpPr>
            <a:spLocks noGrp="1" noChangeArrowheads="1"/>
          </p:cNvSpPr>
          <p:nvPr>
            <p:ph type="sldNum" sz="quarter" idx="11"/>
          </p:nvPr>
        </p:nvSpPr>
        <p:spPr/>
        <p:txBody>
          <a:bodyPr/>
          <a:lstStyle>
            <a:lvl1pPr>
              <a:defRPr/>
            </a:lvl1pPr>
          </a:lstStyle>
          <a:p>
            <a:pPr>
              <a:defRPr/>
            </a:pPr>
            <a:fld id="{D27D0C72-6892-4AED-90DD-1065F5578E3D}"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2193661222"/>
      </p:ext>
    </p:extLst>
  </p:cSld>
  <p:clrMapOvr>
    <a:masterClrMapping/>
  </p:clrMapOvr>
  <p:transition>
    <p:zoom/>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p:txBody>
          <a:bodyPr/>
          <a:lstStyle>
            <a:lvl1pPr>
              <a:defRPr/>
            </a:lvl1pPr>
          </a:lstStyle>
          <a:p>
            <a:pPr>
              <a:defRPr/>
            </a:pPr>
            <a:endParaRPr lang="de-DE">
              <a:solidFill>
                <a:srgbClr val="007FC3"/>
              </a:solidFill>
            </a:endParaRPr>
          </a:p>
        </p:txBody>
      </p:sp>
      <p:sp>
        <p:nvSpPr>
          <p:cNvPr id="3" name="Rectangle 5"/>
          <p:cNvSpPr>
            <a:spLocks noGrp="1" noChangeArrowheads="1"/>
          </p:cNvSpPr>
          <p:nvPr>
            <p:ph type="sldNum" sz="quarter" idx="11"/>
          </p:nvPr>
        </p:nvSpPr>
        <p:spPr/>
        <p:txBody>
          <a:bodyPr/>
          <a:lstStyle>
            <a:lvl1pPr>
              <a:defRPr/>
            </a:lvl1pPr>
          </a:lstStyle>
          <a:p>
            <a:pPr>
              <a:defRPr/>
            </a:pPr>
            <a:fld id="{FE9DA2E1-2778-4F24-9657-9BDE9B51A5E4}" type="slidenum">
              <a:rPr lang="de-DE">
                <a:solidFill>
                  <a:srgbClr val="6E7A82"/>
                </a:solidFill>
              </a:rPr>
              <a:pPr>
                <a:defRPr/>
              </a:pPr>
              <a:t>‹#›</a:t>
            </a:fld>
            <a:endParaRPr lang="de-DE">
              <a:solidFill>
                <a:srgbClr val="6E7A82"/>
              </a:solidFill>
            </a:endParaRPr>
          </a:p>
        </p:txBody>
      </p:sp>
    </p:spTree>
    <p:extLst>
      <p:ext uri="{BB962C8B-B14F-4D97-AF65-F5344CB8AC3E}">
        <p14:creationId xmlns:p14="http://schemas.microsoft.com/office/powerpoint/2010/main" val="3736656864"/>
      </p:ext>
    </p:extLst>
  </p:cSld>
  <p:clrMapOvr>
    <a:masterClrMapping/>
  </p:clrMapOvr>
  <p:transition>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 title double spaced">
    <p:spTree>
      <p:nvGrpSpPr>
        <p:cNvPr id="1" name=""/>
        <p:cNvGrpSpPr/>
        <p:nvPr/>
      </p:nvGrpSpPr>
      <p:grpSpPr>
        <a:xfrm>
          <a:off x="0" y="0"/>
          <a:ext cx="0" cy="0"/>
          <a:chOff x="0" y="0"/>
          <a:chExt cx="0" cy="0"/>
        </a:xfrm>
      </p:grpSpPr>
      <p:sp>
        <p:nvSpPr>
          <p:cNvPr id="6"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5" name="Fußzeilenplatzhalter"/>
          <p:cNvSpPr>
            <a:spLocks noGrp="1"/>
          </p:cNvSpPr>
          <p:nvPr>
            <p:ph type="ftr" sz="quarter" idx="11"/>
          </p:nvPr>
        </p:nvSpPr>
        <p:spPr/>
        <p:txBody>
          <a:bodyPr/>
          <a:lstStyle/>
          <a:p>
            <a:endParaRPr lang="en-US" noProof="0" dirty="0"/>
          </a:p>
        </p:txBody>
      </p:sp>
      <p:sp>
        <p:nvSpPr>
          <p:cNvPr id="4" name="Datumsplatzhalter"/>
          <p:cNvSpPr>
            <a:spLocks noGrp="1"/>
          </p:cNvSpPr>
          <p:nvPr>
            <p:ph type="dt" sz="half" idx="10"/>
          </p:nvPr>
        </p:nvSpPr>
        <p:spPr/>
        <p:txBody>
          <a:bodyPr/>
          <a:lstStyle/>
          <a:p>
            <a:endParaRPr lang="en-US" noProof="0" dirty="0"/>
          </a:p>
        </p:txBody>
      </p:sp>
      <p:sp>
        <p:nvSpPr>
          <p:cNvPr id="3" name="Inhaltsplatzhalter"/>
          <p:cNvSpPr>
            <a:spLocks noGrp="1"/>
          </p:cNvSpPr>
          <p:nvPr>
            <p:ph idx="1"/>
          </p:nvPr>
        </p:nvSpPr>
        <p:spPr>
          <a:xfrm>
            <a:off x="525600" y="944563"/>
            <a:ext cx="8856000" cy="5653087"/>
          </a:xfrm>
        </p:spPr>
        <p:txBody>
          <a:bodyPr bIns="72000"/>
          <a:lstStyle>
            <a:lvl4pPr>
              <a:defRPr sz="1600"/>
            </a:lvl4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p:txBody>
      </p:sp>
      <p:sp>
        <p:nvSpPr>
          <p:cNvPr id="2" name="Titel"/>
          <p:cNvSpPr>
            <a:spLocks noGrp="1"/>
          </p:cNvSpPr>
          <p:nvPr>
            <p:ph type="title" hasCustomPrompt="1"/>
          </p:nvPr>
        </p:nvSpPr>
        <p:spPr>
          <a:xfrm>
            <a:off x="525600" y="288000"/>
            <a:ext cx="7308000" cy="612000"/>
          </a:xfrm>
        </p:spPr>
        <p:txBody>
          <a:bodyPr/>
          <a:lstStyle>
            <a:lvl1pPr>
              <a:defRPr baseline="0"/>
            </a:lvl1pPr>
          </a:lstStyle>
          <a:p>
            <a:r>
              <a:rPr lang="en-US" noProof="0" dirty="0" smtClean="0"/>
              <a:t>Slide Title double spaced</a:t>
            </a:r>
            <a:br>
              <a:rPr lang="en-US" noProof="0" dirty="0" smtClean="0"/>
            </a:br>
            <a:r>
              <a:rPr lang="en-US" noProof="0" dirty="0" smtClean="0"/>
              <a:t>Without Subheadline</a:t>
            </a:r>
            <a:endParaRPr lang="en-US" noProof="0" dirty="0"/>
          </a:p>
        </p:txBody>
      </p:sp>
    </p:spTree>
    <p:extLst>
      <p:ext uri="{BB962C8B-B14F-4D97-AF65-F5344CB8AC3E}">
        <p14:creationId xmlns:p14="http://schemas.microsoft.com/office/powerpoint/2010/main" val="707624063"/>
      </p:ext>
    </p:extLst>
  </p:cSld>
  <p:clrMapOvr>
    <a:masterClrMapping/>
  </p:clrMapOvr>
  <p:transition>
    <p:zoom/>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xAndObj">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95300" y="77788"/>
            <a:ext cx="7770813" cy="720725"/>
          </a:xfrm>
        </p:spPr>
        <p:txBody>
          <a:bodyPr/>
          <a:lstStyle/>
          <a:p>
            <a:r>
              <a:rPr lang="en-US"/>
              <a:t>Titelmasterformat durch Klicken bearbeiten</a:t>
            </a:r>
            <a:endParaRPr lang="de-DE"/>
          </a:p>
        </p:txBody>
      </p:sp>
      <p:sp>
        <p:nvSpPr>
          <p:cNvPr id="3" name="Textplatzhalter 2"/>
          <p:cNvSpPr>
            <a:spLocks noGrp="1"/>
          </p:cNvSpPr>
          <p:nvPr>
            <p:ph type="body" sz="half" idx="1"/>
          </p:nvPr>
        </p:nvSpPr>
        <p:spPr>
          <a:xfrm>
            <a:off x="214313" y="976313"/>
            <a:ext cx="4668837" cy="5548312"/>
          </a:xfrm>
        </p:spPr>
        <p:txBody>
          <a:bodyPr/>
          <a:lstStyle/>
          <a:p>
            <a:pPr lvl="0"/>
            <a:r>
              <a:rPr lang="en-US"/>
              <a:t>Textmasterformate durch Klicken bearbeiten</a:t>
            </a:r>
          </a:p>
          <a:p>
            <a:pPr lvl="1"/>
            <a:r>
              <a:rPr lang="en-US"/>
              <a:t>Zweite Ebene</a:t>
            </a:r>
          </a:p>
          <a:p>
            <a:pPr lvl="2"/>
            <a:r>
              <a:rPr lang="en-US"/>
              <a:t>Dritte Ebene</a:t>
            </a:r>
          </a:p>
          <a:p>
            <a:pPr lvl="3"/>
            <a:r>
              <a:rPr lang="en-US"/>
              <a:t>Vierte Ebene</a:t>
            </a:r>
          </a:p>
          <a:p>
            <a:pPr lvl="4"/>
            <a:r>
              <a:rPr lang="en-US"/>
              <a:t>Fünfte Ebene</a:t>
            </a:r>
            <a:endParaRPr lang="de-DE"/>
          </a:p>
        </p:txBody>
      </p:sp>
      <p:sp>
        <p:nvSpPr>
          <p:cNvPr id="4" name="Inhaltsplatzhalter 3"/>
          <p:cNvSpPr>
            <a:spLocks noGrp="1"/>
          </p:cNvSpPr>
          <p:nvPr>
            <p:ph sz="half" idx="2"/>
          </p:nvPr>
        </p:nvSpPr>
        <p:spPr>
          <a:xfrm>
            <a:off x="5035550" y="976313"/>
            <a:ext cx="4670425" cy="5548312"/>
          </a:xfrm>
        </p:spPr>
        <p:txBody>
          <a:bodyPr/>
          <a:lstStyle/>
          <a:p>
            <a:pPr lvl="0"/>
            <a:r>
              <a:rPr lang="en-US"/>
              <a:t>Textmasterformate durch Klicken bearbeiten</a:t>
            </a:r>
          </a:p>
          <a:p>
            <a:pPr lvl="1"/>
            <a:r>
              <a:rPr lang="en-US"/>
              <a:t>Zweite Ebene</a:t>
            </a:r>
          </a:p>
          <a:p>
            <a:pPr lvl="2"/>
            <a:r>
              <a:rPr lang="en-US"/>
              <a:t>Dritte Ebene</a:t>
            </a:r>
          </a:p>
          <a:p>
            <a:pPr lvl="3"/>
            <a:r>
              <a:rPr lang="en-US"/>
              <a:t>Vierte Ebene</a:t>
            </a:r>
          </a:p>
          <a:p>
            <a:pPr lvl="4"/>
            <a:r>
              <a:rPr lang="en-US"/>
              <a:t>Fünfte Ebene</a:t>
            </a:r>
            <a:endParaRPr lang="de-DE"/>
          </a:p>
        </p:txBody>
      </p:sp>
      <p:sp>
        <p:nvSpPr>
          <p:cNvPr id="5" name="Rectangle 5"/>
          <p:cNvSpPr>
            <a:spLocks noGrp="1" noChangeArrowheads="1"/>
          </p:cNvSpPr>
          <p:nvPr>
            <p:ph type="sldNum" sz="quarter" idx="10"/>
          </p:nvPr>
        </p:nvSpPr>
        <p:spPr/>
        <p:txBody>
          <a:bodyPr/>
          <a:lstStyle>
            <a:lvl1pPr>
              <a:defRPr smtClean="0"/>
            </a:lvl1pPr>
          </a:lstStyle>
          <a:p>
            <a:pPr>
              <a:defRPr/>
            </a:pPr>
            <a:fld id="{ED1C91C4-505B-4856-85C8-1821E7778258}" type="slidenum">
              <a:rPr lang="en-US" altLang="ru-RU">
                <a:solidFill>
                  <a:srgbClr val="6E7A82"/>
                </a:solidFill>
              </a:rPr>
              <a:pPr>
                <a:defRPr/>
              </a:pPr>
              <a:t>‹#›</a:t>
            </a:fld>
            <a:endParaRPr lang="en-US" altLang="ru-RU">
              <a:solidFill>
                <a:srgbClr val="6E7A82"/>
              </a:solidFill>
            </a:endParaRPr>
          </a:p>
        </p:txBody>
      </p:sp>
      <p:sp>
        <p:nvSpPr>
          <p:cNvPr id="6" name="Datumsplatzhalter 2"/>
          <p:cNvSpPr>
            <a:spLocks noGrp="1"/>
          </p:cNvSpPr>
          <p:nvPr>
            <p:ph type="dt" sz="half" idx="11"/>
          </p:nvPr>
        </p:nvSpPr>
        <p:spPr>
          <a:xfrm>
            <a:off x="6683375" y="6616700"/>
            <a:ext cx="2311400" cy="209550"/>
          </a:xfrm>
          <a:prstGeom prst="rect">
            <a:avLst/>
          </a:prstGeom>
        </p:spPr>
        <p:txBody>
          <a:bodyPr/>
          <a:lstStyle>
            <a:lvl1pPr algn="ctr" eaLnBrk="1" hangingPunct="1">
              <a:spcBef>
                <a:spcPct val="20000"/>
              </a:spcBef>
              <a:buClr>
                <a:srgbClr val="0084C2"/>
              </a:buClr>
              <a:buSzPct val="130000"/>
              <a:buFont typeface="Arial" charset="0"/>
              <a:buNone/>
              <a:defRPr>
                <a:latin typeface="Arial" charset="0"/>
                <a:cs typeface="Arial" charset="0"/>
              </a:defRPr>
            </a:lvl1pPr>
          </a:lstStyle>
          <a:p>
            <a:pPr>
              <a:defRPr/>
            </a:pPr>
            <a:endParaRPr lang="de-DE">
              <a:solidFill>
                <a:srgbClr val="6E7A82"/>
              </a:solidFill>
            </a:endParaRPr>
          </a:p>
        </p:txBody>
      </p:sp>
    </p:spTree>
    <p:extLst>
      <p:ext uri="{BB962C8B-B14F-4D97-AF65-F5344CB8AC3E}">
        <p14:creationId xmlns:p14="http://schemas.microsoft.com/office/powerpoint/2010/main" val="14568486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neutra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880934293"/>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2671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pic>
        <p:nvPicPr>
          <p:cNvPr id="7" name="Grafik 6"/>
          <p:cNvPicPr>
            <a:picLocks noChangeAspect="1"/>
          </p:cNvPicPr>
          <p:nvPr/>
        </p:nvPicPr>
        <p:blipFill rotWithShape="1">
          <a:blip r:embed="rId6" cstate="email">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5751"/>
          <a:stretch/>
        </p:blipFill>
        <p:spPr>
          <a:xfrm>
            <a:off x="0" y="0"/>
            <a:ext cx="9906000" cy="6858000"/>
          </a:xfrm>
          <a:prstGeom prst="rect">
            <a:avLst/>
          </a:prstGeom>
        </p:spPr>
      </p:pic>
      <p:sp>
        <p:nvSpPr>
          <p:cNvPr id="2" name="Titel 1"/>
          <p:cNvSpPr>
            <a:spLocks noGrp="1"/>
          </p:cNvSpPr>
          <p:nvPr>
            <p:ph type="ctrTitle" hasCustomPrompt="1"/>
          </p:nvPr>
        </p:nvSpPr>
        <p:spPr>
          <a:xfrm>
            <a:off x="415924" y="2924944"/>
            <a:ext cx="9074151" cy="1035056"/>
          </a:xfrm>
        </p:spPr>
        <p:txBody>
          <a:bodyPr anchor="b" anchorCtr="0"/>
          <a:lstStyle>
            <a:lvl1pPr>
              <a:lnSpc>
                <a:spcPct val="90000"/>
              </a:lnSpc>
              <a:defRPr sz="3200" baseline="0">
                <a:solidFill>
                  <a:schemeClr val="tx2"/>
                </a:solidFill>
              </a:defRPr>
            </a:lvl1pPr>
          </a:lstStyle>
          <a:p>
            <a:r>
              <a:rPr lang="en-US" noProof="0" dirty="0" smtClean="0"/>
              <a:t>Presentation title</a:t>
            </a:r>
            <a:br>
              <a:rPr lang="en-US" noProof="0" dirty="0" smtClean="0"/>
            </a:br>
            <a:r>
              <a:rPr lang="en-US" noProof="0" dirty="0" smtClean="0"/>
              <a:t>optionally double spaced</a:t>
            </a:r>
            <a:endParaRPr lang="en-US" noProof="0" dirty="0"/>
          </a:p>
        </p:txBody>
      </p:sp>
      <p:sp>
        <p:nvSpPr>
          <p:cNvPr id="3" name="Untertitel 2"/>
          <p:cNvSpPr>
            <a:spLocks noGrp="1"/>
          </p:cNvSpPr>
          <p:nvPr>
            <p:ph type="subTitle" idx="1" hasCustomPrompt="1"/>
          </p:nvPr>
        </p:nvSpPr>
        <p:spPr>
          <a:xfrm>
            <a:off x="415925" y="4608000"/>
            <a:ext cx="7020000" cy="1800000"/>
          </a:xfrm>
        </p:spPr>
        <p:txBody>
          <a:bodyPr tIns="0"/>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Author</a:t>
            </a:r>
            <a:br>
              <a:rPr lang="en-US" noProof="0" dirty="0" smtClean="0"/>
            </a:br>
            <a:r>
              <a:rPr lang="en-US" noProof="0" dirty="0" smtClean="0"/>
              <a:t>Department</a:t>
            </a:r>
            <a:br>
              <a:rPr lang="en-US" noProof="0" dirty="0" smtClean="0"/>
            </a:br>
            <a:r>
              <a:rPr lang="en-US" noProof="0" dirty="0" smtClean="0"/>
              <a:t>Date</a:t>
            </a:r>
            <a:endParaRPr lang="en-US" noProof="0" dirty="0"/>
          </a:p>
        </p:txBody>
      </p:sp>
      <p:pic>
        <p:nvPicPr>
          <p:cNvPr id="9" name="Grafik 8"/>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888802" y="4680000"/>
            <a:ext cx="1587524" cy="650566"/>
          </a:xfrm>
          <a:prstGeom prst="rect">
            <a:avLst/>
          </a:prstGeom>
        </p:spPr>
      </p:pic>
      <p:sp>
        <p:nvSpPr>
          <p:cNvPr id="10" name="Rechteck 9"/>
          <p:cNvSpPr/>
          <p:nvPr/>
        </p:nvSpPr>
        <p:spPr>
          <a:xfrm>
            <a:off x="0" y="4320000"/>
            <a:ext cx="9906000" cy="72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Tree>
    <p:extLst>
      <p:ext uri="{BB962C8B-B14F-4D97-AF65-F5344CB8AC3E}">
        <p14:creationId xmlns:p14="http://schemas.microsoft.com/office/powerpoint/2010/main" val="1661699871"/>
      </p:ext>
    </p:extLst>
  </p:cSld>
  <p:clrMapOvr>
    <a:masterClrMapping/>
  </p:clrMapOvr>
  <p:transition>
    <p:zoom/>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1128656408"/>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2774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12" name="Rechteck 11"/>
          <p:cNvSpPr/>
          <p:nvPr/>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13" name="Bildplatzhalter 8"/>
          <p:cNvSpPr>
            <a:spLocks noGrp="1"/>
          </p:cNvSpPr>
          <p:nvPr>
            <p:ph type="pic" sz="quarter" idx="14"/>
          </p:nvPr>
        </p:nvSpPr>
        <p:spPr>
          <a:xfrm>
            <a:off x="0" y="0"/>
            <a:ext cx="9906000" cy="4284406"/>
          </a:xfrm>
        </p:spPr>
        <p:txBody>
          <a:bodyPr lIns="396000" tIns="180000" rIns="396000" bIns="180000"/>
          <a:lstStyle>
            <a:lvl1pPr marL="0" indent="0">
              <a:buFontTx/>
              <a:buNone/>
              <a:defRPr sz="1500">
                <a:solidFill>
                  <a:schemeClr val="accent2"/>
                </a:solidFill>
              </a:defRPr>
            </a:lvl1pPr>
          </a:lstStyle>
          <a:p>
            <a:r>
              <a:rPr lang="en-US" noProof="0" smtClean="0"/>
              <a:t>Click icon to add picture</a:t>
            </a:r>
            <a:endParaRPr lang="en-US" noProof="0" dirty="0"/>
          </a:p>
        </p:txBody>
      </p:sp>
      <p:sp>
        <p:nvSpPr>
          <p:cNvPr id="3" name="Untertitel 2"/>
          <p:cNvSpPr>
            <a:spLocks noGrp="1"/>
          </p:cNvSpPr>
          <p:nvPr>
            <p:ph type="subTitle" idx="1" hasCustomPrompt="1"/>
          </p:nvPr>
        </p:nvSpPr>
        <p:spPr>
          <a:xfrm>
            <a:off x="0" y="4395600"/>
            <a:ext cx="9906000" cy="2462400"/>
          </a:xfrm>
          <a:noFill/>
        </p:spPr>
        <p:txBody>
          <a:bodyPr lIns="396000" tIns="216000" rIns="2268000" bIns="396000"/>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Author</a:t>
            </a:r>
            <a:br>
              <a:rPr lang="en-US" noProof="0" dirty="0" smtClean="0"/>
            </a:br>
            <a:r>
              <a:rPr lang="en-US" noProof="0" dirty="0" smtClean="0"/>
              <a:t>Department</a:t>
            </a:r>
            <a:br>
              <a:rPr lang="en-US" noProof="0" dirty="0" smtClean="0"/>
            </a:br>
            <a:r>
              <a:rPr lang="en-US" noProof="0" dirty="0" smtClean="0"/>
              <a:t>Date</a:t>
            </a:r>
            <a:endParaRPr lang="en-US" noProof="0" dirty="0"/>
          </a:p>
        </p:txBody>
      </p:sp>
      <p:sp>
        <p:nvSpPr>
          <p:cNvPr id="10" name="Rechteck 9"/>
          <p:cNvSpPr/>
          <p:nvPr/>
        </p:nvSpPr>
        <p:spPr>
          <a:xfrm>
            <a:off x="0" y="4320000"/>
            <a:ext cx="9906000" cy="72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2" name="Titel 1"/>
          <p:cNvSpPr>
            <a:spLocks noGrp="1"/>
          </p:cNvSpPr>
          <p:nvPr>
            <p:ph type="ctrTitle" hasCustomPrompt="1"/>
          </p:nvPr>
        </p:nvSpPr>
        <p:spPr>
          <a:xfrm>
            <a:off x="0" y="2876400"/>
            <a:ext cx="9906000" cy="1440000"/>
          </a:xfrm>
          <a:solidFill>
            <a:schemeClr val="bg1">
              <a:alpha val="80000"/>
            </a:schemeClr>
          </a:solidFill>
        </p:spPr>
        <p:txBody>
          <a:bodyPr lIns="414000" rIns="396000" bIns="360000" anchor="b" anchorCtr="0"/>
          <a:lstStyle>
            <a:lvl1pPr>
              <a:lnSpc>
                <a:spcPct val="90000"/>
              </a:lnSpc>
              <a:defRPr sz="3200" baseline="0">
                <a:solidFill>
                  <a:schemeClr val="tx2"/>
                </a:solidFill>
              </a:defRPr>
            </a:lvl1pPr>
          </a:lstStyle>
          <a:p>
            <a:r>
              <a:rPr lang="en-US" noProof="0" dirty="0" smtClean="0"/>
              <a:t>Presentation title</a:t>
            </a:r>
            <a:br>
              <a:rPr lang="en-US" noProof="0" dirty="0" smtClean="0"/>
            </a:br>
            <a:r>
              <a:rPr lang="en-US" noProof="0" dirty="0" smtClean="0"/>
              <a:t>optionally double spaced</a:t>
            </a:r>
            <a:endParaRPr lang="en-US" noProof="0" dirty="0"/>
          </a:p>
        </p:txBody>
      </p:sp>
      <p:pic>
        <p:nvPicPr>
          <p:cNvPr id="15" name="Grafik 1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888802" y="4680000"/>
            <a:ext cx="1587524" cy="650566"/>
          </a:xfrm>
          <a:prstGeom prst="rect">
            <a:avLst/>
          </a:prstGeom>
        </p:spPr>
      </p:pic>
    </p:spTree>
    <p:extLst>
      <p:ext uri="{BB962C8B-B14F-4D97-AF65-F5344CB8AC3E}">
        <p14:creationId xmlns:p14="http://schemas.microsoft.com/office/powerpoint/2010/main" val="269206106"/>
      </p:ext>
    </p:extLst>
  </p:cSld>
  <p:clrMapOvr>
    <a:masterClrMapping/>
  </p:clrMapOvr>
  <p:transition>
    <p:zoom/>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 +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3" name="Inhaltsplatzhalter 2"/>
          <p:cNvSpPr>
            <a:spLocks noGrp="1"/>
          </p:cNvSpPr>
          <p:nvPr>
            <p:ph idx="1"/>
          </p:nvPr>
        </p:nvSpPr>
        <p:spPr>
          <a:xfrm>
            <a:off x="415926" y="944563"/>
            <a:ext cx="9074149" cy="5653087"/>
          </a:xfrm>
        </p:spPr>
        <p:txBody>
          <a:bodyPr vert="horz" lIns="0" tIns="144000" rIns="0" bIns="72000" rtlCol="0">
            <a:noAutofit/>
          </a:bodyPr>
          <a:lstStyle>
            <a:lvl1pPr>
              <a:defRPr lang="de-DE" dirty="0" smtClean="0"/>
            </a:lvl1pPr>
            <a:lvl2pPr>
              <a:defRPr lang="de-DE" dirty="0" smtClean="0"/>
            </a:lvl2pPr>
            <a:lvl3pPr>
              <a:defRPr lang="de-DE" dirty="0" smtClean="0"/>
            </a:lvl3pPr>
            <a:lvl4pPr>
              <a:defRPr lang="de-DE" dirty="0" smtClean="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dirty="0">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7"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620664280"/>
      </p:ext>
    </p:extLst>
  </p:cSld>
  <p:clrMapOvr>
    <a:masterClrMapping/>
  </p:clrMapOvr>
  <p:transition>
    <p:zoom/>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 title double spac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15926" y="288000"/>
            <a:ext cx="7741430" cy="576000"/>
          </a:xfrm>
        </p:spPr>
        <p:txBody>
          <a:bodyPr/>
          <a:lstStyle>
            <a:lvl1pPr>
              <a:defRPr baseline="0"/>
            </a:lvl1pPr>
          </a:lstStyle>
          <a:p>
            <a:r>
              <a:rPr lang="en-US" noProof="0" dirty="0" smtClean="0"/>
              <a:t>Slide Title double spaced</a:t>
            </a:r>
            <a:br>
              <a:rPr lang="en-US" noProof="0" dirty="0" smtClean="0"/>
            </a:br>
            <a:r>
              <a:rPr lang="en-US" noProof="0" dirty="0" smtClean="0"/>
              <a:t>Without Subheadline</a:t>
            </a:r>
            <a:endParaRPr lang="en-US" noProof="0" dirty="0"/>
          </a:p>
        </p:txBody>
      </p:sp>
      <p:sp>
        <p:nvSpPr>
          <p:cNvPr id="3" name="Inhaltsplatzhalter 2"/>
          <p:cNvSpPr>
            <a:spLocks noGrp="1"/>
          </p:cNvSpPr>
          <p:nvPr>
            <p:ph idx="1"/>
          </p:nvPr>
        </p:nvSpPr>
        <p:spPr>
          <a:xfrm>
            <a:off x="415926" y="944563"/>
            <a:ext cx="9074150" cy="5653087"/>
          </a:xfrm>
        </p:spPr>
        <p:txBody>
          <a:bodyPr bIns="72000"/>
          <a:lstStyle>
            <a:lvl4pPr>
              <a:defRPr sz="16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Tree>
    <p:extLst>
      <p:ext uri="{BB962C8B-B14F-4D97-AF65-F5344CB8AC3E}">
        <p14:creationId xmlns:p14="http://schemas.microsoft.com/office/powerpoint/2010/main" val="3472589157"/>
      </p:ext>
    </p:extLst>
  </p:cSld>
  <p:clrMapOvr>
    <a:masterClrMapping/>
  </p:clrMapOvr>
  <p:transition>
    <p:zoom/>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ntent left picture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415926" y="944563"/>
            <a:ext cx="4459074" cy="5653087"/>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Bildplatzhalter 8"/>
          <p:cNvSpPr>
            <a:spLocks noGrp="1"/>
          </p:cNvSpPr>
          <p:nvPr>
            <p:ph type="pic" sz="quarter" idx="14"/>
          </p:nvPr>
        </p:nvSpPr>
        <p:spPr>
          <a:xfrm>
            <a:off x="5030389" y="944563"/>
            <a:ext cx="4459685" cy="5653087"/>
          </a:xfrm>
        </p:spPr>
        <p:txBody>
          <a:bodyPr lIns="0" tIns="180000" rIns="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10"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1"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3450861483"/>
      </p:ext>
    </p:extLst>
  </p:cSld>
  <p:clrMapOvr>
    <a:masterClrMapping/>
  </p:clrMapOvr>
  <p:transition>
    <p:zoom/>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Picture left content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5030999" y="944563"/>
            <a:ext cx="4459075" cy="5653087"/>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Bildplatzhalter 8"/>
          <p:cNvSpPr>
            <a:spLocks noGrp="1"/>
          </p:cNvSpPr>
          <p:nvPr>
            <p:ph type="pic" sz="quarter" idx="14"/>
          </p:nvPr>
        </p:nvSpPr>
        <p:spPr>
          <a:xfrm>
            <a:off x="415926" y="944563"/>
            <a:ext cx="4459074" cy="5653087"/>
          </a:xfrm>
        </p:spPr>
        <p:txBody>
          <a:bodyPr lIns="0" tIns="180000" rIns="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10"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1"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895895607"/>
      </p:ext>
    </p:extLst>
  </p:cSld>
  <p:clrMapOvr>
    <a:masterClrMapping/>
  </p:clrMapOvr>
  <p:transition>
    <p:zoom/>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15926" y="1304764"/>
            <a:ext cx="4459074" cy="5292886"/>
          </a:xfrm>
        </p:spPr>
        <p:txBody>
          <a:bodyPr bIns="72000"/>
          <a:lstStyle>
            <a:lvl1pPr>
              <a:defRPr sz="2000"/>
            </a:lvl1pPr>
            <a:lvl2pPr>
              <a:defRPr sz="17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Inhaltsplatzhalter 3"/>
          <p:cNvSpPr>
            <a:spLocks noGrp="1"/>
          </p:cNvSpPr>
          <p:nvPr>
            <p:ph sz="half" idx="2"/>
          </p:nvPr>
        </p:nvSpPr>
        <p:spPr>
          <a:xfrm>
            <a:off x="5030999" y="1304764"/>
            <a:ext cx="4459075" cy="5292886"/>
          </a:xfrm>
        </p:spPr>
        <p:txBody>
          <a:bodyPr bIns="72000"/>
          <a:lstStyle>
            <a:lvl1pPr>
              <a:defRPr sz="1900"/>
            </a:lvl1pPr>
            <a:lvl2pPr>
              <a:defRPr sz="1800"/>
            </a:lvl2pPr>
            <a:lvl3pPr>
              <a:defRPr sz="15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Textplatzhalter 2"/>
          <p:cNvSpPr>
            <a:spLocks noGrp="1"/>
          </p:cNvSpPr>
          <p:nvPr>
            <p:ph type="body" idx="14" hasCustomPrompt="1"/>
          </p:nvPr>
        </p:nvSpPr>
        <p:spPr>
          <a:xfrm>
            <a:off x="415925" y="900000"/>
            <a:ext cx="4458304"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13" name="Textplatzhalter 2"/>
          <p:cNvSpPr>
            <a:spLocks noGrp="1"/>
          </p:cNvSpPr>
          <p:nvPr>
            <p:ph type="body" idx="16" hasCustomPrompt="1"/>
          </p:nvPr>
        </p:nvSpPr>
        <p:spPr>
          <a:xfrm>
            <a:off x="5030999" y="900000"/>
            <a:ext cx="4459075"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cxnSp>
        <p:nvCxnSpPr>
          <p:cNvPr id="12" name="Gerade Verbindung 11"/>
          <p:cNvCxnSpPr/>
          <p:nvPr/>
        </p:nvCxnSpPr>
        <p:spPr>
          <a:xfrm>
            <a:off x="0" y="1260000"/>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5"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6"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2839451056"/>
      </p:ext>
    </p:extLst>
  </p:cSld>
  <p:clrMapOvr>
    <a:masterClrMapping/>
  </p:clrMapOvr>
  <p:transition>
    <p:zoom/>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15924" y="1304764"/>
            <a:ext cx="2988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Inhaltsplatzhalter 3"/>
          <p:cNvSpPr>
            <a:spLocks noGrp="1"/>
          </p:cNvSpPr>
          <p:nvPr>
            <p:ph sz="half" idx="2"/>
          </p:nvPr>
        </p:nvSpPr>
        <p:spPr>
          <a:xfrm>
            <a:off x="3458547" y="1304764"/>
            <a:ext cx="2988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Textplatzhalter 2"/>
          <p:cNvSpPr>
            <a:spLocks noGrp="1"/>
          </p:cNvSpPr>
          <p:nvPr>
            <p:ph type="body" idx="14" hasCustomPrompt="1"/>
          </p:nvPr>
        </p:nvSpPr>
        <p:spPr>
          <a:xfrm>
            <a:off x="415924"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12" name="Inhaltsplatzhalter 3"/>
          <p:cNvSpPr>
            <a:spLocks noGrp="1"/>
          </p:cNvSpPr>
          <p:nvPr>
            <p:ph sz="half" idx="15"/>
          </p:nvPr>
        </p:nvSpPr>
        <p:spPr>
          <a:xfrm>
            <a:off x="6501172" y="1304764"/>
            <a:ext cx="2988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3" name="Textplatzhalter 2"/>
          <p:cNvSpPr>
            <a:spLocks noGrp="1"/>
          </p:cNvSpPr>
          <p:nvPr>
            <p:ph type="body" idx="16" hasCustomPrompt="1"/>
          </p:nvPr>
        </p:nvSpPr>
        <p:spPr>
          <a:xfrm>
            <a:off x="3458547"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14" name="Textplatzhalter 2"/>
          <p:cNvSpPr>
            <a:spLocks noGrp="1"/>
          </p:cNvSpPr>
          <p:nvPr>
            <p:ph type="body" idx="17" hasCustomPrompt="1"/>
          </p:nvPr>
        </p:nvSpPr>
        <p:spPr>
          <a:xfrm>
            <a:off x="6501172"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cxnSp>
        <p:nvCxnSpPr>
          <p:cNvPr id="15" name="Gerade Verbindung 14"/>
          <p:cNvCxnSpPr/>
          <p:nvPr/>
        </p:nvCxnSpPr>
        <p:spPr>
          <a:xfrm>
            <a:off x="0" y="1260000"/>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8"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9"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1875815355"/>
      </p:ext>
    </p:extLst>
  </p:cSld>
  <p:clrMapOvr>
    <a:masterClrMapping/>
  </p:clrMapOvr>
  <p:transition>
    <p:zoom/>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ntent 3 columns with picture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272675443"/>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287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15" name="Bildplatzhalter 8"/>
          <p:cNvSpPr>
            <a:spLocks noGrp="1"/>
          </p:cNvSpPr>
          <p:nvPr>
            <p:ph type="pic" sz="quarter" idx="18"/>
          </p:nvPr>
        </p:nvSpPr>
        <p:spPr>
          <a:xfrm>
            <a:off x="415924" y="4748975"/>
            <a:ext cx="2988000" cy="1800000"/>
          </a:xfrm>
        </p:spPr>
        <p:txBody>
          <a:bodyPr lIns="0" tIns="180000" rIns="0" bIns="180000"/>
          <a:lstStyle>
            <a:lvl1pPr marL="0" indent="0">
              <a:buFontTx/>
              <a:buNone/>
              <a:defRPr sz="1400">
                <a:solidFill>
                  <a:schemeClr val="accent2"/>
                </a:solidFill>
              </a:defRPr>
            </a:lvl1pPr>
          </a:lstStyle>
          <a:p>
            <a:r>
              <a:rPr lang="en-US" noProof="0" smtClean="0"/>
              <a:t>Click icon to add picture</a:t>
            </a:r>
            <a:endParaRPr lang="en-US" noProof="0" dirty="0"/>
          </a:p>
        </p:txBody>
      </p:sp>
      <p:sp>
        <p:nvSpPr>
          <p:cNvPr id="16" name="Bildplatzhalter 8"/>
          <p:cNvSpPr>
            <a:spLocks noGrp="1"/>
          </p:cNvSpPr>
          <p:nvPr>
            <p:ph type="pic" sz="quarter" idx="19"/>
          </p:nvPr>
        </p:nvSpPr>
        <p:spPr>
          <a:xfrm>
            <a:off x="3458548" y="4748975"/>
            <a:ext cx="2988000" cy="1800000"/>
          </a:xfrm>
        </p:spPr>
        <p:txBody>
          <a:bodyPr lIns="0" tIns="180000" rIns="0" bIns="180000"/>
          <a:lstStyle>
            <a:lvl1pPr marL="0" indent="0">
              <a:buFontTx/>
              <a:buNone/>
              <a:defRPr sz="1400">
                <a:solidFill>
                  <a:schemeClr val="accent2"/>
                </a:solidFill>
              </a:defRPr>
            </a:lvl1pPr>
          </a:lstStyle>
          <a:p>
            <a:r>
              <a:rPr lang="en-US" noProof="0" smtClean="0"/>
              <a:t>Click icon to add picture</a:t>
            </a:r>
            <a:endParaRPr lang="en-US" noProof="0" dirty="0"/>
          </a:p>
        </p:txBody>
      </p:sp>
      <p:sp>
        <p:nvSpPr>
          <p:cNvPr id="17" name="Bildplatzhalter 8"/>
          <p:cNvSpPr>
            <a:spLocks noGrp="1"/>
          </p:cNvSpPr>
          <p:nvPr>
            <p:ph type="pic" sz="quarter" idx="20"/>
          </p:nvPr>
        </p:nvSpPr>
        <p:spPr>
          <a:xfrm>
            <a:off x="6501172" y="4748975"/>
            <a:ext cx="2988000" cy="1800000"/>
          </a:xfrm>
        </p:spPr>
        <p:txBody>
          <a:bodyPr lIns="0" tIns="180000" rIns="0" bIns="180000"/>
          <a:lstStyle>
            <a:lvl1pPr marL="0" indent="0">
              <a:buFontTx/>
              <a:buNone/>
              <a:defRPr sz="1400">
                <a:solidFill>
                  <a:schemeClr val="accent2"/>
                </a:solidFill>
              </a:defRPr>
            </a:lvl1pPr>
          </a:lstStyle>
          <a:p>
            <a:r>
              <a:rPr lang="en-US" noProof="0" smtClean="0"/>
              <a:t>Click icon to add picture</a:t>
            </a:r>
            <a:endParaRPr lang="en-US" noProof="0" dirty="0"/>
          </a:p>
        </p:txBody>
      </p:sp>
      <p:cxnSp>
        <p:nvCxnSpPr>
          <p:cNvPr id="18" name="Gerade Verbindung 17"/>
          <p:cNvCxnSpPr/>
          <p:nvPr/>
        </p:nvCxnSpPr>
        <p:spPr>
          <a:xfrm>
            <a:off x="0" y="1260000"/>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a:xfrm>
            <a:off x="0" y="1260000"/>
            <a:ext cx="29628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34" name="Inhaltsplatzhalter 2"/>
          <p:cNvSpPr>
            <a:spLocks noGrp="1"/>
          </p:cNvSpPr>
          <p:nvPr>
            <p:ph sz="half" idx="1"/>
          </p:nvPr>
        </p:nvSpPr>
        <p:spPr>
          <a:xfrm>
            <a:off x="415924" y="1304764"/>
            <a:ext cx="2988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35" name="Inhaltsplatzhalter 3"/>
          <p:cNvSpPr>
            <a:spLocks noGrp="1"/>
          </p:cNvSpPr>
          <p:nvPr>
            <p:ph sz="half" idx="2"/>
          </p:nvPr>
        </p:nvSpPr>
        <p:spPr>
          <a:xfrm>
            <a:off x="3458547" y="1304764"/>
            <a:ext cx="2988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36" name="Textplatzhalter 2"/>
          <p:cNvSpPr>
            <a:spLocks noGrp="1"/>
          </p:cNvSpPr>
          <p:nvPr>
            <p:ph type="body" idx="14" hasCustomPrompt="1"/>
          </p:nvPr>
        </p:nvSpPr>
        <p:spPr>
          <a:xfrm>
            <a:off x="415924"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37" name="Inhaltsplatzhalter 3"/>
          <p:cNvSpPr>
            <a:spLocks noGrp="1"/>
          </p:cNvSpPr>
          <p:nvPr>
            <p:ph sz="half" idx="15"/>
          </p:nvPr>
        </p:nvSpPr>
        <p:spPr>
          <a:xfrm>
            <a:off x="6501172" y="1304764"/>
            <a:ext cx="2988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38" name="Textplatzhalter 2"/>
          <p:cNvSpPr>
            <a:spLocks noGrp="1"/>
          </p:cNvSpPr>
          <p:nvPr>
            <p:ph type="body" idx="16" hasCustomPrompt="1"/>
          </p:nvPr>
        </p:nvSpPr>
        <p:spPr>
          <a:xfrm>
            <a:off x="3458547"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39" name="Textplatzhalter 2"/>
          <p:cNvSpPr>
            <a:spLocks noGrp="1"/>
          </p:cNvSpPr>
          <p:nvPr>
            <p:ph type="body" idx="17" hasCustomPrompt="1"/>
          </p:nvPr>
        </p:nvSpPr>
        <p:spPr>
          <a:xfrm>
            <a:off x="6501172"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19"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20"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1591022390"/>
      </p:ext>
    </p:extLst>
  </p:cSld>
  <p:clrMapOvr>
    <a:masterClrMapping/>
  </p:clrMapOvr>
  <p:transition>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left picture right">
    <p:spTree>
      <p:nvGrpSpPr>
        <p:cNvPr id="1" name=""/>
        <p:cNvGrpSpPr/>
        <p:nvPr/>
      </p:nvGrpSpPr>
      <p:grpSpPr>
        <a:xfrm>
          <a:off x="0" y="0"/>
          <a:ext cx="0" cy="0"/>
          <a:chOff x="0" y="0"/>
          <a:chExt cx="0" cy="0"/>
        </a:xfrm>
      </p:grpSpPr>
      <p:sp>
        <p:nvSpPr>
          <p:cNvPr id="6"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5" name="Fußzeilenplatzhalter"/>
          <p:cNvSpPr>
            <a:spLocks noGrp="1"/>
          </p:cNvSpPr>
          <p:nvPr>
            <p:ph type="ftr" sz="quarter" idx="11"/>
          </p:nvPr>
        </p:nvSpPr>
        <p:spPr/>
        <p:txBody>
          <a:bodyPr/>
          <a:lstStyle/>
          <a:p>
            <a:endParaRPr lang="en-US" noProof="0" dirty="0"/>
          </a:p>
        </p:txBody>
      </p:sp>
      <p:sp>
        <p:nvSpPr>
          <p:cNvPr id="4" name="Datumsplatzhalter"/>
          <p:cNvSpPr>
            <a:spLocks noGrp="1"/>
          </p:cNvSpPr>
          <p:nvPr>
            <p:ph type="dt" sz="half" idx="10"/>
          </p:nvPr>
        </p:nvSpPr>
        <p:spPr/>
        <p:txBody>
          <a:bodyPr/>
          <a:lstStyle/>
          <a:p>
            <a:endParaRPr lang="en-US" noProof="0" dirty="0"/>
          </a:p>
        </p:txBody>
      </p:sp>
      <p:sp>
        <p:nvSpPr>
          <p:cNvPr id="9" name="Bildplatzhalter"/>
          <p:cNvSpPr>
            <a:spLocks noGrp="1"/>
          </p:cNvSpPr>
          <p:nvPr>
            <p:ph type="pic" sz="quarter" idx="14"/>
          </p:nvPr>
        </p:nvSpPr>
        <p:spPr>
          <a:xfrm>
            <a:off x="5030389" y="944563"/>
            <a:ext cx="4351103" cy="5653087"/>
          </a:xfrm>
        </p:spPr>
        <p:txBody>
          <a:bodyPr lIns="0" tIns="180000" rIns="0" bIns="180000"/>
          <a:lstStyle>
            <a:lvl1pPr marL="0" indent="0">
              <a:buFontTx/>
              <a:buNone/>
              <a:defRPr sz="1600">
                <a:solidFill>
                  <a:schemeClr val="accent2"/>
                </a:solidFill>
              </a:defRPr>
            </a:lvl1pPr>
          </a:lstStyle>
          <a:p>
            <a:r>
              <a:rPr lang="de-DE" noProof="0" smtClean="0"/>
              <a:t>Bild durch Klicken auf Symbol hinzufügen</a:t>
            </a:r>
            <a:endParaRPr lang="en-US" noProof="0" dirty="0"/>
          </a:p>
        </p:txBody>
      </p:sp>
      <p:sp>
        <p:nvSpPr>
          <p:cNvPr id="3" name="Inhaltsplatzhalter"/>
          <p:cNvSpPr>
            <a:spLocks noGrp="1"/>
          </p:cNvSpPr>
          <p:nvPr>
            <p:ph idx="1"/>
          </p:nvPr>
        </p:nvSpPr>
        <p:spPr>
          <a:xfrm>
            <a:off x="525600" y="944563"/>
            <a:ext cx="4349400" cy="5653087"/>
          </a:xfrm>
        </p:spPr>
        <p:txBody>
          <a:bodyPr bIns="72000"/>
          <a:lstStyle/>
          <a:p>
            <a:pPr lvl="0"/>
            <a:r>
              <a:rPr lang="de-DE" noProof="0" smtClean="0"/>
              <a:t>Textmasterformat bearbeiten</a:t>
            </a:r>
          </a:p>
          <a:p>
            <a:pPr lvl="1"/>
            <a:r>
              <a:rPr lang="de-DE" noProof="0" smtClean="0"/>
              <a:t>Zweite Ebene</a:t>
            </a:r>
          </a:p>
          <a:p>
            <a:pPr lvl="2"/>
            <a:r>
              <a:rPr lang="de-DE" noProof="0" smtClean="0"/>
              <a:t>Dritte Ebene</a:t>
            </a:r>
          </a:p>
        </p:txBody>
      </p:sp>
      <p:sp>
        <p:nvSpPr>
          <p:cNvPr id="11"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
        <p:nvSpPr>
          <p:cNvPr id="10" name="Titel"/>
          <p:cNvSpPr>
            <a:spLocks noGrp="1"/>
          </p:cNvSpPr>
          <p:nvPr>
            <p:ph type="title" hasCustomPrompt="1"/>
          </p:nvPr>
        </p:nvSpPr>
        <p:spPr>
          <a:xfrm>
            <a:off x="525600" y="288000"/>
            <a:ext cx="7308000" cy="260680"/>
          </a:xfrm>
        </p:spPr>
        <p:txBody>
          <a:bodyPr/>
          <a:lstStyle>
            <a:lvl1pPr>
              <a:defRPr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4080175598"/>
      </p:ext>
    </p:extLst>
  </p:cSld>
  <p:clrMapOvr>
    <a:masterClrMapping/>
  </p:clrMapOvr>
  <p:transition>
    <p:zoom/>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 pictures 2 contents">
    <p:spTree>
      <p:nvGrpSpPr>
        <p:cNvPr id="1" name=""/>
        <p:cNvGrpSpPr/>
        <p:nvPr/>
      </p:nvGrpSpPr>
      <p:grpSpPr>
        <a:xfrm>
          <a:off x="0" y="0"/>
          <a:ext cx="0" cy="0"/>
          <a:chOff x="0" y="0"/>
          <a:chExt cx="0" cy="0"/>
        </a:xfrm>
      </p:grpSpPr>
      <p:sp>
        <p:nvSpPr>
          <p:cNvPr id="3" name="Inhaltsplatzhalter 2"/>
          <p:cNvSpPr>
            <a:spLocks noGrp="1"/>
          </p:cNvSpPr>
          <p:nvPr>
            <p:ph idx="1"/>
          </p:nvPr>
        </p:nvSpPr>
        <p:spPr>
          <a:xfrm>
            <a:off x="3432000" y="944563"/>
            <a:ext cx="6045000" cy="2825749"/>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Bildplatzhalter 8"/>
          <p:cNvSpPr>
            <a:spLocks noGrp="1"/>
          </p:cNvSpPr>
          <p:nvPr>
            <p:ph type="pic" sz="quarter" idx="14"/>
          </p:nvPr>
        </p:nvSpPr>
        <p:spPr>
          <a:xfrm>
            <a:off x="415925" y="944563"/>
            <a:ext cx="2772000" cy="2772000"/>
          </a:xfrm>
        </p:spPr>
        <p:txBody>
          <a:bodyPr lIns="0" tIns="180000" rIns="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10" name="Bildplatzhalter 8"/>
          <p:cNvSpPr>
            <a:spLocks noGrp="1"/>
          </p:cNvSpPr>
          <p:nvPr>
            <p:ph type="pic" sz="quarter" idx="15"/>
          </p:nvPr>
        </p:nvSpPr>
        <p:spPr>
          <a:xfrm>
            <a:off x="417009" y="3825650"/>
            <a:ext cx="2772000" cy="2772000"/>
          </a:xfrm>
        </p:spPr>
        <p:txBody>
          <a:bodyPr lIns="0" tIns="180000" rIns="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11" name="Inhaltsplatzhalter 2"/>
          <p:cNvSpPr>
            <a:spLocks noGrp="1"/>
          </p:cNvSpPr>
          <p:nvPr>
            <p:ph idx="16"/>
          </p:nvPr>
        </p:nvSpPr>
        <p:spPr>
          <a:xfrm>
            <a:off x="3432000" y="3770313"/>
            <a:ext cx="6045000" cy="2827337"/>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2"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3"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984526223"/>
      </p:ext>
    </p:extLst>
  </p:cSld>
  <p:clrMapOvr>
    <a:masterClrMapping/>
  </p:clrMapOvr>
  <p:transition>
    <p:zoom/>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contents matrix">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11663" y="944563"/>
            <a:ext cx="4426875"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Inhaltsplatzhalter 3"/>
          <p:cNvSpPr>
            <a:spLocks noGrp="1"/>
          </p:cNvSpPr>
          <p:nvPr>
            <p:ph sz="half" idx="2"/>
          </p:nvPr>
        </p:nvSpPr>
        <p:spPr>
          <a:xfrm>
            <a:off x="411663" y="3770312"/>
            <a:ext cx="4426875"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12" name="Inhaltsplatzhalter 3"/>
          <p:cNvSpPr>
            <a:spLocks noGrp="1"/>
          </p:cNvSpPr>
          <p:nvPr>
            <p:ph sz="half" idx="15"/>
          </p:nvPr>
        </p:nvSpPr>
        <p:spPr>
          <a:xfrm>
            <a:off x="5061504" y="944563"/>
            <a:ext cx="4428000"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5" name="Inhaltsplatzhalter 3"/>
          <p:cNvSpPr>
            <a:spLocks noGrp="1"/>
          </p:cNvSpPr>
          <p:nvPr>
            <p:ph sz="half" idx="18"/>
          </p:nvPr>
        </p:nvSpPr>
        <p:spPr>
          <a:xfrm>
            <a:off x="5061504" y="3770312"/>
            <a:ext cx="4428000"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1"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3"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651701161"/>
      </p:ext>
    </p:extLst>
  </p:cSld>
  <p:clrMapOvr>
    <a:masterClrMapping/>
  </p:clrMapOvr>
  <p:transition>
    <p:zoom/>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Only title + subheadlin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en-US" dirty="0">
              <a:solidFill>
                <a:srgbClr val="8064A2"/>
              </a:solidFill>
            </a:endParaRPr>
          </a:p>
        </p:txBody>
      </p:sp>
      <p:sp>
        <p:nvSpPr>
          <p:cNvPr id="4" name="Fußzeilenplatzhalter 3"/>
          <p:cNvSpPr>
            <a:spLocks noGrp="1"/>
          </p:cNvSpPr>
          <p:nvPr>
            <p:ph type="ftr" sz="quarter" idx="11"/>
          </p:nvPr>
        </p:nvSpPr>
        <p:spPr/>
        <p:txBody>
          <a:bodyPr/>
          <a:lstStyle/>
          <a:p>
            <a:pPr>
              <a:defRPr/>
            </a:pPr>
            <a:endParaRPr lang="en-US">
              <a:solidFill>
                <a:srgbClr val="1F497D"/>
              </a:solidFill>
            </a:endParaRPr>
          </a:p>
        </p:txBody>
      </p:sp>
      <p:sp>
        <p:nvSpPr>
          <p:cNvPr id="5" name="Foliennummernplatzhalter 4"/>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7"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8"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1713504541"/>
      </p:ext>
    </p:extLst>
  </p:cSld>
  <p:clrMapOvr>
    <a:masterClrMapping/>
  </p:clrMapOvr>
  <p:transition>
    <p:zoom/>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509184961"/>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297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9" name="Rechteck 8"/>
          <p:cNvSpPr/>
          <p:nvPr/>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13" name="Bildplatzhalter 8"/>
          <p:cNvSpPr>
            <a:spLocks noGrp="1"/>
          </p:cNvSpPr>
          <p:nvPr>
            <p:ph type="pic" sz="quarter" idx="14"/>
          </p:nvPr>
        </p:nvSpPr>
        <p:spPr>
          <a:xfrm>
            <a:off x="0" y="0"/>
            <a:ext cx="9906000" cy="4284406"/>
          </a:xfrm>
        </p:spPr>
        <p:txBody>
          <a:bodyPr lIns="396000" tIns="180000" rIns="39600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2" name="Titel 1"/>
          <p:cNvSpPr>
            <a:spLocks noGrp="1"/>
          </p:cNvSpPr>
          <p:nvPr>
            <p:ph type="title" hasCustomPrompt="1"/>
          </p:nvPr>
        </p:nvSpPr>
        <p:spPr>
          <a:xfrm>
            <a:off x="416496" y="4680000"/>
            <a:ext cx="7020000" cy="1800000"/>
          </a:xfrm>
        </p:spPr>
        <p:txBody>
          <a:bodyPr anchor="t"/>
          <a:lstStyle>
            <a:lvl1pPr algn="l">
              <a:defRPr sz="3200" b="0" cap="all" baseline="0">
                <a:sym typeface="Wingdings" panose="05000000000000000000" pitchFamily="2" charset="2"/>
              </a:defRPr>
            </a:lvl1pPr>
          </a:lstStyle>
          <a:p>
            <a:r>
              <a:rPr lang="en-US" noProof="0" dirty="0" smtClean="0"/>
              <a:t>Chapter slide</a:t>
            </a:r>
            <a:br>
              <a:rPr lang="en-US" noProof="0" dirty="0" smtClean="0"/>
            </a:br>
            <a:r>
              <a:rPr lang="en-US" noProof="0" dirty="0" smtClean="0"/>
              <a:t>(Chapter no.  right)</a:t>
            </a:r>
            <a:endParaRPr lang="en-US" noProof="0" dirty="0"/>
          </a:p>
        </p:txBody>
      </p:sp>
      <p:sp>
        <p:nvSpPr>
          <p:cNvPr id="11" name="Rechteck 10"/>
          <p:cNvSpPr/>
          <p:nvPr/>
        </p:nvSpPr>
        <p:spPr>
          <a:xfrm>
            <a:off x="0" y="4320000"/>
            <a:ext cx="9906000" cy="72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3" name="Textplatzhalter 2"/>
          <p:cNvSpPr>
            <a:spLocks noGrp="1"/>
          </p:cNvSpPr>
          <p:nvPr>
            <p:ph type="body" idx="1" hasCustomPrompt="1"/>
          </p:nvPr>
        </p:nvSpPr>
        <p:spPr>
          <a:xfrm>
            <a:off x="7761000" y="3019334"/>
            <a:ext cx="2145000" cy="1260000"/>
          </a:xfrm>
          <a:solidFill>
            <a:schemeClr val="bg1">
              <a:alpha val="85000"/>
            </a:schemeClr>
          </a:solidFill>
        </p:spPr>
        <p:txBody>
          <a:bodyPr lIns="180000" tIns="72000" rIns="396000" bIns="72000" anchor="ctr" anchorCtr="0"/>
          <a:lstStyle>
            <a:lvl1pPr marL="0" indent="0">
              <a:buNone/>
              <a:defRPr sz="6000" b="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01</a:t>
            </a:r>
          </a:p>
        </p:txBody>
      </p:sp>
      <p:pic>
        <p:nvPicPr>
          <p:cNvPr id="15" name="Grafik 1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888802" y="4680000"/>
            <a:ext cx="1587524" cy="650566"/>
          </a:xfrm>
          <a:prstGeom prst="rect">
            <a:avLst/>
          </a:prstGeom>
        </p:spPr>
      </p:pic>
    </p:spTree>
    <p:extLst>
      <p:ext uri="{BB962C8B-B14F-4D97-AF65-F5344CB8AC3E}">
        <p14:creationId xmlns:p14="http://schemas.microsoft.com/office/powerpoint/2010/main" val="2755531866"/>
      </p:ext>
    </p:extLst>
  </p:cSld>
  <p:clrMapOvr>
    <a:masterClrMapping/>
  </p:clrMapOvr>
  <p:transition>
    <p:zoom/>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full faced with title bandero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403032850"/>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3081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3" name="Bildplatzhalter 2"/>
          <p:cNvSpPr>
            <a:spLocks noGrp="1"/>
          </p:cNvSpPr>
          <p:nvPr>
            <p:ph type="pic" idx="1"/>
          </p:nvPr>
        </p:nvSpPr>
        <p:spPr>
          <a:xfrm>
            <a:off x="0" y="944563"/>
            <a:ext cx="9906000" cy="5653087"/>
          </a:xfrm>
        </p:spPr>
        <p:txBody>
          <a:bodyPr lIns="396000" tIns="180000" rIns="396000" bIns="180000"/>
          <a:lstStyle>
            <a:lvl1pPr marL="0" indent="0">
              <a:buNone/>
              <a:defRPr sz="1600">
                <a:solidFill>
                  <a:schemeClr val="accent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smtClean="0"/>
              <a:t>Click icon to add picture</a:t>
            </a:r>
            <a:endParaRPr lang="en-US" noProof="0" dirty="0"/>
          </a:p>
        </p:txBody>
      </p:sp>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2" name="Titel 1"/>
          <p:cNvSpPr>
            <a:spLocks noGrp="1"/>
          </p:cNvSpPr>
          <p:nvPr>
            <p:ph type="title" hasCustomPrompt="1"/>
          </p:nvPr>
        </p:nvSpPr>
        <p:spPr>
          <a:xfrm>
            <a:off x="-1" y="4500000"/>
            <a:ext cx="9906000" cy="720000"/>
          </a:xfrm>
          <a:solidFill>
            <a:srgbClr val="FFFFFF">
              <a:alpha val="90000"/>
            </a:srgbClr>
          </a:solidFill>
        </p:spPr>
        <p:txBody>
          <a:bodyPr lIns="396000" tIns="36000" rIns="396000" bIns="36000" anchor="b"/>
          <a:lstStyle>
            <a:lvl1pPr algn="l">
              <a:defRPr sz="2400" b="0" baseline="0"/>
            </a:lvl1pPr>
          </a:lstStyle>
          <a:p>
            <a:r>
              <a:rPr lang="en-US" noProof="0" dirty="0" smtClean="0"/>
              <a:t>Slide Title single spaced</a:t>
            </a:r>
            <a:endParaRPr lang="en-US" noProof="0" dirty="0"/>
          </a:p>
        </p:txBody>
      </p:sp>
      <p:sp>
        <p:nvSpPr>
          <p:cNvPr id="4" name="Textplatzhalter 3"/>
          <p:cNvSpPr>
            <a:spLocks noGrp="1"/>
          </p:cNvSpPr>
          <p:nvPr>
            <p:ph type="body" sz="half" idx="2" hasCustomPrompt="1"/>
          </p:nvPr>
        </p:nvSpPr>
        <p:spPr>
          <a:xfrm>
            <a:off x="0" y="5220000"/>
            <a:ext cx="9906000" cy="540000"/>
          </a:xfrm>
          <a:solidFill>
            <a:srgbClr val="FFFFFF">
              <a:alpha val="75000"/>
            </a:srgbClr>
          </a:solidFill>
        </p:spPr>
        <p:txBody>
          <a:bodyPr lIns="396000" tIns="36000" rIns="396000" bIns="36000"/>
          <a:lstStyle>
            <a:lvl1pPr marL="0" indent="0">
              <a:buNone/>
              <a:defRPr sz="2000" cap="all"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Subheadline single spaced</a:t>
            </a:r>
          </a:p>
        </p:txBody>
      </p:sp>
    </p:spTree>
    <p:extLst>
      <p:ext uri="{BB962C8B-B14F-4D97-AF65-F5344CB8AC3E}">
        <p14:creationId xmlns:p14="http://schemas.microsoft.com/office/powerpoint/2010/main" val="619286975"/>
      </p:ext>
    </p:extLst>
  </p:cSld>
  <p:clrMapOvr>
    <a:masterClrMapping/>
  </p:clrMapOvr>
  <p:transition>
    <p:zoom/>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Closing slid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533652035"/>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3183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9" name="Rechteck 8"/>
          <p:cNvSpPr/>
          <p:nvPr/>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2" name="Titel 1"/>
          <p:cNvSpPr>
            <a:spLocks noGrp="1"/>
          </p:cNvSpPr>
          <p:nvPr>
            <p:ph type="title" hasCustomPrompt="1"/>
          </p:nvPr>
        </p:nvSpPr>
        <p:spPr>
          <a:xfrm>
            <a:off x="407095" y="2924944"/>
            <a:ext cx="7020000" cy="1035056"/>
          </a:xfrm>
        </p:spPr>
        <p:txBody>
          <a:bodyPr anchor="b" anchorCtr="0"/>
          <a:lstStyle>
            <a:lvl1pPr algn="l">
              <a:defRPr sz="3200" b="0" cap="all" baseline="0"/>
            </a:lvl1pPr>
          </a:lstStyle>
          <a:p>
            <a:r>
              <a:rPr lang="en-US" noProof="0" dirty="0" smtClean="0"/>
              <a:t>Many thanks for your attention.</a:t>
            </a:r>
            <a:endParaRPr lang="en-US" noProof="0" dirty="0"/>
          </a:p>
        </p:txBody>
      </p:sp>
      <p:sp>
        <p:nvSpPr>
          <p:cNvPr id="3" name="Textplatzhalter 2"/>
          <p:cNvSpPr>
            <a:spLocks noGrp="1"/>
          </p:cNvSpPr>
          <p:nvPr>
            <p:ph type="body" idx="1" hasCustomPrompt="1"/>
          </p:nvPr>
        </p:nvSpPr>
        <p:spPr>
          <a:xfrm>
            <a:off x="407095" y="4608000"/>
            <a:ext cx="7020000" cy="1800000"/>
          </a:xfrm>
        </p:spPr>
        <p:txBody>
          <a:bodyPr tIns="0" anchor="t" anchorCtr="0"/>
          <a:lstStyle>
            <a:lvl1pPr marL="0" indent="0">
              <a:buNone/>
              <a:defRPr sz="2000" baseline="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ntact person</a:t>
            </a:r>
            <a:br>
              <a:rPr lang="en-US" noProof="0" dirty="0" smtClean="0"/>
            </a:br>
            <a:r>
              <a:rPr lang="en-US" noProof="0" dirty="0" smtClean="0"/>
              <a:t>Department</a:t>
            </a:r>
            <a:br>
              <a:rPr lang="en-US" noProof="0" dirty="0" smtClean="0"/>
            </a:br>
            <a:r>
              <a:rPr lang="en-US" noProof="0" dirty="0" smtClean="0"/>
              <a:t>As needed phone / e-mail</a:t>
            </a:r>
          </a:p>
        </p:txBody>
      </p:sp>
      <p:sp>
        <p:nvSpPr>
          <p:cNvPr id="12" name="Rechteck 11"/>
          <p:cNvSpPr/>
          <p:nvPr/>
        </p:nvSpPr>
        <p:spPr>
          <a:xfrm>
            <a:off x="0" y="4320000"/>
            <a:ext cx="9906000" cy="72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pic>
        <p:nvPicPr>
          <p:cNvPr id="8" name="Grafik 7"/>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888802" y="4680000"/>
            <a:ext cx="1587524" cy="650566"/>
          </a:xfrm>
          <a:prstGeom prst="rect">
            <a:avLst/>
          </a:prstGeom>
        </p:spPr>
      </p:pic>
    </p:spTree>
    <p:extLst>
      <p:ext uri="{BB962C8B-B14F-4D97-AF65-F5344CB8AC3E}">
        <p14:creationId xmlns:p14="http://schemas.microsoft.com/office/powerpoint/2010/main" val="3206718421"/>
      </p:ext>
    </p:extLst>
  </p:cSld>
  <p:clrMapOvr>
    <a:masterClrMapping/>
  </p:clrMapOvr>
  <p:transition>
    <p:zoom/>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79480235"/>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3286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9" name="Rechteck 8"/>
          <p:cNvSpPr/>
          <p:nvPr/>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700">
              <a:solidFill>
                <a:prstClr val="white"/>
              </a:solidFill>
            </a:endParaRPr>
          </a:p>
        </p:txBody>
      </p:sp>
    </p:spTree>
    <p:extLst>
      <p:ext uri="{BB962C8B-B14F-4D97-AF65-F5344CB8AC3E}">
        <p14:creationId xmlns:p14="http://schemas.microsoft.com/office/powerpoint/2010/main" val="2497425348"/>
      </p:ext>
    </p:extLst>
  </p:cSld>
  <p:clrMapOvr>
    <a:masterClrMapping/>
  </p:clrMapOvr>
  <p:transition>
    <p:zoom/>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smtClean="0"/>
              <a:t>Click to edit Master title style</a:t>
            </a:r>
            <a:endParaRPr lang="ru-RU"/>
          </a:p>
        </p:txBody>
      </p:sp>
      <p:sp>
        <p:nvSpPr>
          <p:cNvPr id="3" name="Rectangle 4"/>
          <p:cNvSpPr>
            <a:spLocks noGrp="1" noChangeArrowheads="1"/>
          </p:cNvSpPr>
          <p:nvPr>
            <p:ph type="ftr" sz="quarter" idx="10"/>
          </p:nvPr>
        </p:nvSpPr>
        <p:spPr>
          <a:ln/>
        </p:spPr>
        <p:txBody>
          <a:bodyPr/>
          <a:lstStyle>
            <a:lvl1pPr>
              <a:defRPr/>
            </a:lvl1pPr>
          </a:lstStyle>
          <a:p>
            <a:pPr>
              <a:defRPr/>
            </a:pPr>
            <a:endParaRPr lang="en-US">
              <a:solidFill>
                <a:srgbClr val="1F497D"/>
              </a:solidFill>
            </a:endParaRPr>
          </a:p>
        </p:txBody>
      </p:sp>
      <p:sp>
        <p:nvSpPr>
          <p:cNvPr id="4" name="Rectangle 5"/>
          <p:cNvSpPr>
            <a:spLocks noGrp="1" noChangeArrowheads="1"/>
          </p:cNvSpPr>
          <p:nvPr>
            <p:ph type="sldNum" sz="quarter" idx="11"/>
          </p:nvPr>
        </p:nvSpPr>
        <p:spPr>
          <a:ln/>
        </p:spPr>
        <p:txBody>
          <a:bodyPr/>
          <a:lstStyle>
            <a:lvl1pPr>
              <a:defRPr/>
            </a:lvl1pPr>
          </a:lstStyle>
          <a:p>
            <a:pPr>
              <a:defRPr/>
            </a:pPr>
            <a:fld id="{F80DF1CE-CD36-45B8-9258-D3B3E84662B3}" type="slidenum">
              <a:rPr lang="en-US">
                <a:solidFill>
                  <a:srgbClr val="8064A2"/>
                </a:solidFill>
              </a:rPr>
              <a:pPr>
                <a:defRPr/>
              </a:pPr>
              <a:t>‹#›</a:t>
            </a:fld>
            <a:endParaRPr lang="en-US">
              <a:solidFill>
                <a:srgbClr val="8064A2"/>
              </a:solidFill>
            </a:endParaRPr>
          </a:p>
        </p:txBody>
      </p:sp>
    </p:spTree>
    <p:extLst>
      <p:ext uri="{BB962C8B-B14F-4D97-AF65-F5344CB8AC3E}">
        <p14:creationId xmlns:p14="http://schemas.microsoft.com/office/powerpoint/2010/main" val="1304709307"/>
      </p:ext>
    </p:extLst>
  </p:cSld>
  <p:clrMapOvr>
    <a:masterClrMapping/>
  </p:clrMapOvr>
  <p:transition>
    <p:zoom/>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clipArtAndTx">
  <p:cSld name="Заголовок, клип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a:prstGeom prst="rect">
            <a:avLst/>
          </a:prstGeom>
        </p:spPr>
        <p:txBody>
          <a:bodyPr/>
          <a:lstStyle/>
          <a:p>
            <a:r>
              <a:rPr lang="en-US" smtClean="0"/>
              <a:t>Click to edit Master title style</a:t>
            </a:r>
            <a:endParaRPr lang="ru-RU"/>
          </a:p>
        </p:txBody>
      </p:sp>
      <p:sp>
        <p:nvSpPr>
          <p:cNvPr id="3" name="Клип 2"/>
          <p:cNvSpPr>
            <a:spLocks noGrp="1"/>
          </p:cNvSpPr>
          <p:nvPr>
            <p:ph type="clipArt" sz="half" idx="1"/>
          </p:nvPr>
        </p:nvSpPr>
        <p:spPr>
          <a:xfrm>
            <a:off x="495300" y="1600203"/>
            <a:ext cx="4375150" cy="4525963"/>
          </a:xfrm>
          <a:prstGeom prst="rect">
            <a:avLst/>
          </a:prstGeom>
        </p:spPr>
        <p:txBody>
          <a:bodyPr/>
          <a:lstStyle/>
          <a:p>
            <a:pPr lvl="0"/>
            <a:r>
              <a:rPr lang="en-US" noProof="0" smtClean="0"/>
              <a:t>Click icon to add clip art</a:t>
            </a:r>
            <a:endParaRPr lang="ru-RU" noProof="0"/>
          </a:p>
        </p:txBody>
      </p:sp>
      <p:sp>
        <p:nvSpPr>
          <p:cNvPr id="4" name="Текст 3"/>
          <p:cNvSpPr>
            <a:spLocks noGrp="1"/>
          </p:cNvSpPr>
          <p:nvPr>
            <p:ph type="body" sz="half" idx="2"/>
          </p:nvPr>
        </p:nvSpPr>
        <p:spPr>
          <a:xfrm>
            <a:off x="5035550" y="1600203"/>
            <a:ext cx="437515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Tree>
    <p:extLst>
      <p:ext uri="{BB962C8B-B14F-4D97-AF65-F5344CB8AC3E}">
        <p14:creationId xmlns:p14="http://schemas.microsoft.com/office/powerpoint/2010/main" val="4426823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2"/>
          <p:cNvSpPr>
            <a:spLocks noChangeArrowheads="1"/>
          </p:cNvSpPr>
          <p:nvPr/>
        </p:nvSpPr>
        <p:spPr bwMode="auto">
          <a:xfrm>
            <a:off x="346075" y="2817813"/>
            <a:ext cx="9559925" cy="2447925"/>
          </a:xfrm>
          <a:prstGeom prst="rect">
            <a:avLst/>
          </a:prstGeom>
          <a:solidFill>
            <a:srgbClr val="0084C2"/>
          </a:solidFill>
          <a:ln>
            <a:noFill/>
          </a:ln>
          <a:extLst/>
        </p:spPr>
        <p:txBody>
          <a:bodyPr wrap="none" anchor="ct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algn="ctr" eaLnBrk="1" fontAlgn="base" hangingPunct="1">
              <a:spcBef>
                <a:spcPct val="20000"/>
              </a:spcBef>
              <a:spcAft>
                <a:spcPct val="0"/>
              </a:spcAft>
              <a:buClr>
                <a:srgbClr val="0084C2"/>
              </a:buClr>
              <a:buSzPct val="130000"/>
              <a:buFont typeface="Times New Roman" pitchFamily="18" charset="0"/>
              <a:buNone/>
              <a:defRPr/>
            </a:pPr>
            <a:endParaRPr lang="ru-RU" altLang="en-US" smtClean="0">
              <a:solidFill>
                <a:srgbClr val="000000"/>
              </a:solidFill>
            </a:endParaRPr>
          </a:p>
        </p:txBody>
      </p:sp>
      <p:sp>
        <p:nvSpPr>
          <p:cNvPr id="5" name="Rectangle 3"/>
          <p:cNvSpPr>
            <a:spLocks noChangeArrowheads="1"/>
          </p:cNvSpPr>
          <p:nvPr/>
        </p:nvSpPr>
        <p:spPr bwMode="auto">
          <a:xfrm>
            <a:off x="595313" y="4114800"/>
            <a:ext cx="7667625" cy="1152525"/>
          </a:xfrm>
          <a:prstGeom prst="rect">
            <a:avLst/>
          </a:prstGeom>
          <a:solidFill>
            <a:schemeClr val="accent2"/>
          </a:solidFill>
          <a:ln>
            <a:noFill/>
          </a:ln>
          <a:extLst/>
        </p:spPr>
        <p:txBody>
          <a:bodyPr wrap="none" anchor="ct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algn="ctr" eaLnBrk="1" fontAlgn="base" hangingPunct="1">
              <a:spcBef>
                <a:spcPct val="20000"/>
              </a:spcBef>
              <a:spcAft>
                <a:spcPct val="0"/>
              </a:spcAft>
              <a:buClr>
                <a:srgbClr val="0084C2"/>
              </a:buClr>
              <a:buSzPct val="130000"/>
              <a:buFont typeface="Times New Roman" pitchFamily="18" charset="0"/>
              <a:buNone/>
              <a:defRPr/>
            </a:pPr>
            <a:endParaRPr lang="ru-RU" altLang="en-US" smtClean="0">
              <a:solidFill>
                <a:srgbClr val="000000"/>
              </a:solidFill>
            </a:endParaRPr>
          </a:p>
        </p:txBody>
      </p:sp>
      <p:sp>
        <p:nvSpPr>
          <p:cNvPr id="6" name="Rectangle 4"/>
          <p:cNvSpPr>
            <a:spLocks noChangeArrowheads="1"/>
          </p:cNvSpPr>
          <p:nvPr/>
        </p:nvSpPr>
        <p:spPr bwMode="auto">
          <a:xfrm>
            <a:off x="593725" y="4114800"/>
            <a:ext cx="7672388" cy="1511300"/>
          </a:xfrm>
          <a:prstGeom prst="rect">
            <a:avLst/>
          </a:prstGeom>
          <a:noFill/>
          <a:ln w="9525">
            <a:solidFill>
              <a:schemeClr val="hlink"/>
            </a:solidFill>
            <a:miter lim="800000"/>
            <a:headEnd/>
            <a:tailEnd/>
          </a:ln>
          <a:extLst/>
        </p:spPr>
        <p:txBody>
          <a:bodyPr wrap="none" anchor="ct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algn="ctr" eaLnBrk="1" fontAlgn="base" hangingPunct="1">
              <a:spcBef>
                <a:spcPct val="20000"/>
              </a:spcBef>
              <a:spcAft>
                <a:spcPct val="0"/>
              </a:spcAft>
              <a:buClr>
                <a:srgbClr val="0084C2"/>
              </a:buClr>
              <a:buSzPct val="130000"/>
              <a:buFont typeface="Times New Roman" pitchFamily="18" charset="0"/>
              <a:buNone/>
              <a:defRPr/>
            </a:pPr>
            <a:endParaRPr lang="ru-RU" altLang="en-US" smtClean="0">
              <a:solidFill>
                <a:srgbClr val="000000"/>
              </a:solidFill>
            </a:endParaRPr>
          </a:p>
        </p:txBody>
      </p:sp>
      <p:grpSp>
        <p:nvGrpSpPr>
          <p:cNvPr id="7" name="Group 7"/>
          <p:cNvGrpSpPr>
            <a:grpSpLocks/>
          </p:cNvGrpSpPr>
          <p:nvPr/>
        </p:nvGrpSpPr>
        <p:grpSpPr bwMode="auto">
          <a:xfrm>
            <a:off x="8266113" y="150813"/>
            <a:ext cx="1295400" cy="528637"/>
            <a:chOff x="5207" y="95"/>
            <a:chExt cx="816" cy="333"/>
          </a:xfrm>
        </p:grpSpPr>
        <p:sp>
          <p:nvSpPr>
            <p:cNvPr id="8" name="AutoShape 8"/>
            <p:cNvSpPr>
              <a:spLocks noChangeAspect="1" noChangeArrowheads="1" noTextEdit="1"/>
            </p:cNvSpPr>
            <p:nvPr userDrawn="1"/>
          </p:nvSpPr>
          <p:spPr bwMode="auto">
            <a:xfrm>
              <a:off x="5207" y="95"/>
              <a:ext cx="816" cy="333"/>
            </a:xfrm>
            <a:prstGeom prst="rect">
              <a:avLst/>
            </a:prstGeom>
            <a:noFill/>
            <a:ln w="9525">
              <a:noFill/>
              <a:miter lim="800000"/>
              <a:headEnd/>
              <a:tailEnd/>
            </a:ln>
          </p:spPr>
          <p:txBody>
            <a:bodyPr/>
            <a:lstStyle/>
            <a:p>
              <a:pPr fontAlgn="base">
                <a:spcBef>
                  <a:spcPct val="0"/>
                </a:spcBef>
                <a:spcAft>
                  <a:spcPct val="0"/>
                </a:spcAft>
                <a:defRPr/>
              </a:pPr>
              <a:endParaRPr lang="ru-RU" sz="1700">
                <a:solidFill>
                  <a:srgbClr val="000000"/>
                </a:solidFill>
              </a:endParaRPr>
            </a:p>
          </p:txBody>
        </p:sp>
        <p:sp>
          <p:nvSpPr>
            <p:cNvPr id="9" name="Freeform 9"/>
            <p:cNvSpPr>
              <a:spLocks/>
            </p:cNvSpPr>
            <p:nvPr userDrawn="1"/>
          </p:nvSpPr>
          <p:spPr bwMode="auto">
            <a:xfrm>
              <a:off x="5208" y="98"/>
              <a:ext cx="165" cy="184"/>
            </a:xfrm>
            <a:custGeom>
              <a:avLst/>
              <a:gdLst>
                <a:gd name="T0" fmla="*/ 0 w 3308"/>
                <a:gd name="T1" fmla="*/ 0 h 3663"/>
                <a:gd name="T2" fmla="*/ 0 w 3308"/>
                <a:gd name="T3" fmla="*/ 0 h 3663"/>
                <a:gd name="T4" fmla="*/ 0 w 3308"/>
                <a:gd name="T5" fmla="*/ 0 h 3663"/>
                <a:gd name="T6" fmla="*/ 0 w 3308"/>
                <a:gd name="T7" fmla="*/ 0 h 3663"/>
                <a:gd name="T8" fmla="*/ 0 w 3308"/>
                <a:gd name="T9" fmla="*/ 0 h 3663"/>
                <a:gd name="T10" fmla="*/ 0 w 3308"/>
                <a:gd name="T11" fmla="*/ 0 h 3663"/>
                <a:gd name="T12" fmla="*/ 0 w 3308"/>
                <a:gd name="T13" fmla="*/ 0 h 3663"/>
                <a:gd name="T14" fmla="*/ 0 w 3308"/>
                <a:gd name="T15" fmla="*/ 0 h 3663"/>
                <a:gd name="T16" fmla="*/ 0 w 3308"/>
                <a:gd name="T17" fmla="*/ 0 h 3663"/>
                <a:gd name="T18" fmla="*/ 0 w 3308"/>
                <a:gd name="T19" fmla="*/ 0 h 3663"/>
                <a:gd name="T20" fmla="*/ 0 w 3308"/>
                <a:gd name="T21" fmla="*/ 0 h 3663"/>
                <a:gd name="T22" fmla="*/ 0 w 3308"/>
                <a:gd name="T23" fmla="*/ 0 h 3663"/>
                <a:gd name="T24" fmla="*/ 0 w 3308"/>
                <a:gd name="T25" fmla="*/ 0 h 3663"/>
                <a:gd name="T26" fmla="*/ 0 w 3308"/>
                <a:gd name="T27" fmla="*/ 0 h 3663"/>
                <a:gd name="T28" fmla="*/ 0 w 3308"/>
                <a:gd name="T29" fmla="*/ 0 h 3663"/>
                <a:gd name="T30" fmla="*/ 0 w 3308"/>
                <a:gd name="T31" fmla="*/ 0 h 3663"/>
                <a:gd name="T32" fmla="*/ 0 w 3308"/>
                <a:gd name="T33" fmla="*/ 0 h 3663"/>
                <a:gd name="T34" fmla="*/ 0 w 3308"/>
                <a:gd name="T35" fmla="*/ 0 h 3663"/>
                <a:gd name="T36" fmla="*/ 0 w 3308"/>
                <a:gd name="T37" fmla="*/ 0 h 3663"/>
                <a:gd name="T38" fmla="*/ 0 w 3308"/>
                <a:gd name="T39" fmla="*/ 0 h 3663"/>
                <a:gd name="T40" fmla="*/ 0 w 3308"/>
                <a:gd name="T41" fmla="*/ 0 h 3663"/>
                <a:gd name="T42" fmla="*/ 0 w 3308"/>
                <a:gd name="T43" fmla="*/ 0 h 3663"/>
                <a:gd name="T44" fmla="*/ 0 w 3308"/>
                <a:gd name="T45" fmla="*/ 0 h 3663"/>
                <a:gd name="T46" fmla="*/ 0 w 3308"/>
                <a:gd name="T47" fmla="*/ 0 h 3663"/>
                <a:gd name="T48" fmla="*/ 0 w 3308"/>
                <a:gd name="T49" fmla="*/ 0 h 3663"/>
                <a:gd name="T50" fmla="*/ 0 w 3308"/>
                <a:gd name="T51" fmla="*/ 0 h 3663"/>
                <a:gd name="T52" fmla="*/ 0 w 3308"/>
                <a:gd name="T53" fmla="*/ 0 h 3663"/>
                <a:gd name="T54" fmla="*/ 0 w 3308"/>
                <a:gd name="T55" fmla="*/ 0 h 3663"/>
                <a:gd name="T56" fmla="*/ 0 w 3308"/>
                <a:gd name="T57" fmla="*/ 0 h 3663"/>
                <a:gd name="T58" fmla="*/ 0 w 3308"/>
                <a:gd name="T59" fmla="*/ 0 h 3663"/>
                <a:gd name="T60" fmla="*/ 0 w 3308"/>
                <a:gd name="T61" fmla="*/ 0 h 3663"/>
                <a:gd name="T62" fmla="*/ 0 w 3308"/>
                <a:gd name="T63" fmla="*/ 0 h 3663"/>
                <a:gd name="T64" fmla="*/ 0 w 3308"/>
                <a:gd name="T65" fmla="*/ 0 h 3663"/>
                <a:gd name="T66" fmla="*/ 0 w 3308"/>
                <a:gd name="T67" fmla="*/ 0 h 3663"/>
                <a:gd name="T68" fmla="*/ 0 w 3308"/>
                <a:gd name="T69" fmla="*/ 0 h 3663"/>
                <a:gd name="T70" fmla="*/ 0 w 3308"/>
                <a:gd name="T71" fmla="*/ 0 h 3663"/>
                <a:gd name="T72" fmla="*/ 0 w 3308"/>
                <a:gd name="T73" fmla="*/ 0 h 3663"/>
                <a:gd name="T74" fmla="*/ 0 w 3308"/>
                <a:gd name="T75" fmla="*/ 0 h 3663"/>
                <a:gd name="T76" fmla="*/ 0 w 3308"/>
                <a:gd name="T77" fmla="*/ 0 h 3663"/>
                <a:gd name="T78" fmla="*/ 0 w 3308"/>
                <a:gd name="T79" fmla="*/ 0 h 3663"/>
                <a:gd name="T80" fmla="*/ 0 w 3308"/>
                <a:gd name="T81" fmla="*/ 0 h 3663"/>
                <a:gd name="T82" fmla="*/ 0 w 3308"/>
                <a:gd name="T83" fmla="*/ 0 h 3663"/>
                <a:gd name="T84" fmla="*/ 0 w 3308"/>
                <a:gd name="T85" fmla="*/ 0 h 3663"/>
                <a:gd name="T86" fmla="*/ 0 w 3308"/>
                <a:gd name="T87" fmla="*/ 0 h 3663"/>
                <a:gd name="T88" fmla="*/ 0 w 3308"/>
                <a:gd name="T89" fmla="*/ 0 h 3663"/>
                <a:gd name="T90" fmla="*/ 0 w 3308"/>
                <a:gd name="T91" fmla="*/ 0 h 3663"/>
                <a:gd name="T92" fmla="*/ 0 w 3308"/>
                <a:gd name="T93" fmla="*/ 0 h 3663"/>
                <a:gd name="T94" fmla="*/ 0 w 3308"/>
                <a:gd name="T95" fmla="*/ 0 h 3663"/>
                <a:gd name="T96" fmla="*/ 0 w 3308"/>
                <a:gd name="T97" fmla="*/ 0 h 3663"/>
                <a:gd name="T98" fmla="*/ 0 w 3308"/>
                <a:gd name="T99" fmla="*/ 0 h 3663"/>
                <a:gd name="T100" fmla="*/ 0 w 3308"/>
                <a:gd name="T101" fmla="*/ 0 h 3663"/>
                <a:gd name="T102" fmla="*/ 0 w 3308"/>
                <a:gd name="T103" fmla="*/ 0 h 3663"/>
                <a:gd name="T104" fmla="*/ 0 w 3308"/>
                <a:gd name="T105" fmla="*/ 0 h 3663"/>
                <a:gd name="T106" fmla="*/ 0 w 3308"/>
                <a:gd name="T107" fmla="*/ 0 h 3663"/>
                <a:gd name="T108" fmla="*/ 0 w 3308"/>
                <a:gd name="T109" fmla="*/ 0 h 3663"/>
                <a:gd name="T110" fmla="*/ 0 w 3308"/>
                <a:gd name="T111" fmla="*/ 0 h 3663"/>
                <a:gd name="T112" fmla="*/ 0 w 3308"/>
                <a:gd name="T113" fmla="*/ 0 h 3663"/>
                <a:gd name="T114" fmla="*/ 0 w 3308"/>
                <a:gd name="T115" fmla="*/ 0 h 36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308" h="3663">
                  <a:moveTo>
                    <a:pt x="6" y="2779"/>
                  </a:moveTo>
                  <a:lnTo>
                    <a:pt x="8" y="2836"/>
                  </a:lnTo>
                  <a:lnTo>
                    <a:pt x="13" y="2891"/>
                  </a:lnTo>
                  <a:lnTo>
                    <a:pt x="20" y="2944"/>
                  </a:lnTo>
                  <a:lnTo>
                    <a:pt x="31" y="2995"/>
                  </a:lnTo>
                  <a:lnTo>
                    <a:pt x="43" y="3044"/>
                  </a:lnTo>
                  <a:lnTo>
                    <a:pt x="60" y="3090"/>
                  </a:lnTo>
                  <a:lnTo>
                    <a:pt x="78" y="3135"/>
                  </a:lnTo>
                  <a:lnTo>
                    <a:pt x="99" y="3178"/>
                  </a:lnTo>
                  <a:lnTo>
                    <a:pt x="122" y="3219"/>
                  </a:lnTo>
                  <a:lnTo>
                    <a:pt x="147" y="3257"/>
                  </a:lnTo>
                  <a:lnTo>
                    <a:pt x="175" y="3295"/>
                  </a:lnTo>
                  <a:lnTo>
                    <a:pt x="204" y="3330"/>
                  </a:lnTo>
                  <a:lnTo>
                    <a:pt x="235" y="3363"/>
                  </a:lnTo>
                  <a:lnTo>
                    <a:pt x="269" y="3395"/>
                  </a:lnTo>
                  <a:lnTo>
                    <a:pt x="303" y="3424"/>
                  </a:lnTo>
                  <a:lnTo>
                    <a:pt x="340" y="3452"/>
                  </a:lnTo>
                  <a:lnTo>
                    <a:pt x="378" y="3478"/>
                  </a:lnTo>
                  <a:lnTo>
                    <a:pt x="417" y="3503"/>
                  </a:lnTo>
                  <a:lnTo>
                    <a:pt x="456" y="3525"/>
                  </a:lnTo>
                  <a:lnTo>
                    <a:pt x="498" y="3546"/>
                  </a:lnTo>
                  <a:lnTo>
                    <a:pt x="541" y="3565"/>
                  </a:lnTo>
                  <a:lnTo>
                    <a:pt x="584" y="3582"/>
                  </a:lnTo>
                  <a:lnTo>
                    <a:pt x="628" y="3597"/>
                  </a:lnTo>
                  <a:lnTo>
                    <a:pt x="673" y="3611"/>
                  </a:lnTo>
                  <a:lnTo>
                    <a:pt x="718" y="3623"/>
                  </a:lnTo>
                  <a:lnTo>
                    <a:pt x="764" y="3634"/>
                  </a:lnTo>
                  <a:lnTo>
                    <a:pt x="810" y="3642"/>
                  </a:lnTo>
                  <a:lnTo>
                    <a:pt x="857" y="3649"/>
                  </a:lnTo>
                  <a:lnTo>
                    <a:pt x="903" y="3656"/>
                  </a:lnTo>
                  <a:lnTo>
                    <a:pt x="950" y="3660"/>
                  </a:lnTo>
                  <a:lnTo>
                    <a:pt x="997" y="3662"/>
                  </a:lnTo>
                  <a:lnTo>
                    <a:pt x="1043" y="3663"/>
                  </a:lnTo>
                  <a:lnTo>
                    <a:pt x="1230" y="3663"/>
                  </a:lnTo>
                  <a:lnTo>
                    <a:pt x="1392" y="3663"/>
                  </a:lnTo>
                  <a:lnTo>
                    <a:pt x="1534" y="3663"/>
                  </a:lnTo>
                  <a:lnTo>
                    <a:pt x="1664" y="3663"/>
                  </a:lnTo>
                  <a:lnTo>
                    <a:pt x="1789" y="3663"/>
                  </a:lnTo>
                  <a:lnTo>
                    <a:pt x="1916" y="3663"/>
                  </a:lnTo>
                  <a:lnTo>
                    <a:pt x="2052" y="3663"/>
                  </a:lnTo>
                  <a:lnTo>
                    <a:pt x="2203" y="3663"/>
                  </a:lnTo>
                  <a:lnTo>
                    <a:pt x="2260" y="3661"/>
                  </a:lnTo>
                  <a:lnTo>
                    <a:pt x="2317" y="3656"/>
                  </a:lnTo>
                  <a:lnTo>
                    <a:pt x="2373" y="3647"/>
                  </a:lnTo>
                  <a:lnTo>
                    <a:pt x="2428" y="3636"/>
                  </a:lnTo>
                  <a:lnTo>
                    <a:pt x="2481" y="3623"/>
                  </a:lnTo>
                  <a:lnTo>
                    <a:pt x="2534" y="3606"/>
                  </a:lnTo>
                  <a:lnTo>
                    <a:pt x="2586" y="3586"/>
                  </a:lnTo>
                  <a:lnTo>
                    <a:pt x="2636" y="3564"/>
                  </a:lnTo>
                  <a:lnTo>
                    <a:pt x="2685" y="3538"/>
                  </a:lnTo>
                  <a:lnTo>
                    <a:pt x="2733" y="3512"/>
                  </a:lnTo>
                  <a:lnTo>
                    <a:pt x="2780" y="3482"/>
                  </a:lnTo>
                  <a:lnTo>
                    <a:pt x="2825" y="3451"/>
                  </a:lnTo>
                  <a:lnTo>
                    <a:pt x="2868" y="3416"/>
                  </a:lnTo>
                  <a:lnTo>
                    <a:pt x="2909" y="3381"/>
                  </a:lnTo>
                  <a:lnTo>
                    <a:pt x="2949" y="3343"/>
                  </a:lnTo>
                  <a:lnTo>
                    <a:pt x="2988" y="3303"/>
                  </a:lnTo>
                  <a:lnTo>
                    <a:pt x="3024" y="3263"/>
                  </a:lnTo>
                  <a:lnTo>
                    <a:pt x="3058" y="3220"/>
                  </a:lnTo>
                  <a:lnTo>
                    <a:pt x="3091" y="3176"/>
                  </a:lnTo>
                  <a:lnTo>
                    <a:pt x="3122" y="3130"/>
                  </a:lnTo>
                  <a:lnTo>
                    <a:pt x="3150" y="3083"/>
                  </a:lnTo>
                  <a:lnTo>
                    <a:pt x="3177" y="3035"/>
                  </a:lnTo>
                  <a:lnTo>
                    <a:pt x="3200" y="2987"/>
                  </a:lnTo>
                  <a:lnTo>
                    <a:pt x="3223" y="2937"/>
                  </a:lnTo>
                  <a:lnTo>
                    <a:pt x="3242" y="2886"/>
                  </a:lnTo>
                  <a:lnTo>
                    <a:pt x="3259" y="2834"/>
                  </a:lnTo>
                  <a:lnTo>
                    <a:pt x="3274" y="2782"/>
                  </a:lnTo>
                  <a:lnTo>
                    <a:pt x="3286" y="2730"/>
                  </a:lnTo>
                  <a:lnTo>
                    <a:pt x="3296" y="2676"/>
                  </a:lnTo>
                  <a:lnTo>
                    <a:pt x="3302" y="2623"/>
                  </a:lnTo>
                  <a:lnTo>
                    <a:pt x="3306" y="2570"/>
                  </a:lnTo>
                  <a:lnTo>
                    <a:pt x="3308" y="2516"/>
                  </a:lnTo>
                  <a:lnTo>
                    <a:pt x="3306" y="2458"/>
                  </a:lnTo>
                  <a:lnTo>
                    <a:pt x="3302" y="2401"/>
                  </a:lnTo>
                  <a:lnTo>
                    <a:pt x="3295" y="2345"/>
                  </a:lnTo>
                  <a:lnTo>
                    <a:pt x="3286" y="2290"/>
                  </a:lnTo>
                  <a:lnTo>
                    <a:pt x="3274" y="2236"/>
                  </a:lnTo>
                  <a:lnTo>
                    <a:pt x="3258" y="2183"/>
                  </a:lnTo>
                  <a:lnTo>
                    <a:pt x="3241" y="2131"/>
                  </a:lnTo>
                  <a:lnTo>
                    <a:pt x="3222" y="2080"/>
                  </a:lnTo>
                  <a:lnTo>
                    <a:pt x="3199" y="2032"/>
                  </a:lnTo>
                  <a:lnTo>
                    <a:pt x="3175" y="1983"/>
                  </a:lnTo>
                  <a:lnTo>
                    <a:pt x="3148" y="1936"/>
                  </a:lnTo>
                  <a:lnTo>
                    <a:pt x="3120" y="1891"/>
                  </a:lnTo>
                  <a:lnTo>
                    <a:pt x="3089" y="1847"/>
                  </a:lnTo>
                  <a:lnTo>
                    <a:pt x="3056" y="1805"/>
                  </a:lnTo>
                  <a:lnTo>
                    <a:pt x="3022" y="1765"/>
                  </a:lnTo>
                  <a:lnTo>
                    <a:pt x="2985" y="1726"/>
                  </a:lnTo>
                  <a:lnTo>
                    <a:pt x="2946" y="1688"/>
                  </a:lnTo>
                  <a:lnTo>
                    <a:pt x="2906" y="1654"/>
                  </a:lnTo>
                  <a:lnTo>
                    <a:pt x="2865" y="1620"/>
                  </a:lnTo>
                  <a:lnTo>
                    <a:pt x="2821" y="1589"/>
                  </a:lnTo>
                  <a:lnTo>
                    <a:pt x="2776" y="1560"/>
                  </a:lnTo>
                  <a:lnTo>
                    <a:pt x="2730" y="1533"/>
                  </a:lnTo>
                  <a:lnTo>
                    <a:pt x="2682" y="1507"/>
                  </a:lnTo>
                  <a:lnTo>
                    <a:pt x="2633" y="1485"/>
                  </a:lnTo>
                  <a:lnTo>
                    <a:pt x="2582" y="1464"/>
                  </a:lnTo>
                  <a:lnTo>
                    <a:pt x="2531" y="1446"/>
                  </a:lnTo>
                  <a:lnTo>
                    <a:pt x="2478" y="1430"/>
                  </a:lnTo>
                  <a:lnTo>
                    <a:pt x="2424" y="1417"/>
                  </a:lnTo>
                  <a:lnTo>
                    <a:pt x="2369" y="1405"/>
                  </a:lnTo>
                  <a:lnTo>
                    <a:pt x="2314" y="1397"/>
                  </a:lnTo>
                  <a:lnTo>
                    <a:pt x="2257" y="1392"/>
                  </a:lnTo>
                  <a:lnTo>
                    <a:pt x="2199" y="1389"/>
                  </a:lnTo>
                  <a:lnTo>
                    <a:pt x="1075" y="1389"/>
                  </a:lnTo>
                  <a:lnTo>
                    <a:pt x="1048" y="1383"/>
                  </a:lnTo>
                  <a:lnTo>
                    <a:pt x="1022" y="1375"/>
                  </a:lnTo>
                  <a:lnTo>
                    <a:pt x="998" y="1366"/>
                  </a:lnTo>
                  <a:lnTo>
                    <a:pt x="977" y="1353"/>
                  </a:lnTo>
                  <a:lnTo>
                    <a:pt x="957" y="1340"/>
                  </a:lnTo>
                  <a:lnTo>
                    <a:pt x="939" y="1326"/>
                  </a:lnTo>
                  <a:lnTo>
                    <a:pt x="922" y="1310"/>
                  </a:lnTo>
                  <a:lnTo>
                    <a:pt x="908" y="1291"/>
                  </a:lnTo>
                  <a:lnTo>
                    <a:pt x="895" y="1273"/>
                  </a:lnTo>
                  <a:lnTo>
                    <a:pt x="884" y="1254"/>
                  </a:lnTo>
                  <a:lnTo>
                    <a:pt x="875" y="1233"/>
                  </a:lnTo>
                  <a:lnTo>
                    <a:pt x="867" y="1212"/>
                  </a:lnTo>
                  <a:lnTo>
                    <a:pt x="862" y="1190"/>
                  </a:lnTo>
                  <a:lnTo>
                    <a:pt x="858" y="1168"/>
                  </a:lnTo>
                  <a:lnTo>
                    <a:pt x="856" y="1146"/>
                  </a:lnTo>
                  <a:lnTo>
                    <a:pt x="855" y="1123"/>
                  </a:lnTo>
                  <a:lnTo>
                    <a:pt x="856" y="1101"/>
                  </a:lnTo>
                  <a:lnTo>
                    <a:pt x="859" y="1078"/>
                  </a:lnTo>
                  <a:lnTo>
                    <a:pt x="864" y="1057"/>
                  </a:lnTo>
                  <a:lnTo>
                    <a:pt x="870" y="1035"/>
                  </a:lnTo>
                  <a:lnTo>
                    <a:pt x="879" y="1014"/>
                  </a:lnTo>
                  <a:lnTo>
                    <a:pt x="889" y="994"/>
                  </a:lnTo>
                  <a:lnTo>
                    <a:pt x="900" y="975"/>
                  </a:lnTo>
                  <a:lnTo>
                    <a:pt x="913" y="956"/>
                  </a:lnTo>
                  <a:lnTo>
                    <a:pt x="928" y="940"/>
                  </a:lnTo>
                  <a:lnTo>
                    <a:pt x="944" y="924"/>
                  </a:lnTo>
                  <a:lnTo>
                    <a:pt x="961" y="909"/>
                  </a:lnTo>
                  <a:lnTo>
                    <a:pt x="982" y="896"/>
                  </a:lnTo>
                  <a:lnTo>
                    <a:pt x="1002" y="886"/>
                  </a:lnTo>
                  <a:lnTo>
                    <a:pt x="1025" y="877"/>
                  </a:lnTo>
                  <a:lnTo>
                    <a:pt x="1049" y="870"/>
                  </a:lnTo>
                  <a:lnTo>
                    <a:pt x="1075" y="865"/>
                  </a:lnTo>
                  <a:lnTo>
                    <a:pt x="1233" y="865"/>
                  </a:lnTo>
                  <a:lnTo>
                    <a:pt x="1503" y="865"/>
                  </a:lnTo>
                  <a:lnTo>
                    <a:pt x="1845" y="865"/>
                  </a:lnTo>
                  <a:lnTo>
                    <a:pt x="2218" y="865"/>
                  </a:lnTo>
                  <a:lnTo>
                    <a:pt x="2579" y="865"/>
                  </a:lnTo>
                  <a:lnTo>
                    <a:pt x="2889" y="865"/>
                  </a:lnTo>
                  <a:lnTo>
                    <a:pt x="3105" y="865"/>
                  </a:lnTo>
                  <a:lnTo>
                    <a:pt x="3186" y="865"/>
                  </a:lnTo>
                  <a:lnTo>
                    <a:pt x="3185" y="820"/>
                  </a:lnTo>
                  <a:lnTo>
                    <a:pt x="3182" y="775"/>
                  </a:lnTo>
                  <a:lnTo>
                    <a:pt x="3177" y="731"/>
                  </a:lnTo>
                  <a:lnTo>
                    <a:pt x="3170" y="689"/>
                  </a:lnTo>
                  <a:lnTo>
                    <a:pt x="3160" y="647"/>
                  </a:lnTo>
                  <a:lnTo>
                    <a:pt x="3149" y="605"/>
                  </a:lnTo>
                  <a:lnTo>
                    <a:pt x="3136" y="565"/>
                  </a:lnTo>
                  <a:lnTo>
                    <a:pt x="3122" y="526"/>
                  </a:lnTo>
                  <a:lnTo>
                    <a:pt x="3104" y="487"/>
                  </a:lnTo>
                  <a:lnTo>
                    <a:pt x="3086" y="450"/>
                  </a:lnTo>
                  <a:lnTo>
                    <a:pt x="3065" y="414"/>
                  </a:lnTo>
                  <a:lnTo>
                    <a:pt x="3044" y="379"/>
                  </a:lnTo>
                  <a:lnTo>
                    <a:pt x="3021" y="344"/>
                  </a:lnTo>
                  <a:lnTo>
                    <a:pt x="2995" y="312"/>
                  </a:lnTo>
                  <a:lnTo>
                    <a:pt x="2969" y="281"/>
                  </a:lnTo>
                  <a:lnTo>
                    <a:pt x="2940" y="251"/>
                  </a:lnTo>
                  <a:lnTo>
                    <a:pt x="2910" y="222"/>
                  </a:lnTo>
                  <a:lnTo>
                    <a:pt x="2880" y="196"/>
                  </a:lnTo>
                  <a:lnTo>
                    <a:pt x="2847" y="170"/>
                  </a:lnTo>
                  <a:lnTo>
                    <a:pt x="2813" y="146"/>
                  </a:lnTo>
                  <a:lnTo>
                    <a:pt x="2777" y="123"/>
                  </a:lnTo>
                  <a:lnTo>
                    <a:pt x="2741" y="103"/>
                  </a:lnTo>
                  <a:lnTo>
                    <a:pt x="2702" y="85"/>
                  </a:lnTo>
                  <a:lnTo>
                    <a:pt x="2664" y="67"/>
                  </a:lnTo>
                  <a:lnTo>
                    <a:pt x="2624" y="52"/>
                  </a:lnTo>
                  <a:lnTo>
                    <a:pt x="2582" y="38"/>
                  </a:lnTo>
                  <a:lnTo>
                    <a:pt x="2539" y="27"/>
                  </a:lnTo>
                  <a:lnTo>
                    <a:pt x="2496" y="18"/>
                  </a:lnTo>
                  <a:lnTo>
                    <a:pt x="2451" y="9"/>
                  </a:lnTo>
                  <a:lnTo>
                    <a:pt x="2406" y="4"/>
                  </a:lnTo>
                  <a:lnTo>
                    <a:pt x="2360" y="1"/>
                  </a:lnTo>
                  <a:lnTo>
                    <a:pt x="2312" y="0"/>
                  </a:lnTo>
                  <a:lnTo>
                    <a:pt x="2121" y="0"/>
                  </a:lnTo>
                  <a:lnTo>
                    <a:pt x="1916" y="0"/>
                  </a:lnTo>
                  <a:lnTo>
                    <a:pt x="1710" y="0"/>
                  </a:lnTo>
                  <a:lnTo>
                    <a:pt x="1513" y="0"/>
                  </a:lnTo>
                  <a:lnTo>
                    <a:pt x="1340" y="0"/>
                  </a:lnTo>
                  <a:lnTo>
                    <a:pt x="1201" y="0"/>
                  </a:lnTo>
                  <a:lnTo>
                    <a:pt x="1108" y="0"/>
                  </a:lnTo>
                  <a:lnTo>
                    <a:pt x="1075" y="0"/>
                  </a:lnTo>
                  <a:lnTo>
                    <a:pt x="1016" y="1"/>
                  </a:lnTo>
                  <a:lnTo>
                    <a:pt x="958" y="6"/>
                  </a:lnTo>
                  <a:lnTo>
                    <a:pt x="901" y="14"/>
                  </a:lnTo>
                  <a:lnTo>
                    <a:pt x="846" y="25"/>
                  </a:lnTo>
                  <a:lnTo>
                    <a:pt x="792" y="38"/>
                  </a:lnTo>
                  <a:lnTo>
                    <a:pt x="740" y="54"/>
                  </a:lnTo>
                  <a:lnTo>
                    <a:pt x="688" y="74"/>
                  </a:lnTo>
                  <a:lnTo>
                    <a:pt x="639" y="95"/>
                  </a:lnTo>
                  <a:lnTo>
                    <a:pt x="590" y="118"/>
                  </a:lnTo>
                  <a:lnTo>
                    <a:pt x="544" y="145"/>
                  </a:lnTo>
                  <a:lnTo>
                    <a:pt x="499" y="173"/>
                  </a:lnTo>
                  <a:lnTo>
                    <a:pt x="455" y="205"/>
                  </a:lnTo>
                  <a:lnTo>
                    <a:pt x="413" y="237"/>
                  </a:lnTo>
                  <a:lnTo>
                    <a:pt x="374" y="272"/>
                  </a:lnTo>
                  <a:lnTo>
                    <a:pt x="335" y="309"/>
                  </a:lnTo>
                  <a:lnTo>
                    <a:pt x="299" y="347"/>
                  </a:lnTo>
                  <a:lnTo>
                    <a:pt x="265" y="388"/>
                  </a:lnTo>
                  <a:lnTo>
                    <a:pt x="232" y="430"/>
                  </a:lnTo>
                  <a:lnTo>
                    <a:pt x="201" y="473"/>
                  </a:lnTo>
                  <a:lnTo>
                    <a:pt x="173" y="517"/>
                  </a:lnTo>
                  <a:lnTo>
                    <a:pt x="145" y="564"/>
                  </a:lnTo>
                  <a:lnTo>
                    <a:pt x="121" y="611"/>
                  </a:lnTo>
                  <a:lnTo>
                    <a:pt x="98" y="660"/>
                  </a:lnTo>
                  <a:lnTo>
                    <a:pt x="79" y="710"/>
                  </a:lnTo>
                  <a:lnTo>
                    <a:pt x="61" y="761"/>
                  </a:lnTo>
                  <a:lnTo>
                    <a:pt x="44" y="812"/>
                  </a:lnTo>
                  <a:lnTo>
                    <a:pt x="31" y="865"/>
                  </a:lnTo>
                  <a:lnTo>
                    <a:pt x="20" y="918"/>
                  </a:lnTo>
                  <a:lnTo>
                    <a:pt x="12" y="971"/>
                  </a:lnTo>
                  <a:lnTo>
                    <a:pt x="5" y="1026"/>
                  </a:lnTo>
                  <a:lnTo>
                    <a:pt x="1" y="1080"/>
                  </a:lnTo>
                  <a:lnTo>
                    <a:pt x="0" y="1134"/>
                  </a:lnTo>
                  <a:lnTo>
                    <a:pt x="1" y="1192"/>
                  </a:lnTo>
                  <a:lnTo>
                    <a:pt x="5" y="1248"/>
                  </a:lnTo>
                  <a:lnTo>
                    <a:pt x="13" y="1302"/>
                  </a:lnTo>
                  <a:lnTo>
                    <a:pt x="22" y="1357"/>
                  </a:lnTo>
                  <a:lnTo>
                    <a:pt x="33" y="1411"/>
                  </a:lnTo>
                  <a:lnTo>
                    <a:pt x="47" y="1464"/>
                  </a:lnTo>
                  <a:lnTo>
                    <a:pt x="65" y="1515"/>
                  </a:lnTo>
                  <a:lnTo>
                    <a:pt x="84" y="1566"/>
                  </a:lnTo>
                  <a:lnTo>
                    <a:pt x="104" y="1616"/>
                  </a:lnTo>
                  <a:lnTo>
                    <a:pt x="129" y="1664"/>
                  </a:lnTo>
                  <a:lnTo>
                    <a:pt x="154" y="1711"/>
                  </a:lnTo>
                  <a:lnTo>
                    <a:pt x="182" y="1757"/>
                  </a:lnTo>
                  <a:lnTo>
                    <a:pt x="212" y="1800"/>
                  </a:lnTo>
                  <a:lnTo>
                    <a:pt x="243" y="1843"/>
                  </a:lnTo>
                  <a:lnTo>
                    <a:pt x="277" y="1884"/>
                  </a:lnTo>
                  <a:lnTo>
                    <a:pt x="312" y="1923"/>
                  </a:lnTo>
                  <a:lnTo>
                    <a:pt x="349" y="1960"/>
                  </a:lnTo>
                  <a:lnTo>
                    <a:pt x="389" y="1996"/>
                  </a:lnTo>
                  <a:lnTo>
                    <a:pt x="429" y="2029"/>
                  </a:lnTo>
                  <a:lnTo>
                    <a:pt x="472" y="2061"/>
                  </a:lnTo>
                  <a:lnTo>
                    <a:pt x="514" y="2091"/>
                  </a:lnTo>
                  <a:lnTo>
                    <a:pt x="559" y="2118"/>
                  </a:lnTo>
                  <a:lnTo>
                    <a:pt x="606" y="2142"/>
                  </a:lnTo>
                  <a:lnTo>
                    <a:pt x="654" y="2166"/>
                  </a:lnTo>
                  <a:lnTo>
                    <a:pt x="703" y="2186"/>
                  </a:lnTo>
                  <a:lnTo>
                    <a:pt x="753" y="2204"/>
                  </a:lnTo>
                  <a:lnTo>
                    <a:pt x="804" y="2219"/>
                  </a:lnTo>
                  <a:lnTo>
                    <a:pt x="856" y="2232"/>
                  </a:lnTo>
                  <a:lnTo>
                    <a:pt x="910" y="2242"/>
                  </a:lnTo>
                  <a:lnTo>
                    <a:pt x="964" y="2249"/>
                  </a:lnTo>
                  <a:lnTo>
                    <a:pt x="1019" y="2253"/>
                  </a:lnTo>
                  <a:lnTo>
                    <a:pt x="1075" y="2254"/>
                  </a:lnTo>
                  <a:lnTo>
                    <a:pt x="2203" y="2254"/>
                  </a:lnTo>
                  <a:lnTo>
                    <a:pt x="2228" y="2262"/>
                  </a:lnTo>
                  <a:lnTo>
                    <a:pt x="2253" y="2270"/>
                  </a:lnTo>
                  <a:lnTo>
                    <a:pt x="2276" y="2279"/>
                  </a:lnTo>
                  <a:lnTo>
                    <a:pt x="2297" y="2291"/>
                  </a:lnTo>
                  <a:lnTo>
                    <a:pt x="2318" y="2304"/>
                  </a:lnTo>
                  <a:lnTo>
                    <a:pt x="2336" y="2319"/>
                  </a:lnTo>
                  <a:lnTo>
                    <a:pt x="2352" y="2335"/>
                  </a:lnTo>
                  <a:lnTo>
                    <a:pt x="2368" y="2351"/>
                  </a:lnTo>
                  <a:lnTo>
                    <a:pt x="2381" y="2370"/>
                  </a:lnTo>
                  <a:lnTo>
                    <a:pt x="2393" y="2389"/>
                  </a:lnTo>
                  <a:lnTo>
                    <a:pt x="2403" y="2408"/>
                  </a:lnTo>
                  <a:lnTo>
                    <a:pt x="2413" y="2429"/>
                  </a:lnTo>
                  <a:lnTo>
                    <a:pt x="2420" y="2450"/>
                  </a:lnTo>
                  <a:lnTo>
                    <a:pt x="2425" y="2470"/>
                  </a:lnTo>
                  <a:lnTo>
                    <a:pt x="2428" y="2493"/>
                  </a:lnTo>
                  <a:lnTo>
                    <a:pt x="2430" y="2514"/>
                  </a:lnTo>
                  <a:lnTo>
                    <a:pt x="2430" y="2536"/>
                  </a:lnTo>
                  <a:lnTo>
                    <a:pt x="2428" y="2558"/>
                  </a:lnTo>
                  <a:lnTo>
                    <a:pt x="2424" y="2579"/>
                  </a:lnTo>
                  <a:lnTo>
                    <a:pt x="2419" y="2600"/>
                  </a:lnTo>
                  <a:lnTo>
                    <a:pt x="2412" y="2621"/>
                  </a:lnTo>
                  <a:lnTo>
                    <a:pt x="2402" y="2640"/>
                  </a:lnTo>
                  <a:lnTo>
                    <a:pt x="2391" y="2660"/>
                  </a:lnTo>
                  <a:lnTo>
                    <a:pt x="2378" y="2678"/>
                  </a:lnTo>
                  <a:lnTo>
                    <a:pt x="2363" y="2695"/>
                  </a:lnTo>
                  <a:lnTo>
                    <a:pt x="2346" y="2712"/>
                  </a:lnTo>
                  <a:lnTo>
                    <a:pt x="2327" y="2727"/>
                  </a:lnTo>
                  <a:lnTo>
                    <a:pt x="2307" y="2740"/>
                  </a:lnTo>
                  <a:lnTo>
                    <a:pt x="2283" y="2752"/>
                  </a:lnTo>
                  <a:lnTo>
                    <a:pt x="2259" y="2764"/>
                  </a:lnTo>
                  <a:lnTo>
                    <a:pt x="2231" y="2772"/>
                  </a:lnTo>
                  <a:lnTo>
                    <a:pt x="2203" y="2779"/>
                  </a:lnTo>
                  <a:lnTo>
                    <a:pt x="2021" y="2779"/>
                  </a:lnTo>
                  <a:lnTo>
                    <a:pt x="1732" y="2779"/>
                  </a:lnTo>
                  <a:lnTo>
                    <a:pt x="1375" y="2779"/>
                  </a:lnTo>
                  <a:lnTo>
                    <a:pt x="991" y="2779"/>
                  </a:lnTo>
                  <a:lnTo>
                    <a:pt x="622" y="2779"/>
                  </a:lnTo>
                  <a:lnTo>
                    <a:pt x="307" y="2779"/>
                  </a:lnTo>
                  <a:lnTo>
                    <a:pt x="88" y="2779"/>
                  </a:lnTo>
                  <a:lnTo>
                    <a:pt x="6" y="2779"/>
                  </a:lnTo>
                  <a:close/>
                </a:path>
              </a:pathLst>
            </a:custGeom>
            <a:solidFill>
              <a:schemeClr val="accent1"/>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10" name="Rectangle 10"/>
            <p:cNvSpPr>
              <a:spLocks noChangeArrowheads="1"/>
            </p:cNvSpPr>
            <p:nvPr userDrawn="1"/>
          </p:nvSpPr>
          <p:spPr bwMode="auto">
            <a:xfrm>
              <a:off x="5390" y="98"/>
              <a:ext cx="43" cy="184"/>
            </a:xfrm>
            <a:prstGeom prst="rect">
              <a:avLst/>
            </a:prstGeom>
            <a:solidFill>
              <a:schemeClr val="accent1"/>
            </a:solidFill>
            <a:ln>
              <a:noFill/>
            </a:ln>
            <a:extLst/>
          </p:spPr>
          <p:txBody>
            <a:bodyP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algn="ctr" eaLnBrk="1" fontAlgn="base" hangingPunct="1">
                <a:spcBef>
                  <a:spcPct val="20000"/>
                </a:spcBef>
                <a:spcAft>
                  <a:spcPct val="0"/>
                </a:spcAft>
                <a:buClr>
                  <a:srgbClr val="0084C2"/>
                </a:buClr>
                <a:buSzPct val="130000"/>
                <a:buFont typeface="Times New Roman" pitchFamily="18" charset="0"/>
                <a:buNone/>
                <a:defRPr/>
              </a:pPr>
              <a:endParaRPr lang="ru-RU" altLang="en-US" smtClean="0">
                <a:solidFill>
                  <a:srgbClr val="000000"/>
                </a:solidFill>
              </a:endParaRPr>
            </a:p>
          </p:txBody>
        </p:sp>
        <p:sp>
          <p:nvSpPr>
            <p:cNvPr id="11" name="Freeform 11"/>
            <p:cNvSpPr>
              <a:spLocks/>
            </p:cNvSpPr>
            <p:nvPr userDrawn="1"/>
          </p:nvSpPr>
          <p:spPr bwMode="auto">
            <a:xfrm>
              <a:off x="5452" y="95"/>
              <a:ext cx="178" cy="191"/>
            </a:xfrm>
            <a:custGeom>
              <a:avLst/>
              <a:gdLst>
                <a:gd name="T0" fmla="*/ 0 w 3567"/>
                <a:gd name="T1" fmla="*/ 0 h 3816"/>
                <a:gd name="T2" fmla="*/ 0 w 3567"/>
                <a:gd name="T3" fmla="*/ 0 h 3816"/>
                <a:gd name="T4" fmla="*/ 0 w 3567"/>
                <a:gd name="T5" fmla="*/ 0 h 3816"/>
                <a:gd name="T6" fmla="*/ 0 w 3567"/>
                <a:gd name="T7" fmla="*/ 0 h 3816"/>
                <a:gd name="T8" fmla="*/ 0 w 3567"/>
                <a:gd name="T9" fmla="*/ 0 h 3816"/>
                <a:gd name="T10" fmla="*/ 0 w 3567"/>
                <a:gd name="T11" fmla="*/ 0 h 3816"/>
                <a:gd name="T12" fmla="*/ 0 w 3567"/>
                <a:gd name="T13" fmla="*/ 0 h 3816"/>
                <a:gd name="T14" fmla="*/ 0 w 3567"/>
                <a:gd name="T15" fmla="*/ 0 h 3816"/>
                <a:gd name="T16" fmla="*/ 0 w 3567"/>
                <a:gd name="T17" fmla="*/ 0 h 3816"/>
                <a:gd name="T18" fmla="*/ 0 w 3567"/>
                <a:gd name="T19" fmla="*/ 0 h 3816"/>
                <a:gd name="T20" fmla="*/ 0 w 3567"/>
                <a:gd name="T21" fmla="*/ 0 h 3816"/>
                <a:gd name="T22" fmla="*/ 0 w 3567"/>
                <a:gd name="T23" fmla="*/ 0 h 3816"/>
                <a:gd name="T24" fmla="*/ 0 w 3567"/>
                <a:gd name="T25" fmla="*/ 0 h 3816"/>
                <a:gd name="T26" fmla="*/ 0 w 3567"/>
                <a:gd name="T27" fmla="*/ 0 h 3816"/>
                <a:gd name="T28" fmla="*/ 0 w 3567"/>
                <a:gd name="T29" fmla="*/ 0 h 3816"/>
                <a:gd name="T30" fmla="*/ 0 w 3567"/>
                <a:gd name="T31" fmla="*/ 0 h 3816"/>
                <a:gd name="T32" fmla="*/ 0 w 3567"/>
                <a:gd name="T33" fmla="*/ 0 h 3816"/>
                <a:gd name="T34" fmla="*/ 0 w 3567"/>
                <a:gd name="T35" fmla="*/ 0 h 3816"/>
                <a:gd name="T36" fmla="*/ 0 w 3567"/>
                <a:gd name="T37" fmla="*/ 0 h 3816"/>
                <a:gd name="T38" fmla="*/ 0 w 3567"/>
                <a:gd name="T39" fmla="*/ 0 h 3816"/>
                <a:gd name="T40" fmla="*/ 0 w 3567"/>
                <a:gd name="T41" fmla="*/ 0 h 3816"/>
                <a:gd name="T42" fmla="*/ 0 w 3567"/>
                <a:gd name="T43" fmla="*/ 0 h 3816"/>
                <a:gd name="T44" fmla="*/ 0 w 3567"/>
                <a:gd name="T45" fmla="*/ 0 h 3816"/>
                <a:gd name="T46" fmla="*/ 0 w 3567"/>
                <a:gd name="T47" fmla="*/ 0 h 3816"/>
                <a:gd name="T48" fmla="*/ 0 w 3567"/>
                <a:gd name="T49" fmla="*/ 0 h 3816"/>
                <a:gd name="T50" fmla="*/ 0 w 3567"/>
                <a:gd name="T51" fmla="*/ 0 h 3816"/>
                <a:gd name="T52" fmla="*/ 0 w 3567"/>
                <a:gd name="T53" fmla="*/ 0 h 3816"/>
                <a:gd name="T54" fmla="*/ 0 w 3567"/>
                <a:gd name="T55" fmla="*/ 0 h 3816"/>
                <a:gd name="T56" fmla="*/ 0 w 3567"/>
                <a:gd name="T57" fmla="*/ 0 h 3816"/>
                <a:gd name="T58" fmla="*/ 0 w 3567"/>
                <a:gd name="T59" fmla="*/ 0 h 3816"/>
                <a:gd name="T60" fmla="*/ 0 w 3567"/>
                <a:gd name="T61" fmla="*/ 0 h 3816"/>
                <a:gd name="T62" fmla="*/ 0 w 3567"/>
                <a:gd name="T63" fmla="*/ 0 h 3816"/>
                <a:gd name="T64" fmla="*/ 0 w 3567"/>
                <a:gd name="T65" fmla="*/ 0 h 3816"/>
                <a:gd name="T66" fmla="*/ 0 w 3567"/>
                <a:gd name="T67" fmla="*/ 0 h 3816"/>
                <a:gd name="T68" fmla="*/ 0 w 3567"/>
                <a:gd name="T69" fmla="*/ 0 h 3816"/>
                <a:gd name="T70" fmla="*/ 0 w 3567"/>
                <a:gd name="T71" fmla="*/ 0 h 3816"/>
                <a:gd name="T72" fmla="*/ 0 w 3567"/>
                <a:gd name="T73" fmla="*/ 0 h 3816"/>
                <a:gd name="T74" fmla="*/ 0 w 3567"/>
                <a:gd name="T75" fmla="*/ 0 h 3816"/>
                <a:gd name="T76" fmla="*/ 0 w 3567"/>
                <a:gd name="T77" fmla="*/ 0 h 3816"/>
                <a:gd name="T78" fmla="*/ 0 w 3567"/>
                <a:gd name="T79" fmla="*/ 0 h 3816"/>
                <a:gd name="T80" fmla="*/ 0 w 3567"/>
                <a:gd name="T81" fmla="*/ 0 h 3816"/>
                <a:gd name="T82" fmla="*/ 0 w 3567"/>
                <a:gd name="T83" fmla="*/ 0 h 3816"/>
                <a:gd name="T84" fmla="*/ 0 w 3567"/>
                <a:gd name="T85" fmla="*/ 0 h 3816"/>
                <a:gd name="T86" fmla="*/ 0 w 3567"/>
                <a:gd name="T87" fmla="*/ 0 h 3816"/>
                <a:gd name="T88" fmla="*/ 0 w 3567"/>
                <a:gd name="T89" fmla="*/ 0 h 3816"/>
                <a:gd name="T90" fmla="*/ 0 w 3567"/>
                <a:gd name="T91" fmla="*/ 0 h 3816"/>
                <a:gd name="T92" fmla="*/ 0 w 3567"/>
                <a:gd name="T93" fmla="*/ 0 h 3816"/>
                <a:gd name="T94" fmla="*/ 0 w 3567"/>
                <a:gd name="T95" fmla="*/ 0 h 3816"/>
                <a:gd name="T96" fmla="*/ 0 w 3567"/>
                <a:gd name="T97" fmla="*/ 0 h 3816"/>
                <a:gd name="T98" fmla="*/ 0 w 3567"/>
                <a:gd name="T99" fmla="*/ 0 h 3816"/>
                <a:gd name="T100" fmla="*/ 0 w 3567"/>
                <a:gd name="T101" fmla="*/ 0 h 381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67" h="3816">
                  <a:moveTo>
                    <a:pt x="3567" y="2804"/>
                  </a:moveTo>
                  <a:lnTo>
                    <a:pt x="3535" y="2860"/>
                  </a:lnTo>
                  <a:lnTo>
                    <a:pt x="3503" y="2915"/>
                  </a:lnTo>
                  <a:lnTo>
                    <a:pt x="3469" y="2968"/>
                  </a:lnTo>
                  <a:lnTo>
                    <a:pt x="3433" y="3021"/>
                  </a:lnTo>
                  <a:lnTo>
                    <a:pt x="3396" y="3072"/>
                  </a:lnTo>
                  <a:lnTo>
                    <a:pt x="3356" y="3122"/>
                  </a:lnTo>
                  <a:lnTo>
                    <a:pt x="3315" y="3170"/>
                  </a:lnTo>
                  <a:lnTo>
                    <a:pt x="3272" y="3216"/>
                  </a:lnTo>
                  <a:lnTo>
                    <a:pt x="3228" y="3262"/>
                  </a:lnTo>
                  <a:lnTo>
                    <a:pt x="3183" y="3306"/>
                  </a:lnTo>
                  <a:lnTo>
                    <a:pt x="3136" y="3348"/>
                  </a:lnTo>
                  <a:lnTo>
                    <a:pt x="3087" y="3390"/>
                  </a:lnTo>
                  <a:lnTo>
                    <a:pt x="3039" y="3428"/>
                  </a:lnTo>
                  <a:lnTo>
                    <a:pt x="2988" y="3466"/>
                  </a:lnTo>
                  <a:lnTo>
                    <a:pt x="2935" y="3502"/>
                  </a:lnTo>
                  <a:lnTo>
                    <a:pt x="2881" y="3536"/>
                  </a:lnTo>
                  <a:lnTo>
                    <a:pt x="2827" y="3569"/>
                  </a:lnTo>
                  <a:lnTo>
                    <a:pt x="2771" y="3599"/>
                  </a:lnTo>
                  <a:lnTo>
                    <a:pt x="2714" y="3628"/>
                  </a:lnTo>
                  <a:lnTo>
                    <a:pt x="2656" y="3655"/>
                  </a:lnTo>
                  <a:lnTo>
                    <a:pt x="2598" y="3680"/>
                  </a:lnTo>
                  <a:lnTo>
                    <a:pt x="2538" y="3703"/>
                  </a:lnTo>
                  <a:lnTo>
                    <a:pt x="2476" y="3724"/>
                  </a:lnTo>
                  <a:lnTo>
                    <a:pt x="2415" y="3743"/>
                  </a:lnTo>
                  <a:lnTo>
                    <a:pt x="2352" y="3760"/>
                  </a:lnTo>
                  <a:lnTo>
                    <a:pt x="2289" y="3774"/>
                  </a:lnTo>
                  <a:lnTo>
                    <a:pt x="2225" y="3788"/>
                  </a:lnTo>
                  <a:lnTo>
                    <a:pt x="2159" y="3798"/>
                  </a:lnTo>
                  <a:lnTo>
                    <a:pt x="2094" y="3806"/>
                  </a:lnTo>
                  <a:lnTo>
                    <a:pt x="2028" y="3811"/>
                  </a:lnTo>
                  <a:lnTo>
                    <a:pt x="1960" y="3815"/>
                  </a:lnTo>
                  <a:lnTo>
                    <a:pt x="1893" y="3816"/>
                  </a:lnTo>
                  <a:lnTo>
                    <a:pt x="1795" y="3814"/>
                  </a:lnTo>
                  <a:lnTo>
                    <a:pt x="1699" y="3806"/>
                  </a:lnTo>
                  <a:lnTo>
                    <a:pt x="1604" y="3795"/>
                  </a:lnTo>
                  <a:lnTo>
                    <a:pt x="1511" y="3777"/>
                  </a:lnTo>
                  <a:lnTo>
                    <a:pt x="1420" y="3756"/>
                  </a:lnTo>
                  <a:lnTo>
                    <a:pt x="1330" y="3731"/>
                  </a:lnTo>
                  <a:lnTo>
                    <a:pt x="1241" y="3700"/>
                  </a:lnTo>
                  <a:lnTo>
                    <a:pt x="1156" y="3667"/>
                  </a:lnTo>
                  <a:lnTo>
                    <a:pt x="1072" y="3628"/>
                  </a:lnTo>
                  <a:lnTo>
                    <a:pt x="990" y="3586"/>
                  </a:lnTo>
                  <a:lnTo>
                    <a:pt x="911" y="3540"/>
                  </a:lnTo>
                  <a:lnTo>
                    <a:pt x="834" y="3490"/>
                  </a:lnTo>
                  <a:lnTo>
                    <a:pt x="760" y="3437"/>
                  </a:lnTo>
                  <a:lnTo>
                    <a:pt x="688" y="3380"/>
                  </a:lnTo>
                  <a:lnTo>
                    <a:pt x="620" y="3320"/>
                  </a:lnTo>
                  <a:lnTo>
                    <a:pt x="554" y="3257"/>
                  </a:lnTo>
                  <a:lnTo>
                    <a:pt x="492" y="3191"/>
                  </a:lnTo>
                  <a:lnTo>
                    <a:pt x="431" y="3122"/>
                  </a:lnTo>
                  <a:lnTo>
                    <a:pt x="375" y="3049"/>
                  </a:lnTo>
                  <a:lnTo>
                    <a:pt x="322" y="2975"/>
                  </a:lnTo>
                  <a:lnTo>
                    <a:pt x="273" y="2898"/>
                  </a:lnTo>
                  <a:lnTo>
                    <a:pt x="227" y="2817"/>
                  </a:lnTo>
                  <a:lnTo>
                    <a:pt x="186" y="2736"/>
                  </a:lnTo>
                  <a:lnTo>
                    <a:pt x="148" y="2650"/>
                  </a:lnTo>
                  <a:lnTo>
                    <a:pt x="114" y="2564"/>
                  </a:lnTo>
                  <a:lnTo>
                    <a:pt x="85" y="2475"/>
                  </a:lnTo>
                  <a:lnTo>
                    <a:pt x="59" y="2385"/>
                  </a:lnTo>
                  <a:lnTo>
                    <a:pt x="38" y="2293"/>
                  </a:lnTo>
                  <a:lnTo>
                    <a:pt x="21" y="2198"/>
                  </a:lnTo>
                  <a:lnTo>
                    <a:pt x="9" y="2104"/>
                  </a:lnTo>
                  <a:lnTo>
                    <a:pt x="2" y="2006"/>
                  </a:lnTo>
                  <a:lnTo>
                    <a:pt x="0" y="1908"/>
                  </a:lnTo>
                  <a:lnTo>
                    <a:pt x="2" y="1810"/>
                  </a:lnTo>
                  <a:lnTo>
                    <a:pt x="9" y="1713"/>
                  </a:lnTo>
                  <a:lnTo>
                    <a:pt x="21" y="1618"/>
                  </a:lnTo>
                  <a:lnTo>
                    <a:pt x="38" y="1523"/>
                  </a:lnTo>
                  <a:lnTo>
                    <a:pt x="59" y="1432"/>
                  </a:lnTo>
                  <a:lnTo>
                    <a:pt x="85" y="1341"/>
                  </a:lnTo>
                  <a:lnTo>
                    <a:pt x="114" y="1252"/>
                  </a:lnTo>
                  <a:lnTo>
                    <a:pt x="148" y="1166"/>
                  </a:lnTo>
                  <a:lnTo>
                    <a:pt x="186" y="1081"/>
                  </a:lnTo>
                  <a:lnTo>
                    <a:pt x="227" y="999"/>
                  </a:lnTo>
                  <a:lnTo>
                    <a:pt x="273" y="918"/>
                  </a:lnTo>
                  <a:lnTo>
                    <a:pt x="322" y="841"/>
                  </a:lnTo>
                  <a:lnTo>
                    <a:pt x="375" y="767"/>
                  </a:lnTo>
                  <a:lnTo>
                    <a:pt x="431" y="694"/>
                  </a:lnTo>
                  <a:lnTo>
                    <a:pt x="492" y="625"/>
                  </a:lnTo>
                  <a:lnTo>
                    <a:pt x="554" y="559"/>
                  </a:lnTo>
                  <a:lnTo>
                    <a:pt x="620" y="496"/>
                  </a:lnTo>
                  <a:lnTo>
                    <a:pt x="688" y="436"/>
                  </a:lnTo>
                  <a:lnTo>
                    <a:pt x="760" y="379"/>
                  </a:lnTo>
                  <a:lnTo>
                    <a:pt x="834" y="326"/>
                  </a:lnTo>
                  <a:lnTo>
                    <a:pt x="911" y="276"/>
                  </a:lnTo>
                  <a:lnTo>
                    <a:pt x="990" y="230"/>
                  </a:lnTo>
                  <a:lnTo>
                    <a:pt x="1072" y="188"/>
                  </a:lnTo>
                  <a:lnTo>
                    <a:pt x="1156" y="150"/>
                  </a:lnTo>
                  <a:lnTo>
                    <a:pt x="1241" y="116"/>
                  </a:lnTo>
                  <a:lnTo>
                    <a:pt x="1330" y="86"/>
                  </a:lnTo>
                  <a:lnTo>
                    <a:pt x="1420" y="60"/>
                  </a:lnTo>
                  <a:lnTo>
                    <a:pt x="1511" y="39"/>
                  </a:lnTo>
                  <a:lnTo>
                    <a:pt x="1604" y="22"/>
                  </a:lnTo>
                  <a:lnTo>
                    <a:pt x="1699" y="10"/>
                  </a:lnTo>
                  <a:lnTo>
                    <a:pt x="1795" y="2"/>
                  </a:lnTo>
                  <a:lnTo>
                    <a:pt x="1893" y="0"/>
                  </a:lnTo>
                  <a:lnTo>
                    <a:pt x="1959" y="1"/>
                  </a:lnTo>
                  <a:lnTo>
                    <a:pt x="2026" y="5"/>
                  </a:lnTo>
                  <a:lnTo>
                    <a:pt x="2092" y="10"/>
                  </a:lnTo>
                  <a:lnTo>
                    <a:pt x="2156" y="18"/>
                  </a:lnTo>
                  <a:lnTo>
                    <a:pt x="2221" y="29"/>
                  </a:lnTo>
                  <a:lnTo>
                    <a:pt x="2285" y="41"/>
                  </a:lnTo>
                  <a:lnTo>
                    <a:pt x="2348" y="56"/>
                  </a:lnTo>
                  <a:lnTo>
                    <a:pt x="2409" y="72"/>
                  </a:lnTo>
                  <a:lnTo>
                    <a:pt x="2470" y="91"/>
                  </a:lnTo>
                  <a:lnTo>
                    <a:pt x="2532" y="111"/>
                  </a:lnTo>
                  <a:lnTo>
                    <a:pt x="2591" y="134"/>
                  </a:lnTo>
                  <a:lnTo>
                    <a:pt x="2649" y="159"/>
                  </a:lnTo>
                  <a:lnTo>
                    <a:pt x="2706" y="185"/>
                  </a:lnTo>
                  <a:lnTo>
                    <a:pt x="2763" y="213"/>
                  </a:lnTo>
                  <a:lnTo>
                    <a:pt x="2818" y="243"/>
                  </a:lnTo>
                  <a:lnTo>
                    <a:pt x="2872" y="275"/>
                  </a:lnTo>
                  <a:lnTo>
                    <a:pt x="2925" y="309"/>
                  </a:lnTo>
                  <a:lnTo>
                    <a:pt x="2977" y="344"/>
                  </a:lnTo>
                  <a:lnTo>
                    <a:pt x="3027" y="381"/>
                  </a:lnTo>
                  <a:lnTo>
                    <a:pt x="3077" y="419"/>
                  </a:lnTo>
                  <a:lnTo>
                    <a:pt x="3125" y="459"/>
                  </a:lnTo>
                  <a:lnTo>
                    <a:pt x="3171" y="501"/>
                  </a:lnTo>
                  <a:lnTo>
                    <a:pt x="3217" y="545"/>
                  </a:lnTo>
                  <a:lnTo>
                    <a:pt x="3261" y="590"/>
                  </a:lnTo>
                  <a:lnTo>
                    <a:pt x="3303" y="635"/>
                  </a:lnTo>
                  <a:lnTo>
                    <a:pt x="3343" y="682"/>
                  </a:lnTo>
                  <a:lnTo>
                    <a:pt x="3383" y="731"/>
                  </a:lnTo>
                  <a:lnTo>
                    <a:pt x="3421" y="782"/>
                  </a:lnTo>
                  <a:lnTo>
                    <a:pt x="3457" y="833"/>
                  </a:lnTo>
                  <a:lnTo>
                    <a:pt x="3491" y="886"/>
                  </a:lnTo>
                  <a:lnTo>
                    <a:pt x="3524" y="940"/>
                  </a:lnTo>
                  <a:lnTo>
                    <a:pt x="3555" y="995"/>
                  </a:lnTo>
                  <a:lnTo>
                    <a:pt x="2779" y="1412"/>
                  </a:lnTo>
                  <a:lnTo>
                    <a:pt x="2762" y="1383"/>
                  </a:lnTo>
                  <a:lnTo>
                    <a:pt x="2745" y="1353"/>
                  </a:lnTo>
                  <a:lnTo>
                    <a:pt x="2726" y="1326"/>
                  </a:lnTo>
                  <a:lnTo>
                    <a:pt x="2707" y="1298"/>
                  </a:lnTo>
                  <a:lnTo>
                    <a:pt x="2687" y="1271"/>
                  </a:lnTo>
                  <a:lnTo>
                    <a:pt x="2665" y="1244"/>
                  </a:lnTo>
                  <a:lnTo>
                    <a:pt x="2643" y="1219"/>
                  </a:lnTo>
                  <a:lnTo>
                    <a:pt x="2620" y="1194"/>
                  </a:lnTo>
                  <a:lnTo>
                    <a:pt x="2597" y="1171"/>
                  </a:lnTo>
                  <a:lnTo>
                    <a:pt x="2572" y="1148"/>
                  </a:lnTo>
                  <a:lnTo>
                    <a:pt x="2548" y="1125"/>
                  </a:lnTo>
                  <a:lnTo>
                    <a:pt x="2522" y="1104"/>
                  </a:lnTo>
                  <a:lnTo>
                    <a:pt x="2496" y="1083"/>
                  </a:lnTo>
                  <a:lnTo>
                    <a:pt x="2468" y="1063"/>
                  </a:lnTo>
                  <a:lnTo>
                    <a:pt x="2441" y="1045"/>
                  </a:lnTo>
                  <a:lnTo>
                    <a:pt x="2412" y="1026"/>
                  </a:lnTo>
                  <a:lnTo>
                    <a:pt x="2384" y="1009"/>
                  </a:lnTo>
                  <a:lnTo>
                    <a:pt x="2354" y="994"/>
                  </a:lnTo>
                  <a:lnTo>
                    <a:pt x="2323" y="978"/>
                  </a:lnTo>
                  <a:lnTo>
                    <a:pt x="2293" y="964"/>
                  </a:lnTo>
                  <a:lnTo>
                    <a:pt x="2262" y="951"/>
                  </a:lnTo>
                  <a:lnTo>
                    <a:pt x="2231" y="939"/>
                  </a:lnTo>
                  <a:lnTo>
                    <a:pt x="2198" y="929"/>
                  </a:lnTo>
                  <a:lnTo>
                    <a:pt x="2166" y="918"/>
                  </a:lnTo>
                  <a:lnTo>
                    <a:pt x="2133" y="909"/>
                  </a:lnTo>
                  <a:lnTo>
                    <a:pt x="2100" y="902"/>
                  </a:lnTo>
                  <a:lnTo>
                    <a:pt x="2066" y="895"/>
                  </a:lnTo>
                  <a:lnTo>
                    <a:pt x="2032" y="890"/>
                  </a:lnTo>
                  <a:lnTo>
                    <a:pt x="1997" y="886"/>
                  </a:lnTo>
                  <a:lnTo>
                    <a:pt x="1962" y="883"/>
                  </a:lnTo>
                  <a:lnTo>
                    <a:pt x="1928" y="881"/>
                  </a:lnTo>
                  <a:lnTo>
                    <a:pt x="1893" y="880"/>
                  </a:lnTo>
                  <a:lnTo>
                    <a:pt x="1841" y="882"/>
                  </a:lnTo>
                  <a:lnTo>
                    <a:pt x="1790" y="886"/>
                  </a:lnTo>
                  <a:lnTo>
                    <a:pt x="1740" y="892"/>
                  </a:lnTo>
                  <a:lnTo>
                    <a:pt x="1691" y="901"/>
                  </a:lnTo>
                  <a:lnTo>
                    <a:pt x="1642" y="912"/>
                  </a:lnTo>
                  <a:lnTo>
                    <a:pt x="1594" y="926"/>
                  </a:lnTo>
                  <a:lnTo>
                    <a:pt x="1548" y="942"/>
                  </a:lnTo>
                  <a:lnTo>
                    <a:pt x="1502" y="960"/>
                  </a:lnTo>
                  <a:lnTo>
                    <a:pt x="1458" y="981"/>
                  </a:lnTo>
                  <a:lnTo>
                    <a:pt x="1414" y="1003"/>
                  </a:lnTo>
                  <a:lnTo>
                    <a:pt x="1372" y="1027"/>
                  </a:lnTo>
                  <a:lnTo>
                    <a:pt x="1330" y="1054"/>
                  </a:lnTo>
                  <a:lnTo>
                    <a:pt x="1290" y="1082"/>
                  </a:lnTo>
                  <a:lnTo>
                    <a:pt x="1252" y="1112"/>
                  </a:lnTo>
                  <a:lnTo>
                    <a:pt x="1216" y="1144"/>
                  </a:lnTo>
                  <a:lnTo>
                    <a:pt x="1180" y="1178"/>
                  </a:lnTo>
                  <a:lnTo>
                    <a:pt x="1146" y="1214"/>
                  </a:lnTo>
                  <a:lnTo>
                    <a:pt x="1115" y="1251"/>
                  </a:lnTo>
                  <a:lnTo>
                    <a:pt x="1084" y="1290"/>
                  </a:lnTo>
                  <a:lnTo>
                    <a:pt x="1056" y="1330"/>
                  </a:lnTo>
                  <a:lnTo>
                    <a:pt x="1029" y="1372"/>
                  </a:lnTo>
                  <a:lnTo>
                    <a:pt x="1005" y="1414"/>
                  </a:lnTo>
                  <a:lnTo>
                    <a:pt x="982" y="1459"/>
                  </a:lnTo>
                  <a:lnTo>
                    <a:pt x="962" y="1505"/>
                  </a:lnTo>
                  <a:lnTo>
                    <a:pt x="943" y="1552"/>
                  </a:lnTo>
                  <a:lnTo>
                    <a:pt x="927" y="1600"/>
                  </a:lnTo>
                  <a:lnTo>
                    <a:pt x="913" y="1648"/>
                  </a:lnTo>
                  <a:lnTo>
                    <a:pt x="902" y="1698"/>
                  </a:lnTo>
                  <a:lnTo>
                    <a:pt x="892" y="1749"/>
                  </a:lnTo>
                  <a:lnTo>
                    <a:pt x="886" y="1802"/>
                  </a:lnTo>
                  <a:lnTo>
                    <a:pt x="882" y="1854"/>
                  </a:lnTo>
                  <a:lnTo>
                    <a:pt x="881" y="1908"/>
                  </a:lnTo>
                  <a:lnTo>
                    <a:pt x="882" y="1962"/>
                  </a:lnTo>
                  <a:lnTo>
                    <a:pt x="886" y="2015"/>
                  </a:lnTo>
                  <a:lnTo>
                    <a:pt x="892" y="2067"/>
                  </a:lnTo>
                  <a:lnTo>
                    <a:pt x="902" y="2118"/>
                  </a:lnTo>
                  <a:lnTo>
                    <a:pt x="913" y="2168"/>
                  </a:lnTo>
                  <a:lnTo>
                    <a:pt x="927" y="2217"/>
                  </a:lnTo>
                  <a:lnTo>
                    <a:pt x="943" y="2264"/>
                  </a:lnTo>
                  <a:lnTo>
                    <a:pt x="962" y="2311"/>
                  </a:lnTo>
                  <a:lnTo>
                    <a:pt x="982" y="2357"/>
                  </a:lnTo>
                  <a:lnTo>
                    <a:pt x="1005" y="2402"/>
                  </a:lnTo>
                  <a:lnTo>
                    <a:pt x="1029" y="2445"/>
                  </a:lnTo>
                  <a:lnTo>
                    <a:pt x="1056" y="2486"/>
                  </a:lnTo>
                  <a:lnTo>
                    <a:pt x="1084" y="2526"/>
                  </a:lnTo>
                  <a:lnTo>
                    <a:pt x="1115" y="2566"/>
                  </a:lnTo>
                  <a:lnTo>
                    <a:pt x="1146" y="2603"/>
                  </a:lnTo>
                  <a:lnTo>
                    <a:pt x="1180" y="2638"/>
                  </a:lnTo>
                  <a:lnTo>
                    <a:pt x="1216" y="2672"/>
                  </a:lnTo>
                  <a:lnTo>
                    <a:pt x="1252" y="2704"/>
                  </a:lnTo>
                  <a:lnTo>
                    <a:pt x="1290" y="2734"/>
                  </a:lnTo>
                  <a:lnTo>
                    <a:pt x="1330" y="2762"/>
                  </a:lnTo>
                  <a:lnTo>
                    <a:pt x="1372" y="2789"/>
                  </a:lnTo>
                  <a:lnTo>
                    <a:pt x="1414" y="2813"/>
                  </a:lnTo>
                  <a:lnTo>
                    <a:pt x="1458" y="2837"/>
                  </a:lnTo>
                  <a:lnTo>
                    <a:pt x="1502" y="2856"/>
                  </a:lnTo>
                  <a:lnTo>
                    <a:pt x="1548" y="2874"/>
                  </a:lnTo>
                  <a:lnTo>
                    <a:pt x="1594" y="2891"/>
                  </a:lnTo>
                  <a:lnTo>
                    <a:pt x="1642" y="2904"/>
                  </a:lnTo>
                  <a:lnTo>
                    <a:pt x="1691" y="2916"/>
                  </a:lnTo>
                  <a:lnTo>
                    <a:pt x="1740" y="2924"/>
                  </a:lnTo>
                  <a:lnTo>
                    <a:pt x="1790" y="2931"/>
                  </a:lnTo>
                  <a:lnTo>
                    <a:pt x="1841" y="2934"/>
                  </a:lnTo>
                  <a:lnTo>
                    <a:pt x="1893" y="2936"/>
                  </a:lnTo>
                  <a:lnTo>
                    <a:pt x="1929" y="2935"/>
                  </a:lnTo>
                  <a:lnTo>
                    <a:pt x="1964" y="2933"/>
                  </a:lnTo>
                  <a:lnTo>
                    <a:pt x="2000" y="2930"/>
                  </a:lnTo>
                  <a:lnTo>
                    <a:pt x="2035" y="2926"/>
                  </a:lnTo>
                  <a:lnTo>
                    <a:pt x="2070" y="2920"/>
                  </a:lnTo>
                  <a:lnTo>
                    <a:pt x="2104" y="2914"/>
                  </a:lnTo>
                  <a:lnTo>
                    <a:pt x="2138" y="2906"/>
                  </a:lnTo>
                  <a:lnTo>
                    <a:pt x="2172" y="2897"/>
                  </a:lnTo>
                  <a:lnTo>
                    <a:pt x="2205" y="2887"/>
                  </a:lnTo>
                  <a:lnTo>
                    <a:pt x="2238" y="2874"/>
                  </a:lnTo>
                  <a:lnTo>
                    <a:pt x="2269" y="2862"/>
                  </a:lnTo>
                  <a:lnTo>
                    <a:pt x="2301" y="2849"/>
                  </a:lnTo>
                  <a:lnTo>
                    <a:pt x="2333" y="2835"/>
                  </a:lnTo>
                  <a:lnTo>
                    <a:pt x="2363" y="2818"/>
                  </a:lnTo>
                  <a:lnTo>
                    <a:pt x="2393" y="2802"/>
                  </a:lnTo>
                  <a:lnTo>
                    <a:pt x="2422" y="2784"/>
                  </a:lnTo>
                  <a:lnTo>
                    <a:pt x="2452" y="2765"/>
                  </a:lnTo>
                  <a:lnTo>
                    <a:pt x="2480" y="2746"/>
                  </a:lnTo>
                  <a:lnTo>
                    <a:pt x="2507" y="2726"/>
                  </a:lnTo>
                  <a:lnTo>
                    <a:pt x="2534" y="2704"/>
                  </a:lnTo>
                  <a:lnTo>
                    <a:pt x="2560" y="2682"/>
                  </a:lnTo>
                  <a:lnTo>
                    <a:pt x="2586" y="2659"/>
                  </a:lnTo>
                  <a:lnTo>
                    <a:pt x="2610" y="2635"/>
                  </a:lnTo>
                  <a:lnTo>
                    <a:pt x="2634" y="2610"/>
                  </a:lnTo>
                  <a:lnTo>
                    <a:pt x="2656" y="2584"/>
                  </a:lnTo>
                  <a:lnTo>
                    <a:pt x="2678" y="2558"/>
                  </a:lnTo>
                  <a:lnTo>
                    <a:pt x="2700" y="2531"/>
                  </a:lnTo>
                  <a:lnTo>
                    <a:pt x="2720" y="2503"/>
                  </a:lnTo>
                  <a:lnTo>
                    <a:pt x="2740" y="2474"/>
                  </a:lnTo>
                  <a:lnTo>
                    <a:pt x="2758" y="2445"/>
                  </a:lnTo>
                  <a:lnTo>
                    <a:pt x="2775" y="2415"/>
                  </a:lnTo>
                  <a:lnTo>
                    <a:pt x="2792" y="2385"/>
                  </a:lnTo>
                  <a:lnTo>
                    <a:pt x="3567" y="2804"/>
                  </a:lnTo>
                  <a:close/>
                </a:path>
              </a:pathLst>
            </a:custGeom>
            <a:solidFill>
              <a:schemeClr val="accent1"/>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12" name="Freeform 12"/>
            <p:cNvSpPr>
              <a:spLocks/>
            </p:cNvSpPr>
            <p:nvPr userDrawn="1"/>
          </p:nvSpPr>
          <p:spPr bwMode="auto">
            <a:xfrm>
              <a:off x="5646" y="98"/>
              <a:ext cx="160" cy="184"/>
            </a:xfrm>
            <a:custGeom>
              <a:avLst/>
              <a:gdLst>
                <a:gd name="T0" fmla="*/ 0 w 3202"/>
                <a:gd name="T1" fmla="*/ 0 h 3663"/>
                <a:gd name="T2" fmla="*/ 0 w 3202"/>
                <a:gd name="T3" fmla="*/ 0 h 3663"/>
                <a:gd name="T4" fmla="*/ 0 w 3202"/>
                <a:gd name="T5" fmla="*/ 0 h 3663"/>
                <a:gd name="T6" fmla="*/ 0 w 3202"/>
                <a:gd name="T7" fmla="*/ 0 h 3663"/>
                <a:gd name="T8" fmla="*/ 0 w 3202"/>
                <a:gd name="T9" fmla="*/ 0 h 3663"/>
                <a:gd name="T10" fmla="*/ 0 w 3202"/>
                <a:gd name="T11" fmla="*/ 0 h 3663"/>
                <a:gd name="T12" fmla="*/ 0 w 3202"/>
                <a:gd name="T13" fmla="*/ 0 h 3663"/>
                <a:gd name="T14" fmla="*/ 0 w 3202"/>
                <a:gd name="T15" fmla="*/ 0 h 3663"/>
                <a:gd name="T16" fmla="*/ 0 w 3202"/>
                <a:gd name="T17" fmla="*/ 0 h 3663"/>
                <a:gd name="T18" fmla="*/ 0 w 3202"/>
                <a:gd name="T19" fmla="*/ 0 h 3663"/>
                <a:gd name="T20" fmla="*/ 0 w 3202"/>
                <a:gd name="T21" fmla="*/ 0 h 3663"/>
                <a:gd name="T22" fmla="*/ 0 w 3202"/>
                <a:gd name="T23" fmla="*/ 0 h 3663"/>
                <a:gd name="T24" fmla="*/ 0 w 3202"/>
                <a:gd name="T25" fmla="*/ 0 h 3663"/>
                <a:gd name="T26" fmla="*/ 0 w 3202"/>
                <a:gd name="T27" fmla="*/ 0 h 36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202" h="3663">
                  <a:moveTo>
                    <a:pt x="0" y="0"/>
                  </a:moveTo>
                  <a:lnTo>
                    <a:pt x="0" y="3663"/>
                  </a:lnTo>
                  <a:lnTo>
                    <a:pt x="876" y="3663"/>
                  </a:lnTo>
                  <a:lnTo>
                    <a:pt x="876" y="2243"/>
                  </a:lnTo>
                  <a:lnTo>
                    <a:pt x="1184" y="2243"/>
                  </a:lnTo>
                  <a:lnTo>
                    <a:pt x="2107" y="3663"/>
                  </a:lnTo>
                  <a:lnTo>
                    <a:pt x="3184" y="3663"/>
                  </a:lnTo>
                  <a:lnTo>
                    <a:pt x="1961" y="1854"/>
                  </a:lnTo>
                  <a:lnTo>
                    <a:pt x="3202" y="0"/>
                  </a:lnTo>
                  <a:lnTo>
                    <a:pt x="2125" y="0"/>
                  </a:lnTo>
                  <a:lnTo>
                    <a:pt x="1214" y="1468"/>
                  </a:lnTo>
                  <a:lnTo>
                    <a:pt x="876" y="1468"/>
                  </a:lnTo>
                  <a:lnTo>
                    <a:pt x="876" y="0"/>
                  </a:lnTo>
                  <a:lnTo>
                    <a:pt x="0" y="0"/>
                  </a:lnTo>
                  <a:close/>
                </a:path>
              </a:pathLst>
            </a:custGeom>
            <a:solidFill>
              <a:schemeClr val="accent1"/>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13" name="Freeform 13"/>
            <p:cNvSpPr>
              <a:spLocks/>
            </p:cNvSpPr>
            <p:nvPr userDrawn="1"/>
          </p:nvSpPr>
          <p:spPr bwMode="auto">
            <a:xfrm>
              <a:off x="5207" y="344"/>
              <a:ext cx="53" cy="69"/>
            </a:xfrm>
            <a:custGeom>
              <a:avLst/>
              <a:gdLst>
                <a:gd name="T0" fmla="*/ 0 w 1062"/>
                <a:gd name="T1" fmla="*/ 0 h 1367"/>
                <a:gd name="T2" fmla="*/ 0 w 1062"/>
                <a:gd name="T3" fmla="*/ 0 h 1367"/>
                <a:gd name="T4" fmla="*/ 0 w 1062"/>
                <a:gd name="T5" fmla="*/ 0 h 1367"/>
                <a:gd name="T6" fmla="*/ 0 w 1062"/>
                <a:gd name="T7" fmla="*/ 0 h 1367"/>
                <a:gd name="T8" fmla="*/ 0 w 1062"/>
                <a:gd name="T9" fmla="*/ 0 h 1367"/>
                <a:gd name="T10" fmla="*/ 0 w 1062"/>
                <a:gd name="T11" fmla="*/ 0 h 1367"/>
                <a:gd name="T12" fmla="*/ 0 w 1062"/>
                <a:gd name="T13" fmla="*/ 0 h 1367"/>
                <a:gd name="T14" fmla="*/ 0 w 1062"/>
                <a:gd name="T15" fmla="*/ 0 h 1367"/>
                <a:gd name="T16" fmla="*/ 0 w 1062"/>
                <a:gd name="T17" fmla="*/ 0 h 1367"/>
                <a:gd name="T18" fmla="*/ 0 w 1062"/>
                <a:gd name="T19" fmla="*/ 0 h 1367"/>
                <a:gd name="T20" fmla="*/ 0 w 1062"/>
                <a:gd name="T21" fmla="*/ 0 h 1367"/>
                <a:gd name="T22" fmla="*/ 0 w 1062"/>
                <a:gd name="T23" fmla="*/ 0 h 1367"/>
                <a:gd name="T24" fmla="*/ 0 w 1062"/>
                <a:gd name="T25" fmla="*/ 0 h 1367"/>
                <a:gd name="T26" fmla="*/ 0 w 1062"/>
                <a:gd name="T27" fmla="*/ 0 h 1367"/>
                <a:gd name="T28" fmla="*/ 0 w 1062"/>
                <a:gd name="T29" fmla="*/ 0 h 1367"/>
                <a:gd name="T30" fmla="*/ 0 w 1062"/>
                <a:gd name="T31" fmla="*/ 0 h 1367"/>
                <a:gd name="T32" fmla="*/ 0 w 1062"/>
                <a:gd name="T33" fmla="*/ 0 h 1367"/>
                <a:gd name="T34" fmla="*/ 0 w 1062"/>
                <a:gd name="T35" fmla="*/ 0 h 1367"/>
                <a:gd name="T36" fmla="*/ 0 w 1062"/>
                <a:gd name="T37" fmla="*/ 0 h 1367"/>
                <a:gd name="T38" fmla="*/ 0 w 1062"/>
                <a:gd name="T39" fmla="*/ 0 h 1367"/>
                <a:gd name="T40" fmla="*/ 0 w 1062"/>
                <a:gd name="T41" fmla="*/ 0 h 1367"/>
                <a:gd name="T42" fmla="*/ 0 w 1062"/>
                <a:gd name="T43" fmla="*/ 0 h 1367"/>
                <a:gd name="T44" fmla="*/ 0 w 1062"/>
                <a:gd name="T45" fmla="*/ 0 h 1367"/>
                <a:gd name="T46" fmla="*/ 0 w 1062"/>
                <a:gd name="T47" fmla="*/ 0 h 1367"/>
                <a:gd name="T48" fmla="*/ 0 w 1062"/>
                <a:gd name="T49" fmla="*/ 0 h 1367"/>
                <a:gd name="T50" fmla="*/ 0 w 1062"/>
                <a:gd name="T51" fmla="*/ 0 h 1367"/>
                <a:gd name="T52" fmla="*/ 0 w 1062"/>
                <a:gd name="T53" fmla="*/ 0 h 1367"/>
                <a:gd name="T54" fmla="*/ 0 w 1062"/>
                <a:gd name="T55" fmla="*/ 0 h 1367"/>
                <a:gd name="T56" fmla="*/ 0 w 1062"/>
                <a:gd name="T57" fmla="*/ 0 h 1367"/>
                <a:gd name="T58" fmla="*/ 0 w 1062"/>
                <a:gd name="T59" fmla="*/ 0 h 1367"/>
                <a:gd name="T60" fmla="*/ 0 w 1062"/>
                <a:gd name="T61" fmla="*/ 0 h 1367"/>
                <a:gd name="T62" fmla="*/ 0 w 1062"/>
                <a:gd name="T63" fmla="*/ 0 h 1367"/>
                <a:gd name="T64" fmla="*/ 0 w 1062"/>
                <a:gd name="T65" fmla="*/ 0 h 1367"/>
                <a:gd name="T66" fmla="*/ 0 w 1062"/>
                <a:gd name="T67" fmla="*/ 0 h 1367"/>
                <a:gd name="T68" fmla="*/ 0 w 1062"/>
                <a:gd name="T69" fmla="*/ 0 h 1367"/>
                <a:gd name="T70" fmla="*/ 0 w 1062"/>
                <a:gd name="T71" fmla="*/ 0 h 1367"/>
                <a:gd name="T72" fmla="*/ 0 w 1062"/>
                <a:gd name="T73" fmla="*/ 0 h 1367"/>
                <a:gd name="T74" fmla="*/ 0 w 1062"/>
                <a:gd name="T75" fmla="*/ 0 h 1367"/>
                <a:gd name="T76" fmla="*/ 0 w 1062"/>
                <a:gd name="T77" fmla="*/ 0 h 1367"/>
                <a:gd name="T78" fmla="*/ 0 w 1062"/>
                <a:gd name="T79" fmla="*/ 0 h 1367"/>
                <a:gd name="T80" fmla="*/ 0 w 1062"/>
                <a:gd name="T81" fmla="*/ 0 h 1367"/>
                <a:gd name="T82" fmla="*/ 0 w 1062"/>
                <a:gd name="T83" fmla="*/ 0 h 1367"/>
                <a:gd name="T84" fmla="*/ 0 w 1062"/>
                <a:gd name="T85" fmla="*/ 0 h 1367"/>
                <a:gd name="T86" fmla="*/ 0 w 1062"/>
                <a:gd name="T87" fmla="*/ 0 h 1367"/>
                <a:gd name="T88" fmla="*/ 0 w 1062"/>
                <a:gd name="T89" fmla="*/ 0 h 1367"/>
                <a:gd name="T90" fmla="*/ 0 w 1062"/>
                <a:gd name="T91" fmla="*/ 0 h 1367"/>
                <a:gd name="T92" fmla="*/ 0 w 1062"/>
                <a:gd name="T93" fmla="*/ 0 h 1367"/>
                <a:gd name="T94" fmla="*/ 0 w 1062"/>
                <a:gd name="T95" fmla="*/ 0 h 1367"/>
                <a:gd name="T96" fmla="*/ 0 w 1062"/>
                <a:gd name="T97" fmla="*/ 0 h 1367"/>
                <a:gd name="T98" fmla="*/ 0 w 1062"/>
                <a:gd name="T99" fmla="*/ 0 h 1367"/>
                <a:gd name="T100" fmla="*/ 0 w 1062"/>
                <a:gd name="T101" fmla="*/ 0 h 1367"/>
                <a:gd name="T102" fmla="*/ 0 w 1062"/>
                <a:gd name="T103" fmla="*/ 0 h 1367"/>
                <a:gd name="T104" fmla="*/ 0 w 1062"/>
                <a:gd name="T105" fmla="*/ 0 h 1367"/>
                <a:gd name="T106" fmla="*/ 0 w 1062"/>
                <a:gd name="T107" fmla="*/ 0 h 1367"/>
                <a:gd name="T108" fmla="*/ 0 w 1062"/>
                <a:gd name="T109" fmla="*/ 0 h 1367"/>
                <a:gd name="T110" fmla="*/ 0 w 1062"/>
                <a:gd name="T111" fmla="*/ 0 h 1367"/>
                <a:gd name="T112" fmla="*/ 0 w 1062"/>
                <a:gd name="T113" fmla="*/ 0 h 1367"/>
                <a:gd name="T114" fmla="*/ 0 w 1062"/>
                <a:gd name="T115" fmla="*/ 0 h 1367"/>
                <a:gd name="T116" fmla="*/ 0 w 1062"/>
                <a:gd name="T117" fmla="*/ 0 h 1367"/>
                <a:gd name="T118" fmla="*/ 0 w 1062"/>
                <a:gd name="T119" fmla="*/ 0 h 1367"/>
                <a:gd name="T120" fmla="*/ 0 w 1062"/>
                <a:gd name="T121" fmla="*/ 0 h 13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62" h="1367">
                  <a:moveTo>
                    <a:pt x="0" y="1025"/>
                  </a:moveTo>
                  <a:lnTo>
                    <a:pt x="4" y="1040"/>
                  </a:lnTo>
                  <a:lnTo>
                    <a:pt x="8" y="1053"/>
                  </a:lnTo>
                  <a:lnTo>
                    <a:pt x="12" y="1067"/>
                  </a:lnTo>
                  <a:lnTo>
                    <a:pt x="17" y="1080"/>
                  </a:lnTo>
                  <a:lnTo>
                    <a:pt x="22" y="1094"/>
                  </a:lnTo>
                  <a:lnTo>
                    <a:pt x="28" y="1107"/>
                  </a:lnTo>
                  <a:lnTo>
                    <a:pt x="34" y="1120"/>
                  </a:lnTo>
                  <a:lnTo>
                    <a:pt x="41" y="1133"/>
                  </a:lnTo>
                  <a:lnTo>
                    <a:pt x="51" y="1150"/>
                  </a:lnTo>
                  <a:lnTo>
                    <a:pt x="62" y="1165"/>
                  </a:lnTo>
                  <a:lnTo>
                    <a:pt x="73" y="1180"/>
                  </a:lnTo>
                  <a:lnTo>
                    <a:pt x="86" y="1195"/>
                  </a:lnTo>
                  <a:lnTo>
                    <a:pt x="99" y="1209"/>
                  </a:lnTo>
                  <a:lnTo>
                    <a:pt x="112" y="1223"/>
                  </a:lnTo>
                  <a:lnTo>
                    <a:pt x="126" y="1236"/>
                  </a:lnTo>
                  <a:lnTo>
                    <a:pt x="141" y="1248"/>
                  </a:lnTo>
                  <a:lnTo>
                    <a:pt x="155" y="1259"/>
                  </a:lnTo>
                  <a:lnTo>
                    <a:pt x="169" y="1270"/>
                  </a:lnTo>
                  <a:lnTo>
                    <a:pt x="186" y="1281"/>
                  </a:lnTo>
                  <a:lnTo>
                    <a:pt x="203" y="1291"/>
                  </a:lnTo>
                  <a:lnTo>
                    <a:pt x="221" y="1301"/>
                  </a:lnTo>
                  <a:lnTo>
                    <a:pt x="242" y="1311"/>
                  </a:lnTo>
                  <a:lnTo>
                    <a:pt x="263" y="1321"/>
                  </a:lnTo>
                  <a:lnTo>
                    <a:pt x="287" y="1330"/>
                  </a:lnTo>
                  <a:lnTo>
                    <a:pt x="312" y="1338"/>
                  </a:lnTo>
                  <a:lnTo>
                    <a:pt x="339" y="1345"/>
                  </a:lnTo>
                  <a:lnTo>
                    <a:pt x="366" y="1352"/>
                  </a:lnTo>
                  <a:lnTo>
                    <a:pt x="397" y="1357"/>
                  </a:lnTo>
                  <a:lnTo>
                    <a:pt x="429" y="1361"/>
                  </a:lnTo>
                  <a:lnTo>
                    <a:pt x="463" y="1365"/>
                  </a:lnTo>
                  <a:lnTo>
                    <a:pt x="500" y="1367"/>
                  </a:lnTo>
                  <a:lnTo>
                    <a:pt x="539" y="1367"/>
                  </a:lnTo>
                  <a:lnTo>
                    <a:pt x="562" y="1367"/>
                  </a:lnTo>
                  <a:lnTo>
                    <a:pt x="584" y="1366"/>
                  </a:lnTo>
                  <a:lnTo>
                    <a:pt x="607" y="1365"/>
                  </a:lnTo>
                  <a:lnTo>
                    <a:pt x="628" y="1363"/>
                  </a:lnTo>
                  <a:lnTo>
                    <a:pt x="650" y="1360"/>
                  </a:lnTo>
                  <a:lnTo>
                    <a:pt x="669" y="1357"/>
                  </a:lnTo>
                  <a:lnTo>
                    <a:pt x="690" y="1354"/>
                  </a:lnTo>
                  <a:lnTo>
                    <a:pt x="708" y="1350"/>
                  </a:lnTo>
                  <a:lnTo>
                    <a:pt x="726" y="1346"/>
                  </a:lnTo>
                  <a:lnTo>
                    <a:pt x="745" y="1341"/>
                  </a:lnTo>
                  <a:lnTo>
                    <a:pt x="762" y="1336"/>
                  </a:lnTo>
                  <a:lnTo>
                    <a:pt x="778" y="1330"/>
                  </a:lnTo>
                  <a:lnTo>
                    <a:pt x="795" y="1325"/>
                  </a:lnTo>
                  <a:lnTo>
                    <a:pt x="810" y="1318"/>
                  </a:lnTo>
                  <a:lnTo>
                    <a:pt x="825" y="1311"/>
                  </a:lnTo>
                  <a:lnTo>
                    <a:pt x="839" y="1304"/>
                  </a:lnTo>
                  <a:lnTo>
                    <a:pt x="866" y="1290"/>
                  </a:lnTo>
                  <a:lnTo>
                    <a:pt x="890" y="1275"/>
                  </a:lnTo>
                  <a:lnTo>
                    <a:pt x="913" y="1260"/>
                  </a:lnTo>
                  <a:lnTo>
                    <a:pt x="933" y="1243"/>
                  </a:lnTo>
                  <a:lnTo>
                    <a:pt x="952" y="1227"/>
                  </a:lnTo>
                  <a:lnTo>
                    <a:pt x="968" y="1210"/>
                  </a:lnTo>
                  <a:lnTo>
                    <a:pt x="982" y="1193"/>
                  </a:lnTo>
                  <a:lnTo>
                    <a:pt x="995" y="1177"/>
                  </a:lnTo>
                  <a:lnTo>
                    <a:pt x="1005" y="1162"/>
                  </a:lnTo>
                  <a:lnTo>
                    <a:pt x="1016" y="1143"/>
                  </a:lnTo>
                  <a:lnTo>
                    <a:pt x="1027" y="1120"/>
                  </a:lnTo>
                  <a:lnTo>
                    <a:pt x="1037" y="1094"/>
                  </a:lnTo>
                  <a:lnTo>
                    <a:pt x="1042" y="1079"/>
                  </a:lnTo>
                  <a:lnTo>
                    <a:pt x="1048" y="1064"/>
                  </a:lnTo>
                  <a:lnTo>
                    <a:pt x="1052" y="1047"/>
                  </a:lnTo>
                  <a:lnTo>
                    <a:pt x="1055" y="1029"/>
                  </a:lnTo>
                  <a:lnTo>
                    <a:pt x="1058" y="1011"/>
                  </a:lnTo>
                  <a:lnTo>
                    <a:pt x="1060" y="993"/>
                  </a:lnTo>
                  <a:lnTo>
                    <a:pt x="1062" y="972"/>
                  </a:lnTo>
                  <a:lnTo>
                    <a:pt x="1062" y="952"/>
                  </a:lnTo>
                  <a:lnTo>
                    <a:pt x="1062" y="931"/>
                  </a:lnTo>
                  <a:lnTo>
                    <a:pt x="1060" y="910"/>
                  </a:lnTo>
                  <a:lnTo>
                    <a:pt x="1058" y="889"/>
                  </a:lnTo>
                  <a:lnTo>
                    <a:pt x="1054" y="869"/>
                  </a:lnTo>
                  <a:lnTo>
                    <a:pt x="1049" y="849"/>
                  </a:lnTo>
                  <a:lnTo>
                    <a:pt x="1043" y="829"/>
                  </a:lnTo>
                  <a:lnTo>
                    <a:pt x="1036" y="809"/>
                  </a:lnTo>
                  <a:lnTo>
                    <a:pt x="1028" y="790"/>
                  </a:lnTo>
                  <a:lnTo>
                    <a:pt x="1019" y="772"/>
                  </a:lnTo>
                  <a:lnTo>
                    <a:pt x="1009" y="755"/>
                  </a:lnTo>
                  <a:lnTo>
                    <a:pt x="998" y="737"/>
                  </a:lnTo>
                  <a:lnTo>
                    <a:pt x="985" y="720"/>
                  </a:lnTo>
                  <a:lnTo>
                    <a:pt x="972" y="705"/>
                  </a:lnTo>
                  <a:lnTo>
                    <a:pt x="958" y="689"/>
                  </a:lnTo>
                  <a:lnTo>
                    <a:pt x="941" y="675"/>
                  </a:lnTo>
                  <a:lnTo>
                    <a:pt x="925" y="662"/>
                  </a:lnTo>
                  <a:lnTo>
                    <a:pt x="903" y="647"/>
                  </a:lnTo>
                  <a:lnTo>
                    <a:pt x="879" y="632"/>
                  </a:lnTo>
                  <a:lnTo>
                    <a:pt x="856" y="621"/>
                  </a:lnTo>
                  <a:lnTo>
                    <a:pt x="830" y="610"/>
                  </a:lnTo>
                  <a:lnTo>
                    <a:pt x="805" y="601"/>
                  </a:lnTo>
                  <a:lnTo>
                    <a:pt x="779" y="593"/>
                  </a:lnTo>
                  <a:lnTo>
                    <a:pt x="753" y="584"/>
                  </a:lnTo>
                  <a:lnTo>
                    <a:pt x="726" y="577"/>
                  </a:lnTo>
                  <a:lnTo>
                    <a:pt x="708" y="572"/>
                  </a:lnTo>
                  <a:lnTo>
                    <a:pt x="690" y="566"/>
                  </a:lnTo>
                  <a:lnTo>
                    <a:pt x="671" y="562"/>
                  </a:lnTo>
                  <a:lnTo>
                    <a:pt x="653" y="557"/>
                  </a:lnTo>
                  <a:lnTo>
                    <a:pt x="634" y="552"/>
                  </a:lnTo>
                  <a:lnTo>
                    <a:pt x="616" y="548"/>
                  </a:lnTo>
                  <a:lnTo>
                    <a:pt x="598" y="543"/>
                  </a:lnTo>
                  <a:lnTo>
                    <a:pt x="580" y="538"/>
                  </a:lnTo>
                  <a:lnTo>
                    <a:pt x="542" y="529"/>
                  </a:lnTo>
                  <a:lnTo>
                    <a:pt x="508" y="521"/>
                  </a:lnTo>
                  <a:lnTo>
                    <a:pt x="478" y="515"/>
                  </a:lnTo>
                  <a:lnTo>
                    <a:pt x="454" y="508"/>
                  </a:lnTo>
                  <a:lnTo>
                    <a:pt x="430" y="501"/>
                  </a:lnTo>
                  <a:lnTo>
                    <a:pt x="411" y="493"/>
                  </a:lnTo>
                  <a:lnTo>
                    <a:pt x="401" y="489"/>
                  </a:lnTo>
                  <a:lnTo>
                    <a:pt x="392" y="483"/>
                  </a:lnTo>
                  <a:lnTo>
                    <a:pt x="383" y="477"/>
                  </a:lnTo>
                  <a:lnTo>
                    <a:pt x="373" y="470"/>
                  </a:lnTo>
                  <a:lnTo>
                    <a:pt x="364" y="463"/>
                  </a:lnTo>
                  <a:lnTo>
                    <a:pt x="356" y="455"/>
                  </a:lnTo>
                  <a:lnTo>
                    <a:pt x="348" y="447"/>
                  </a:lnTo>
                  <a:lnTo>
                    <a:pt x="342" y="439"/>
                  </a:lnTo>
                  <a:lnTo>
                    <a:pt x="336" y="432"/>
                  </a:lnTo>
                  <a:lnTo>
                    <a:pt x="330" y="424"/>
                  </a:lnTo>
                  <a:lnTo>
                    <a:pt x="326" y="415"/>
                  </a:lnTo>
                  <a:lnTo>
                    <a:pt x="322" y="408"/>
                  </a:lnTo>
                  <a:lnTo>
                    <a:pt x="317" y="393"/>
                  </a:lnTo>
                  <a:lnTo>
                    <a:pt x="313" y="380"/>
                  </a:lnTo>
                  <a:lnTo>
                    <a:pt x="311" y="368"/>
                  </a:lnTo>
                  <a:lnTo>
                    <a:pt x="310" y="358"/>
                  </a:lnTo>
                  <a:lnTo>
                    <a:pt x="310" y="351"/>
                  </a:lnTo>
                  <a:lnTo>
                    <a:pt x="311" y="343"/>
                  </a:lnTo>
                  <a:lnTo>
                    <a:pt x="312" y="334"/>
                  </a:lnTo>
                  <a:lnTo>
                    <a:pt x="314" y="324"/>
                  </a:lnTo>
                  <a:lnTo>
                    <a:pt x="318" y="313"/>
                  </a:lnTo>
                  <a:lnTo>
                    <a:pt x="323" y="300"/>
                  </a:lnTo>
                  <a:lnTo>
                    <a:pt x="329" y="288"/>
                  </a:lnTo>
                  <a:lnTo>
                    <a:pt x="338" y="276"/>
                  </a:lnTo>
                  <a:lnTo>
                    <a:pt x="342" y="270"/>
                  </a:lnTo>
                  <a:lnTo>
                    <a:pt x="347" y="264"/>
                  </a:lnTo>
                  <a:lnTo>
                    <a:pt x="352" y="259"/>
                  </a:lnTo>
                  <a:lnTo>
                    <a:pt x="357" y="253"/>
                  </a:lnTo>
                  <a:lnTo>
                    <a:pt x="363" y="247"/>
                  </a:lnTo>
                  <a:lnTo>
                    <a:pt x="368" y="243"/>
                  </a:lnTo>
                  <a:lnTo>
                    <a:pt x="374" y="238"/>
                  </a:lnTo>
                  <a:lnTo>
                    <a:pt x="381" y="234"/>
                  </a:lnTo>
                  <a:lnTo>
                    <a:pt x="392" y="228"/>
                  </a:lnTo>
                  <a:lnTo>
                    <a:pt x="404" y="223"/>
                  </a:lnTo>
                  <a:lnTo>
                    <a:pt x="416" y="218"/>
                  </a:lnTo>
                  <a:lnTo>
                    <a:pt x="428" y="214"/>
                  </a:lnTo>
                  <a:lnTo>
                    <a:pt x="454" y="207"/>
                  </a:lnTo>
                  <a:lnTo>
                    <a:pt x="478" y="203"/>
                  </a:lnTo>
                  <a:lnTo>
                    <a:pt x="501" y="200"/>
                  </a:lnTo>
                  <a:lnTo>
                    <a:pt x="520" y="198"/>
                  </a:lnTo>
                  <a:lnTo>
                    <a:pt x="534" y="197"/>
                  </a:lnTo>
                  <a:lnTo>
                    <a:pt x="543" y="197"/>
                  </a:lnTo>
                  <a:lnTo>
                    <a:pt x="559" y="198"/>
                  </a:lnTo>
                  <a:lnTo>
                    <a:pt x="574" y="198"/>
                  </a:lnTo>
                  <a:lnTo>
                    <a:pt x="591" y="200"/>
                  </a:lnTo>
                  <a:lnTo>
                    <a:pt x="606" y="202"/>
                  </a:lnTo>
                  <a:lnTo>
                    <a:pt x="621" y="205"/>
                  </a:lnTo>
                  <a:lnTo>
                    <a:pt x="636" y="209"/>
                  </a:lnTo>
                  <a:lnTo>
                    <a:pt x="652" y="213"/>
                  </a:lnTo>
                  <a:lnTo>
                    <a:pt x="666" y="219"/>
                  </a:lnTo>
                  <a:lnTo>
                    <a:pt x="680" y="225"/>
                  </a:lnTo>
                  <a:lnTo>
                    <a:pt x="694" y="232"/>
                  </a:lnTo>
                  <a:lnTo>
                    <a:pt x="706" y="241"/>
                  </a:lnTo>
                  <a:lnTo>
                    <a:pt x="718" y="251"/>
                  </a:lnTo>
                  <a:lnTo>
                    <a:pt x="730" y="261"/>
                  </a:lnTo>
                  <a:lnTo>
                    <a:pt x="741" y="273"/>
                  </a:lnTo>
                  <a:lnTo>
                    <a:pt x="751" y="286"/>
                  </a:lnTo>
                  <a:lnTo>
                    <a:pt x="760" y="299"/>
                  </a:lnTo>
                  <a:lnTo>
                    <a:pt x="762" y="302"/>
                  </a:lnTo>
                  <a:lnTo>
                    <a:pt x="764" y="307"/>
                  </a:lnTo>
                  <a:lnTo>
                    <a:pt x="767" y="312"/>
                  </a:lnTo>
                  <a:lnTo>
                    <a:pt x="770" y="317"/>
                  </a:lnTo>
                  <a:lnTo>
                    <a:pt x="773" y="323"/>
                  </a:lnTo>
                  <a:lnTo>
                    <a:pt x="776" y="330"/>
                  </a:lnTo>
                  <a:lnTo>
                    <a:pt x="779" y="337"/>
                  </a:lnTo>
                  <a:lnTo>
                    <a:pt x="782" y="345"/>
                  </a:lnTo>
                  <a:lnTo>
                    <a:pt x="796" y="342"/>
                  </a:lnTo>
                  <a:lnTo>
                    <a:pt x="808" y="339"/>
                  </a:lnTo>
                  <a:lnTo>
                    <a:pt x="821" y="336"/>
                  </a:lnTo>
                  <a:lnTo>
                    <a:pt x="834" y="333"/>
                  </a:lnTo>
                  <a:lnTo>
                    <a:pt x="847" y="331"/>
                  </a:lnTo>
                  <a:lnTo>
                    <a:pt x="859" y="327"/>
                  </a:lnTo>
                  <a:lnTo>
                    <a:pt x="872" y="324"/>
                  </a:lnTo>
                  <a:lnTo>
                    <a:pt x="884" y="321"/>
                  </a:lnTo>
                  <a:lnTo>
                    <a:pt x="900" y="317"/>
                  </a:lnTo>
                  <a:lnTo>
                    <a:pt x="915" y="313"/>
                  </a:lnTo>
                  <a:lnTo>
                    <a:pt x="929" y="308"/>
                  </a:lnTo>
                  <a:lnTo>
                    <a:pt x="945" y="303"/>
                  </a:lnTo>
                  <a:lnTo>
                    <a:pt x="960" y="299"/>
                  </a:lnTo>
                  <a:lnTo>
                    <a:pt x="974" y="294"/>
                  </a:lnTo>
                  <a:lnTo>
                    <a:pt x="989" y="290"/>
                  </a:lnTo>
                  <a:lnTo>
                    <a:pt x="1004" y="285"/>
                  </a:lnTo>
                  <a:lnTo>
                    <a:pt x="1003" y="280"/>
                  </a:lnTo>
                  <a:lnTo>
                    <a:pt x="1001" y="274"/>
                  </a:lnTo>
                  <a:lnTo>
                    <a:pt x="998" y="265"/>
                  </a:lnTo>
                  <a:lnTo>
                    <a:pt x="995" y="255"/>
                  </a:lnTo>
                  <a:lnTo>
                    <a:pt x="990" y="244"/>
                  </a:lnTo>
                  <a:lnTo>
                    <a:pt x="984" y="232"/>
                  </a:lnTo>
                  <a:lnTo>
                    <a:pt x="979" y="220"/>
                  </a:lnTo>
                  <a:lnTo>
                    <a:pt x="972" y="208"/>
                  </a:lnTo>
                  <a:lnTo>
                    <a:pt x="962" y="191"/>
                  </a:lnTo>
                  <a:lnTo>
                    <a:pt x="951" y="176"/>
                  </a:lnTo>
                  <a:lnTo>
                    <a:pt x="938" y="162"/>
                  </a:lnTo>
                  <a:lnTo>
                    <a:pt x="927" y="150"/>
                  </a:lnTo>
                  <a:lnTo>
                    <a:pt x="916" y="139"/>
                  </a:lnTo>
                  <a:lnTo>
                    <a:pt x="906" y="129"/>
                  </a:lnTo>
                  <a:lnTo>
                    <a:pt x="898" y="121"/>
                  </a:lnTo>
                  <a:lnTo>
                    <a:pt x="891" y="116"/>
                  </a:lnTo>
                  <a:lnTo>
                    <a:pt x="879" y="106"/>
                  </a:lnTo>
                  <a:lnTo>
                    <a:pt x="866" y="96"/>
                  </a:lnTo>
                  <a:lnTo>
                    <a:pt x="853" y="87"/>
                  </a:lnTo>
                  <a:lnTo>
                    <a:pt x="840" y="78"/>
                  </a:lnTo>
                  <a:lnTo>
                    <a:pt x="814" y="63"/>
                  </a:lnTo>
                  <a:lnTo>
                    <a:pt x="788" y="50"/>
                  </a:lnTo>
                  <a:lnTo>
                    <a:pt x="762" y="39"/>
                  </a:lnTo>
                  <a:lnTo>
                    <a:pt x="736" y="30"/>
                  </a:lnTo>
                  <a:lnTo>
                    <a:pt x="711" y="21"/>
                  </a:lnTo>
                  <a:lnTo>
                    <a:pt x="686" y="15"/>
                  </a:lnTo>
                  <a:lnTo>
                    <a:pt x="663" y="10"/>
                  </a:lnTo>
                  <a:lnTo>
                    <a:pt x="641" y="7"/>
                  </a:lnTo>
                  <a:lnTo>
                    <a:pt x="619" y="4"/>
                  </a:lnTo>
                  <a:lnTo>
                    <a:pt x="600" y="2"/>
                  </a:lnTo>
                  <a:lnTo>
                    <a:pt x="565" y="0"/>
                  </a:lnTo>
                  <a:lnTo>
                    <a:pt x="539" y="0"/>
                  </a:lnTo>
                  <a:lnTo>
                    <a:pt x="516" y="0"/>
                  </a:lnTo>
                  <a:lnTo>
                    <a:pt x="496" y="1"/>
                  </a:lnTo>
                  <a:lnTo>
                    <a:pt x="474" y="3"/>
                  </a:lnTo>
                  <a:lnTo>
                    <a:pt x="455" y="5"/>
                  </a:lnTo>
                  <a:lnTo>
                    <a:pt x="435" y="8"/>
                  </a:lnTo>
                  <a:lnTo>
                    <a:pt x="416" y="11"/>
                  </a:lnTo>
                  <a:lnTo>
                    <a:pt x="398" y="14"/>
                  </a:lnTo>
                  <a:lnTo>
                    <a:pt x="380" y="18"/>
                  </a:lnTo>
                  <a:lnTo>
                    <a:pt x="363" y="23"/>
                  </a:lnTo>
                  <a:lnTo>
                    <a:pt x="347" y="29"/>
                  </a:lnTo>
                  <a:lnTo>
                    <a:pt x="332" y="34"/>
                  </a:lnTo>
                  <a:lnTo>
                    <a:pt x="316" y="40"/>
                  </a:lnTo>
                  <a:lnTo>
                    <a:pt x="287" y="52"/>
                  </a:lnTo>
                  <a:lnTo>
                    <a:pt x="260" y="65"/>
                  </a:lnTo>
                  <a:lnTo>
                    <a:pt x="237" y="80"/>
                  </a:lnTo>
                  <a:lnTo>
                    <a:pt x="214" y="96"/>
                  </a:lnTo>
                  <a:lnTo>
                    <a:pt x="194" y="112"/>
                  </a:lnTo>
                  <a:lnTo>
                    <a:pt x="175" y="128"/>
                  </a:lnTo>
                  <a:lnTo>
                    <a:pt x="159" y="145"/>
                  </a:lnTo>
                  <a:lnTo>
                    <a:pt x="145" y="161"/>
                  </a:lnTo>
                  <a:lnTo>
                    <a:pt x="133" y="177"/>
                  </a:lnTo>
                  <a:lnTo>
                    <a:pt x="122" y="193"/>
                  </a:lnTo>
                  <a:lnTo>
                    <a:pt x="112" y="209"/>
                  </a:lnTo>
                  <a:lnTo>
                    <a:pt x="104" y="225"/>
                  </a:lnTo>
                  <a:lnTo>
                    <a:pt x="97" y="241"/>
                  </a:lnTo>
                  <a:lnTo>
                    <a:pt x="91" y="257"/>
                  </a:lnTo>
                  <a:lnTo>
                    <a:pt x="86" y="273"/>
                  </a:lnTo>
                  <a:lnTo>
                    <a:pt x="81" y="288"/>
                  </a:lnTo>
                  <a:lnTo>
                    <a:pt x="78" y="302"/>
                  </a:lnTo>
                  <a:lnTo>
                    <a:pt x="74" y="318"/>
                  </a:lnTo>
                  <a:lnTo>
                    <a:pt x="69" y="344"/>
                  </a:lnTo>
                  <a:lnTo>
                    <a:pt x="67" y="369"/>
                  </a:lnTo>
                  <a:lnTo>
                    <a:pt x="66" y="389"/>
                  </a:lnTo>
                  <a:lnTo>
                    <a:pt x="65" y="404"/>
                  </a:lnTo>
                  <a:lnTo>
                    <a:pt x="66" y="424"/>
                  </a:lnTo>
                  <a:lnTo>
                    <a:pt x="67" y="447"/>
                  </a:lnTo>
                  <a:lnTo>
                    <a:pt x="69" y="460"/>
                  </a:lnTo>
                  <a:lnTo>
                    <a:pt x="71" y="473"/>
                  </a:lnTo>
                  <a:lnTo>
                    <a:pt x="74" y="489"/>
                  </a:lnTo>
                  <a:lnTo>
                    <a:pt x="79" y="503"/>
                  </a:lnTo>
                  <a:lnTo>
                    <a:pt x="84" y="519"/>
                  </a:lnTo>
                  <a:lnTo>
                    <a:pt x="90" y="536"/>
                  </a:lnTo>
                  <a:lnTo>
                    <a:pt x="97" y="552"/>
                  </a:lnTo>
                  <a:lnTo>
                    <a:pt x="105" y="568"/>
                  </a:lnTo>
                  <a:lnTo>
                    <a:pt x="115" y="585"/>
                  </a:lnTo>
                  <a:lnTo>
                    <a:pt x="126" y="603"/>
                  </a:lnTo>
                  <a:lnTo>
                    <a:pt x="139" y="620"/>
                  </a:lnTo>
                  <a:lnTo>
                    <a:pt x="154" y="637"/>
                  </a:lnTo>
                  <a:lnTo>
                    <a:pt x="165" y="650"/>
                  </a:lnTo>
                  <a:lnTo>
                    <a:pt x="177" y="660"/>
                  </a:lnTo>
                  <a:lnTo>
                    <a:pt x="189" y="670"/>
                  </a:lnTo>
                  <a:lnTo>
                    <a:pt x="200" y="679"/>
                  </a:lnTo>
                  <a:lnTo>
                    <a:pt x="211" y="687"/>
                  </a:lnTo>
                  <a:lnTo>
                    <a:pt x="221" y="695"/>
                  </a:lnTo>
                  <a:lnTo>
                    <a:pt x="232" y="702"/>
                  </a:lnTo>
                  <a:lnTo>
                    <a:pt x="243" y="708"/>
                  </a:lnTo>
                  <a:lnTo>
                    <a:pt x="262" y="718"/>
                  </a:lnTo>
                  <a:lnTo>
                    <a:pt x="279" y="726"/>
                  </a:lnTo>
                  <a:lnTo>
                    <a:pt x="296" y="732"/>
                  </a:lnTo>
                  <a:lnTo>
                    <a:pt x="310" y="736"/>
                  </a:lnTo>
                  <a:lnTo>
                    <a:pt x="317" y="738"/>
                  </a:lnTo>
                  <a:lnTo>
                    <a:pt x="325" y="740"/>
                  </a:lnTo>
                  <a:lnTo>
                    <a:pt x="333" y="743"/>
                  </a:lnTo>
                  <a:lnTo>
                    <a:pt x="341" y="745"/>
                  </a:lnTo>
                  <a:lnTo>
                    <a:pt x="349" y="747"/>
                  </a:lnTo>
                  <a:lnTo>
                    <a:pt x="357" y="750"/>
                  </a:lnTo>
                  <a:lnTo>
                    <a:pt x="365" y="752"/>
                  </a:lnTo>
                  <a:lnTo>
                    <a:pt x="373" y="756"/>
                  </a:lnTo>
                  <a:lnTo>
                    <a:pt x="389" y="761"/>
                  </a:lnTo>
                  <a:lnTo>
                    <a:pt x="405" y="765"/>
                  </a:lnTo>
                  <a:lnTo>
                    <a:pt x="420" y="770"/>
                  </a:lnTo>
                  <a:lnTo>
                    <a:pt x="437" y="774"/>
                  </a:lnTo>
                  <a:lnTo>
                    <a:pt x="453" y="778"/>
                  </a:lnTo>
                  <a:lnTo>
                    <a:pt x="468" y="782"/>
                  </a:lnTo>
                  <a:lnTo>
                    <a:pt x="485" y="786"/>
                  </a:lnTo>
                  <a:lnTo>
                    <a:pt x="501" y="791"/>
                  </a:lnTo>
                  <a:lnTo>
                    <a:pt x="529" y="797"/>
                  </a:lnTo>
                  <a:lnTo>
                    <a:pt x="561" y="804"/>
                  </a:lnTo>
                  <a:lnTo>
                    <a:pt x="594" y="812"/>
                  </a:lnTo>
                  <a:lnTo>
                    <a:pt x="627" y="820"/>
                  </a:lnTo>
                  <a:lnTo>
                    <a:pt x="660" y="829"/>
                  </a:lnTo>
                  <a:lnTo>
                    <a:pt x="692" y="840"/>
                  </a:lnTo>
                  <a:lnTo>
                    <a:pt x="706" y="846"/>
                  </a:lnTo>
                  <a:lnTo>
                    <a:pt x="720" y="852"/>
                  </a:lnTo>
                  <a:lnTo>
                    <a:pt x="733" y="858"/>
                  </a:lnTo>
                  <a:lnTo>
                    <a:pt x="745" y="866"/>
                  </a:lnTo>
                  <a:lnTo>
                    <a:pt x="755" y="873"/>
                  </a:lnTo>
                  <a:lnTo>
                    <a:pt x="764" y="880"/>
                  </a:lnTo>
                  <a:lnTo>
                    <a:pt x="772" y="888"/>
                  </a:lnTo>
                  <a:lnTo>
                    <a:pt x="779" y="896"/>
                  </a:lnTo>
                  <a:lnTo>
                    <a:pt x="785" y="905"/>
                  </a:lnTo>
                  <a:lnTo>
                    <a:pt x="791" y="913"/>
                  </a:lnTo>
                  <a:lnTo>
                    <a:pt x="795" y="923"/>
                  </a:lnTo>
                  <a:lnTo>
                    <a:pt x="799" y="931"/>
                  </a:lnTo>
                  <a:lnTo>
                    <a:pt x="805" y="947"/>
                  </a:lnTo>
                  <a:lnTo>
                    <a:pt x="808" y="962"/>
                  </a:lnTo>
                  <a:lnTo>
                    <a:pt x="810" y="975"/>
                  </a:lnTo>
                  <a:lnTo>
                    <a:pt x="811" y="986"/>
                  </a:lnTo>
                  <a:lnTo>
                    <a:pt x="811" y="994"/>
                  </a:lnTo>
                  <a:lnTo>
                    <a:pt x="810" y="1004"/>
                  </a:lnTo>
                  <a:lnTo>
                    <a:pt x="808" y="1015"/>
                  </a:lnTo>
                  <a:lnTo>
                    <a:pt x="805" y="1027"/>
                  </a:lnTo>
                  <a:lnTo>
                    <a:pt x="801" y="1041"/>
                  </a:lnTo>
                  <a:lnTo>
                    <a:pt x="795" y="1054"/>
                  </a:lnTo>
                  <a:lnTo>
                    <a:pt x="787" y="1068"/>
                  </a:lnTo>
                  <a:lnTo>
                    <a:pt x="777" y="1083"/>
                  </a:lnTo>
                  <a:lnTo>
                    <a:pt x="770" y="1091"/>
                  </a:lnTo>
                  <a:lnTo>
                    <a:pt x="764" y="1097"/>
                  </a:lnTo>
                  <a:lnTo>
                    <a:pt x="757" y="1103"/>
                  </a:lnTo>
                  <a:lnTo>
                    <a:pt x="750" y="1109"/>
                  </a:lnTo>
                  <a:lnTo>
                    <a:pt x="743" y="1115"/>
                  </a:lnTo>
                  <a:lnTo>
                    <a:pt x="735" y="1120"/>
                  </a:lnTo>
                  <a:lnTo>
                    <a:pt x="728" y="1125"/>
                  </a:lnTo>
                  <a:lnTo>
                    <a:pt x="721" y="1130"/>
                  </a:lnTo>
                  <a:lnTo>
                    <a:pt x="708" y="1136"/>
                  </a:lnTo>
                  <a:lnTo>
                    <a:pt x="696" y="1141"/>
                  </a:lnTo>
                  <a:lnTo>
                    <a:pt x="681" y="1147"/>
                  </a:lnTo>
                  <a:lnTo>
                    <a:pt x="668" y="1151"/>
                  </a:lnTo>
                  <a:lnTo>
                    <a:pt x="641" y="1157"/>
                  </a:lnTo>
                  <a:lnTo>
                    <a:pt x="614" y="1161"/>
                  </a:lnTo>
                  <a:lnTo>
                    <a:pt x="590" y="1164"/>
                  </a:lnTo>
                  <a:lnTo>
                    <a:pt x="569" y="1165"/>
                  </a:lnTo>
                  <a:lnTo>
                    <a:pt x="554" y="1166"/>
                  </a:lnTo>
                  <a:lnTo>
                    <a:pt x="545" y="1166"/>
                  </a:lnTo>
                  <a:lnTo>
                    <a:pt x="514" y="1165"/>
                  </a:lnTo>
                  <a:lnTo>
                    <a:pt x="487" y="1163"/>
                  </a:lnTo>
                  <a:lnTo>
                    <a:pt x="460" y="1160"/>
                  </a:lnTo>
                  <a:lnTo>
                    <a:pt x="436" y="1156"/>
                  </a:lnTo>
                  <a:lnTo>
                    <a:pt x="413" y="1151"/>
                  </a:lnTo>
                  <a:lnTo>
                    <a:pt x="392" y="1144"/>
                  </a:lnTo>
                  <a:lnTo>
                    <a:pt x="372" y="1138"/>
                  </a:lnTo>
                  <a:lnTo>
                    <a:pt x="355" y="1130"/>
                  </a:lnTo>
                  <a:lnTo>
                    <a:pt x="338" y="1122"/>
                  </a:lnTo>
                  <a:lnTo>
                    <a:pt x="323" y="1113"/>
                  </a:lnTo>
                  <a:lnTo>
                    <a:pt x="309" y="1103"/>
                  </a:lnTo>
                  <a:lnTo>
                    <a:pt x="297" y="1093"/>
                  </a:lnTo>
                  <a:lnTo>
                    <a:pt x="286" y="1082"/>
                  </a:lnTo>
                  <a:lnTo>
                    <a:pt x="275" y="1071"/>
                  </a:lnTo>
                  <a:lnTo>
                    <a:pt x="267" y="1059"/>
                  </a:lnTo>
                  <a:lnTo>
                    <a:pt x="259" y="1048"/>
                  </a:lnTo>
                  <a:lnTo>
                    <a:pt x="254" y="1040"/>
                  </a:lnTo>
                  <a:lnTo>
                    <a:pt x="249" y="1031"/>
                  </a:lnTo>
                  <a:lnTo>
                    <a:pt x="245" y="1023"/>
                  </a:lnTo>
                  <a:lnTo>
                    <a:pt x="241" y="1015"/>
                  </a:lnTo>
                  <a:lnTo>
                    <a:pt x="238" y="1008"/>
                  </a:lnTo>
                  <a:lnTo>
                    <a:pt x="235" y="1000"/>
                  </a:lnTo>
                  <a:lnTo>
                    <a:pt x="232" y="991"/>
                  </a:lnTo>
                  <a:lnTo>
                    <a:pt x="228" y="983"/>
                  </a:lnTo>
                  <a:lnTo>
                    <a:pt x="0" y="1025"/>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14" name="Freeform 14"/>
            <p:cNvSpPr>
              <a:spLocks noEditPoints="1"/>
            </p:cNvSpPr>
            <p:nvPr userDrawn="1"/>
          </p:nvSpPr>
          <p:spPr bwMode="auto">
            <a:xfrm>
              <a:off x="5267" y="362"/>
              <a:ext cx="44" cy="50"/>
            </a:xfrm>
            <a:custGeom>
              <a:avLst/>
              <a:gdLst>
                <a:gd name="T0" fmla="*/ 0 w 873"/>
                <a:gd name="T1" fmla="*/ 0 h 1017"/>
                <a:gd name="T2" fmla="*/ 0 w 873"/>
                <a:gd name="T3" fmla="*/ 0 h 1017"/>
                <a:gd name="T4" fmla="*/ 0 w 873"/>
                <a:gd name="T5" fmla="*/ 0 h 1017"/>
                <a:gd name="T6" fmla="*/ 0 w 873"/>
                <a:gd name="T7" fmla="*/ 0 h 1017"/>
                <a:gd name="T8" fmla="*/ 0 w 873"/>
                <a:gd name="T9" fmla="*/ 0 h 1017"/>
                <a:gd name="T10" fmla="*/ 0 w 873"/>
                <a:gd name="T11" fmla="*/ 0 h 1017"/>
                <a:gd name="T12" fmla="*/ 0 w 873"/>
                <a:gd name="T13" fmla="*/ 0 h 1017"/>
                <a:gd name="T14" fmla="*/ 0 w 873"/>
                <a:gd name="T15" fmla="*/ 0 h 1017"/>
                <a:gd name="T16" fmla="*/ 0 w 873"/>
                <a:gd name="T17" fmla="*/ 0 h 1017"/>
                <a:gd name="T18" fmla="*/ 0 w 873"/>
                <a:gd name="T19" fmla="*/ 0 h 1017"/>
                <a:gd name="T20" fmla="*/ 0 w 873"/>
                <a:gd name="T21" fmla="*/ 0 h 1017"/>
                <a:gd name="T22" fmla="*/ 0 w 873"/>
                <a:gd name="T23" fmla="*/ 0 h 1017"/>
                <a:gd name="T24" fmla="*/ 0 w 873"/>
                <a:gd name="T25" fmla="*/ 0 h 1017"/>
                <a:gd name="T26" fmla="*/ 0 w 873"/>
                <a:gd name="T27" fmla="*/ 0 h 1017"/>
                <a:gd name="T28" fmla="*/ 0 w 873"/>
                <a:gd name="T29" fmla="*/ 0 h 1017"/>
                <a:gd name="T30" fmla="*/ 0 w 873"/>
                <a:gd name="T31" fmla="*/ 0 h 1017"/>
                <a:gd name="T32" fmla="*/ 0 w 873"/>
                <a:gd name="T33" fmla="*/ 0 h 1017"/>
                <a:gd name="T34" fmla="*/ 0 w 873"/>
                <a:gd name="T35" fmla="*/ 0 h 1017"/>
                <a:gd name="T36" fmla="*/ 0 w 873"/>
                <a:gd name="T37" fmla="*/ 0 h 1017"/>
                <a:gd name="T38" fmla="*/ 0 w 873"/>
                <a:gd name="T39" fmla="*/ 0 h 1017"/>
                <a:gd name="T40" fmla="*/ 0 w 873"/>
                <a:gd name="T41" fmla="*/ 0 h 1017"/>
                <a:gd name="T42" fmla="*/ 0 w 873"/>
                <a:gd name="T43" fmla="*/ 0 h 1017"/>
                <a:gd name="T44" fmla="*/ 0 w 873"/>
                <a:gd name="T45" fmla="*/ 0 h 1017"/>
                <a:gd name="T46" fmla="*/ 0 w 873"/>
                <a:gd name="T47" fmla="*/ 0 h 1017"/>
                <a:gd name="T48" fmla="*/ 0 w 873"/>
                <a:gd name="T49" fmla="*/ 0 h 1017"/>
                <a:gd name="T50" fmla="*/ 0 w 873"/>
                <a:gd name="T51" fmla="*/ 0 h 1017"/>
                <a:gd name="T52" fmla="*/ 0 w 873"/>
                <a:gd name="T53" fmla="*/ 0 h 1017"/>
                <a:gd name="T54" fmla="*/ 0 w 873"/>
                <a:gd name="T55" fmla="*/ 0 h 1017"/>
                <a:gd name="T56" fmla="*/ 0 w 873"/>
                <a:gd name="T57" fmla="*/ 0 h 1017"/>
                <a:gd name="T58" fmla="*/ 0 w 873"/>
                <a:gd name="T59" fmla="*/ 0 h 1017"/>
                <a:gd name="T60" fmla="*/ 0 w 873"/>
                <a:gd name="T61" fmla="*/ 0 h 1017"/>
                <a:gd name="T62" fmla="*/ 0 w 873"/>
                <a:gd name="T63" fmla="*/ 0 h 1017"/>
                <a:gd name="T64" fmla="*/ 0 w 873"/>
                <a:gd name="T65" fmla="*/ 0 h 1017"/>
                <a:gd name="T66" fmla="*/ 0 w 873"/>
                <a:gd name="T67" fmla="*/ 0 h 1017"/>
                <a:gd name="T68" fmla="*/ 0 w 873"/>
                <a:gd name="T69" fmla="*/ 0 h 1017"/>
                <a:gd name="T70" fmla="*/ 0 w 873"/>
                <a:gd name="T71" fmla="*/ 0 h 1017"/>
                <a:gd name="T72" fmla="*/ 0 w 873"/>
                <a:gd name="T73" fmla="*/ 0 h 1017"/>
                <a:gd name="T74" fmla="*/ 0 w 873"/>
                <a:gd name="T75" fmla="*/ 0 h 1017"/>
                <a:gd name="T76" fmla="*/ 0 w 873"/>
                <a:gd name="T77" fmla="*/ 0 h 1017"/>
                <a:gd name="T78" fmla="*/ 0 w 873"/>
                <a:gd name="T79" fmla="*/ 0 h 1017"/>
                <a:gd name="T80" fmla="*/ 0 w 873"/>
                <a:gd name="T81" fmla="*/ 0 h 1017"/>
                <a:gd name="T82" fmla="*/ 0 w 873"/>
                <a:gd name="T83" fmla="*/ 0 h 1017"/>
                <a:gd name="T84" fmla="*/ 0 w 873"/>
                <a:gd name="T85" fmla="*/ 0 h 1017"/>
                <a:gd name="T86" fmla="*/ 0 w 873"/>
                <a:gd name="T87" fmla="*/ 0 h 1017"/>
                <a:gd name="T88" fmla="*/ 0 w 873"/>
                <a:gd name="T89" fmla="*/ 0 h 1017"/>
                <a:gd name="T90" fmla="*/ 0 w 873"/>
                <a:gd name="T91" fmla="*/ 0 h 1017"/>
                <a:gd name="T92" fmla="*/ 0 w 873"/>
                <a:gd name="T93" fmla="*/ 0 h 1017"/>
                <a:gd name="T94" fmla="*/ 0 w 873"/>
                <a:gd name="T95" fmla="*/ 0 h 1017"/>
                <a:gd name="T96" fmla="*/ 0 w 873"/>
                <a:gd name="T97" fmla="*/ 0 h 1017"/>
                <a:gd name="T98" fmla="*/ 0 w 873"/>
                <a:gd name="T99" fmla="*/ 0 h 1017"/>
                <a:gd name="T100" fmla="*/ 0 w 873"/>
                <a:gd name="T101" fmla="*/ 0 h 1017"/>
                <a:gd name="T102" fmla="*/ 0 w 873"/>
                <a:gd name="T103" fmla="*/ 0 h 1017"/>
                <a:gd name="T104" fmla="*/ 0 w 873"/>
                <a:gd name="T105" fmla="*/ 0 h 1017"/>
                <a:gd name="T106" fmla="*/ 0 w 873"/>
                <a:gd name="T107" fmla="*/ 0 h 1017"/>
                <a:gd name="T108" fmla="*/ 0 w 873"/>
                <a:gd name="T109" fmla="*/ 0 h 1017"/>
                <a:gd name="T110" fmla="*/ 0 w 873"/>
                <a:gd name="T111" fmla="*/ 0 h 1017"/>
                <a:gd name="T112" fmla="*/ 0 w 873"/>
                <a:gd name="T113" fmla="*/ 0 h 1017"/>
                <a:gd name="T114" fmla="*/ 0 w 873"/>
                <a:gd name="T115" fmla="*/ 0 h 1017"/>
                <a:gd name="T116" fmla="*/ 0 w 873"/>
                <a:gd name="T117" fmla="*/ 0 h 1017"/>
                <a:gd name="T118" fmla="*/ 0 w 873"/>
                <a:gd name="T119" fmla="*/ 0 h 1017"/>
                <a:gd name="T120" fmla="*/ 0 w 873"/>
                <a:gd name="T121" fmla="*/ 0 h 1017"/>
                <a:gd name="T122" fmla="*/ 0 w 873"/>
                <a:gd name="T123" fmla="*/ 0 h 1017"/>
                <a:gd name="T124" fmla="*/ 0 w 873"/>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3" h="1017">
                  <a:moveTo>
                    <a:pt x="873" y="537"/>
                  </a:moveTo>
                  <a:lnTo>
                    <a:pt x="873" y="509"/>
                  </a:lnTo>
                  <a:lnTo>
                    <a:pt x="872" y="481"/>
                  </a:lnTo>
                  <a:lnTo>
                    <a:pt x="871" y="451"/>
                  </a:lnTo>
                  <a:lnTo>
                    <a:pt x="869" y="423"/>
                  </a:lnTo>
                  <a:lnTo>
                    <a:pt x="867" y="394"/>
                  </a:lnTo>
                  <a:lnTo>
                    <a:pt x="862" y="366"/>
                  </a:lnTo>
                  <a:lnTo>
                    <a:pt x="858" y="338"/>
                  </a:lnTo>
                  <a:lnTo>
                    <a:pt x="851" y="311"/>
                  </a:lnTo>
                  <a:lnTo>
                    <a:pt x="848" y="301"/>
                  </a:lnTo>
                  <a:lnTo>
                    <a:pt x="844" y="287"/>
                  </a:lnTo>
                  <a:lnTo>
                    <a:pt x="839" y="273"/>
                  </a:lnTo>
                  <a:lnTo>
                    <a:pt x="833" y="256"/>
                  </a:lnTo>
                  <a:lnTo>
                    <a:pt x="825" y="238"/>
                  </a:lnTo>
                  <a:lnTo>
                    <a:pt x="816" y="219"/>
                  </a:lnTo>
                  <a:lnTo>
                    <a:pt x="803" y="199"/>
                  </a:lnTo>
                  <a:lnTo>
                    <a:pt x="790" y="178"/>
                  </a:lnTo>
                  <a:lnTo>
                    <a:pt x="779" y="163"/>
                  </a:lnTo>
                  <a:lnTo>
                    <a:pt x="769" y="150"/>
                  </a:lnTo>
                  <a:lnTo>
                    <a:pt x="757" y="137"/>
                  </a:lnTo>
                  <a:lnTo>
                    <a:pt x="746" y="124"/>
                  </a:lnTo>
                  <a:lnTo>
                    <a:pt x="734" y="112"/>
                  </a:lnTo>
                  <a:lnTo>
                    <a:pt x="723" y="102"/>
                  </a:lnTo>
                  <a:lnTo>
                    <a:pt x="710" y="92"/>
                  </a:lnTo>
                  <a:lnTo>
                    <a:pt x="699" y="82"/>
                  </a:lnTo>
                  <a:lnTo>
                    <a:pt x="687" y="74"/>
                  </a:lnTo>
                  <a:lnTo>
                    <a:pt x="675" y="65"/>
                  </a:lnTo>
                  <a:lnTo>
                    <a:pt x="663" y="57"/>
                  </a:lnTo>
                  <a:lnTo>
                    <a:pt x="650" y="51"/>
                  </a:lnTo>
                  <a:lnTo>
                    <a:pt x="626" y="39"/>
                  </a:lnTo>
                  <a:lnTo>
                    <a:pt x="601" y="29"/>
                  </a:lnTo>
                  <a:lnTo>
                    <a:pt x="578" y="21"/>
                  </a:lnTo>
                  <a:lnTo>
                    <a:pt x="555" y="13"/>
                  </a:lnTo>
                  <a:lnTo>
                    <a:pt x="533" y="8"/>
                  </a:lnTo>
                  <a:lnTo>
                    <a:pt x="513" y="5"/>
                  </a:lnTo>
                  <a:lnTo>
                    <a:pt x="492" y="2"/>
                  </a:lnTo>
                  <a:lnTo>
                    <a:pt x="475" y="1"/>
                  </a:lnTo>
                  <a:lnTo>
                    <a:pt x="459" y="0"/>
                  </a:lnTo>
                  <a:lnTo>
                    <a:pt x="444" y="0"/>
                  </a:lnTo>
                  <a:lnTo>
                    <a:pt x="426" y="0"/>
                  </a:lnTo>
                  <a:lnTo>
                    <a:pt x="408" y="1"/>
                  </a:lnTo>
                  <a:lnTo>
                    <a:pt x="389" y="3"/>
                  </a:lnTo>
                  <a:lnTo>
                    <a:pt x="372" y="5"/>
                  </a:lnTo>
                  <a:lnTo>
                    <a:pt x="353" y="8"/>
                  </a:lnTo>
                  <a:lnTo>
                    <a:pt x="336" y="12"/>
                  </a:lnTo>
                  <a:lnTo>
                    <a:pt x="320" y="17"/>
                  </a:lnTo>
                  <a:lnTo>
                    <a:pt x="303" y="22"/>
                  </a:lnTo>
                  <a:lnTo>
                    <a:pt x="287" y="28"/>
                  </a:lnTo>
                  <a:lnTo>
                    <a:pt x="271" y="34"/>
                  </a:lnTo>
                  <a:lnTo>
                    <a:pt x="256" y="41"/>
                  </a:lnTo>
                  <a:lnTo>
                    <a:pt x="240" y="48"/>
                  </a:lnTo>
                  <a:lnTo>
                    <a:pt x="225" y="56"/>
                  </a:lnTo>
                  <a:lnTo>
                    <a:pt x="211" y="65"/>
                  </a:lnTo>
                  <a:lnTo>
                    <a:pt x="197" y="75"/>
                  </a:lnTo>
                  <a:lnTo>
                    <a:pt x="183" y="84"/>
                  </a:lnTo>
                  <a:lnTo>
                    <a:pt x="170" y="95"/>
                  </a:lnTo>
                  <a:lnTo>
                    <a:pt x="158" y="105"/>
                  </a:lnTo>
                  <a:lnTo>
                    <a:pt x="145" y="117"/>
                  </a:lnTo>
                  <a:lnTo>
                    <a:pt x="133" y="129"/>
                  </a:lnTo>
                  <a:lnTo>
                    <a:pt x="122" y="142"/>
                  </a:lnTo>
                  <a:lnTo>
                    <a:pt x="111" y="154"/>
                  </a:lnTo>
                  <a:lnTo>
                    <a:pt x="100" y="168"/>
                  </a:lnTo>
                  <a:lnTo>
                    <a:pt x="90" y="181"/>
                  </a:lnTo>
                  <a:lnTo>
                    <a:pt x="80" y="196"/>
                  </a:lnTo>
                  <a:lnTo>
                    <a:pt x="71" y="211"/>
                  </a:lnTo>
                  <a:lnTo>
                    <a:pt x="63" y="226"/>
                  </a:lnTo>
                  <a:lnTo>
                    <a:pt x="55" y="242"/>
                  </a:lnTo>
                  <a:lnTo>
                    <a:pt x="47" y="258"/>
                  </a:lnTo>
                  <a:lnTo>
                    <a:pt x="40" y="275"/>
                  </a:lnTo>
                  <a:lnTo>
                    <a:pt x="33" y="291"/>
                  </a:lnTo>
                  <a:lnTo>
                    <a:pt x="28" y="309"/>
                  </a:lnTo>
                  <a:lnTo>
                    <a:pt x="19" y="341"/>
                  </a:lnTo>
                  <a:lnTo>
                    <a:pt x="13" y="373"/>
                  </a:lnTo>
                  <a:lnTo>
                    <a:pt x="8" y="402"/>
                  </a:lnTo>
                  <a:lnTo>
                    <a:pt x="4" y="431"/>
                  </a:lnTo>
                  <a:lnTo>
                    <a:pt x="2" y="456"/>
                  </a:lnTo>
                  <a:lnTo>
                    <a:pt x="1" y="478"/>
                  </a:lnTo>
                  <a:lnTo>
                    <a:pt x="0" y="497"/>
                  </a:lnTo>
                  <a:lnTo>
                    <a:pt x="0" y="511"/>
                  </a:lnTo>
                  <a:lnTo>
                    <a:pt x="0" y="536"/>
                  </a:lnTo>
                  <a:lnTo>
                    <a:pt x="1" y="560"/>
                  </a:lnTo>
                  <a:lnTo>
                    <a:pt x="3" y="584"/>
                  </a:lnTo>
                  <a:lnTo>
                    <a:pt x="5" y="606"/>
                  </a:lnTo>
                  <a:lnTo>
                    <a:pt x="8" y="627"/>
                  </a:lnTo>
                  <a:lnTo>
                    <a:pt x="11" y="648"/>
                  </a:lnTo>
                  <a:lnTo>
                    <a:pt x="14" y="668"/>
                  </a:lnTo>
                  <a:lnTo>
                    <a:pt x="18" y="688"/>
                  </a:lnTo>
                  <a:lnTo>
                    <a:pt x="23" y="706"/>
                  </a:lnTo>
                  <a:lnTo>
                    <a:pt x="28" y="723"/>
                  </a:lnTo>
                  <a:lnTo>
                    <a:pt x="33" y="739"/>
                  </a:lnTo>
                  <a:lnTo>
                    <a:pt x="39" y="756"/>
                  </a:lnTo>
                  <a:lnTo>
                    <a:pt x="45" y="771"/>
                  </a:lnTo>
                  <a:lnTo>
                    <a:pt x="53" y="786"/>
                  </a:lnTo>
                  <a:lnTo>
                    <a:pt x="60" y="801"/>
                  </a:lnTo>
                  <a:lnTo>
                    <a:pt x="67" y="814"/>
                  </a:lnTo>
                  <a:lnTo>
                    <a:pt x="75" y="827"/>
                  </a:lnTo>
                  <a:lnTo>
                    <a:pt x="82" y="839"/>
                  </a:lnTo>
                  <a:lnTo>
                    <a:pt x="90" y="850"/>
                  </a:lnTo>
                  <a:lnTo>
                    <a:pt x="99" y="862"/>
                  </a:lnTo>
                  <a:lnTo>
                    <a:pt x="117" y="882"/>
                  </a:lnTo>
                  <a:lnTo>
                    <a:pt x="135" y="900"/>
                  </a:lnTo>
                  <a:lnTo>
                    <a:pt x="154" y="918"/>
                  </a:lnTo>
                  <a:lnTo>
                    <a:pt x="173" y="932"/>
                  </a:lnTo>
                  <a:lnTo>
                    <a:pt x="192" y="945"/>
                  </a:lnTo>
                  <a:lnTo>
                    <a:pt x="212" y="957"/>
                  </a:lnTo>
                  <a:lnTo>
                    <a:pt x="229" y="967"/>
                  </a:lnTo>
                  <a:lnTo>
                    <a:pt x="246" y="976"/>
                  </a:lnTo>
                  <a:lnTo>
                    <a:pt x="264" y="983"/>
                  </a:lnTo>
                  <a:lnTo>
                    <a:pt x="281" y="990"/>
                  </a:lnTo>
                  <a:lnTo>
                    <a:pt x="297" y="995"/>
                  </a:lnTo>
                  <a:lnTo>
                    <a:pt x="314" y="1000"/>
                  </a:lnTo>
                  <a:lnTo>
                    <a:pt x="329" y="1004"/>
                  </a:lnTo>
                  <a:lnTo>
                    <a:pt x="344" y="1007"/>
                  </a:lnTo>
                  <a:lnTo>
                    <a:pt x="372" y="1012"/>
                  </a:lnTo>
                  <a:lnTo>
                    <a:pt x="397" y="1015"/>
                  </a:lnTo>
                  <a:lnTo>
                    <a:pt x="420" y="1016"/>
                  </a:lnTo>
                  <a:lnTo>
                    <a:pt x="437" y="1017"/>
                  </a:lnTo>
                  <a:lnTo>
                    <a:pt x="464" y="1016"/>
                  </a:lnTo>
                  <a:lnTo>
                    <a:pt x="490" y="1014"/>
                  </a:lnTo>
                  <a:lnTo>
                    <a:pt x="517" y="1010"/>
                  </a:lnTo>
                  <a:lnTo>
                    <a:pt x="542" y="1005"/>
                  </a:lnTo>
                  <a:lnTo>
                    <a:pt x="568" y="999"/>
                  </a:lnTo>
                  <a:lnTo>
                    <a:pt x="592" y="991"/>
                  </a:lnTo>
                  <a:lnTo>
                    <a:pt x="617" y="982"/>
                  </a:lnTo>
                  <a:lnTo>
                    <a:pt x="640" y="972"/>
                  </a:lnTo>
                  <a:lnTo>
                    <a:pt x="664" y="959"/>
                  </a:lnTo>
                  <a:lnTo>
                    <a:pt x="685" y="946"/>
                  </a:lnTo>
                  <a:lnTo>
                    <a:pt x="706" y="932"/>
                  </a:lnTo>
                  <a:lnTo>
                    <a:pt x="727" y="916"/>
                  </a:lnTo>
                  <a:lnTo>
                    <a:pt x="746" y="898"/>
                  </a:lnTo>
                  <a:lnTo>
                    <a:pt x="765" y="880"/>
                  </a:lnTo>
                  <a:lnTo>
                    <a:pt x="782" y="861"/>
                  </a:lnTo>
                  <a:lnTo>
                    <a:pt x="797" y="839"/>
                  </a:lnTo>
                  <a:lnTo>
                    <a:pt x="809" y="821"/>
                  </a:lnTo>
                  <a:lnTo>
                    <a:pt x="820" y="802"/>
                  </a:lnTo>
                  <a:lnTo>
                    <a:pt x="830" y="783"/>
                  </a:lnTo>
                  <a:lnTo>
                    <a:pt x="839" y="765"/>
                  </a:lnTo>
                  <a:lnTo>
                    <a:pt x="847" y="748"/>
                  </a:lnTo>
                  <a:lnTo>
                    <a:pt x="853" y="733"/>
                  </a:lnTo>
                  <a:lnTo>
                    <a:pt x="858" y="722"/>
                  </a:lnTo>
                  <a:lnTo>
                    <a:pt x="861" y="715"/>
                  </a:lnTo>
                  <a:lnTo>
                    <a:pt x="660" y="683"/>
                  </a:lnTo>
                  <a:lnTo>
                    <a:pt x="657" y="692"/>
                  </a:lnTo>
                  <a:lnTo>
                    <a:pt x="654" y="700"/>
                  </a:lnTo>
                  <a:lnTo>
                    <a:pt x="651" y="708"/>
                  </a:lnTo>
                  <a:lnTo>
                    <a:pt x="648" y="715"/>
                  </a:lnTo>
                  <a:lnTo>
                    <a:pt x="645" y="723"/>
                  </a:lnTo>
                  <a:lnTo>
                    <a:pt x="641" y="730"/>
                  </a:lnTo>
                  <a:lnTo>
                    <a:pt x="637" y="737"/>
                  </a:lnTo>
                  <a:lnTo>
                    <a:pt x="632" y="746"/>
                  </a:lnTo>
                  <a:lnTo>
                    <a:pt x="624" y="757"/>
                  </a:lnTo>
                  <a:lnTo>
                    <a:pt x="616" y="767"/>
                  </a:lnTo>
                  <a:lnTo>
                    <a:pt x="606" y="776"/>
                  </a:lnTo>
                  <a:lnTo>
                    <a:pt x="596" y="786"/>
                  </a:lnTo>
                  <a:lnTo>
                    <a:pt x="586" y="794"/>
                  </a:lnTo>
                  <a:lnTo>
                    <a:pt x="575" y="803"/>
                  </a:lnTo>
                  <a:lnTo>
                    <a:pt x="564" y="810"/>
                  </a:lnTo>
                  <a:lnTo>
                    <a:pt x="552" y="817"/>
                  </a:lnTo>
                  <a:lnTo>
                    <a:pt x="540" y="823"/>
                  </a:lnTo>
                  <a:lnTo>
                    <a:pt x="528" y="828"/>
                  </a:lnTo>
                  <a:lnTo>
                    <a:pt x="516" y="832"/>
                  </a:lnTo>
                  <a:lnTo>
                    <a:pt x="502" y="836"/>
                  </a:lnTo>
                  <a:lnTo>
                    <a:pt x="490" y="839"/>
                  </a:lnTo>
                  <a:lnTo>
                    <a:pt x="477" y="841"/>
                  </a:lnTo>
                  <a:lnTo>
                    <a:pt x="464" y="842"/>
                  </a:lnTo>
                  <a:lnTo>
                    <a:pt x="450" y="842"/>
                  </a:lnTo>
                  <a:lnTo>
                    <a:pt x="439" y="842"/>
                  </a:lnTo>
                  <a:lnTo>
                    <a:pt x="426" y="841"/>
                  </a:lnTo>
                  <a:lnTo>
                    <a:pt x="412" y="839"/>
                  </a:lnTo>
                  <a:lnTo>
                    <a:pt x="395" y="835"/>
                  </a:lnTo>
                  <a:lnTo>
                    <a:pt x="387" y="833"/>
                  </a:lnTo>
                  <a:lnTo>
                    <a:pt x="379" y="829"/>
                  </a:lnTo>
                  <a:lnTo>
                    <a:pt x="370" y="826"/>
                  </a:lnTo>
                  <a:lnTo>
                    <a:pt x="362" y="821"/>
                  </a:lnTo>
                  <a:lnTo>
                    <a:pt x="352" y="816"/>
                  </a:lnTo>
                  <a:lnTo>
                    <a:pt x="343" y="810"/>
                  </a:lnTo>
                  <a:lnTo>
                    <a:pt x="334" y="803"/>
                  </a:lnTo>
                  <a:lnTo>
                    <a:pt x="324" y="794"/>
                  </a:lnTo>
                  <a:lnTo>
                    <a:pt x="310" y="781"/>
                  </a:lnTo>
                  <a:lnTo>
                    <a:pt x="297" y="767"/>
                  </a:lnTo>
                  <a:lnTo>
                    <a:pt x="286" y="753"/>
                  </a:lnTo>
                  <a:lnTo>
                    <a:pt x="277" y="737"/>
                  </a:lnTo>
                  <a:lnTo>
                    <a:pt x="269" y="723"/>
                  </a:lnTo>
                  <a:lnTo>
                    <a:pt x="262" y="708"/>
                  </a:lnTo>
                  <a:lnTo>
                    <a:pt x="256" y="694"/>
                  </a:lnTo>
                  <a:lnTo>
                    <a:pt x="250" y="679"/>
                  </a:lnTo>
                  <a:lnTo>
                    <a:pt x="246" y="666"/>
                  </a:lnTo>
                  <a:lnTo>
                    <a:pt x="243" y="653"/>
                  </a:lnTo>
                  <a:lnTo>
                    <a:pt x="240" y="641"/>
                  </a:lnTo>
                  <a:lnTo>
                    <a:pt x="238" y="629"/>
                  </a:lnTo>
                  <a:lnTo>
                    <a:pt x="236" y="609"/>
                  </a:lnTo>
                  <a:lnTo>
                    <a:pt x="234" y="594"/>
                  </a:lnTo>
                  <a:lnTo>
                    <a:pt x="234" y="587"/>
                  </a:lnTo>
                  <a:lnTo>
                    <a:pt x="233" y="580"/>
                  </a:lnTo>
                  <a:lnTo>
                    <a:pt x="232" y="572"/>
                  </a:lnTo>
                  <a:lnTo>
                    <a:pt x="232" y="565"/>
                  </a:lnTo>
                  <a:lnTo>
                    <a:pt x="231" y="559"/>
                  </a:lnTo>
                  <a:lnTo>
                    <a:pt x="231" y="552"/>
                  </a:lnTo>
                  <a:lnTo>
                    <a:pt x="231" y="546"/>
                  </a:lnTo>
                  <a:lnTo>
                    <a:pt x="231" y="540"/>
                  </a:lnTo>
                  <a:lnTo>
                    <a:pt x="873" y="537"/>
                  </a:lnTo>
                  <a:close/>
                  <a:moveTo>
                    <a:pt x="225" y="397"/>
                  </a:moveTo>
                  <a:lnTo>
                    <a:pt x="227" y="380"/>
                  </a:lnTo>
                  <a:lnTo>
                    <a:pt x="229" y="365"/>
                  </a:lnTo>
                  <a:lnTo>
                    <a:pt x="231" y="353"/>
                  </a:lnTo>
                  <a:lnTo>
                    <a:pt x="233" y="342"/>
                  </a:lnTo>
                  <a:lnTo>
                    <a:pt x="235" y="332"/>
                  </a:lnTo>
                  <a:lnTo>
                    <a:pt x="238" y="323"/>
                  </a:lnTo>
                  <a:lnTo>
                    <a:pt x="241" y="315"/>
                  </a:lnTo>
                  <a:lnTo>
                    <a:pt x="245" y="306"/>
                  </a:lnTo>
                  <a:lnTo>
                    <a:pt x="251" y="290"/>
                  </a:lnTo>
                  <a:lnTo>
                    <a:pt x="258" y="277"/>
                  </a:lnTo>
                  <a:lnTo>
                    <a:pt x="265" y="265"/>
                  </a:lnTo>
                  <a:lnTo>
                    <a:pt x="273" y="253"/>
                  </a:lnTo>
                  <a:lnTo>
                    <a:pt x="280" y="243"/>
                  </a:lnTo>
                  <a:lnTo>
                    <a:pt x="288" y="232"/>
                  </a:lnTo>
                  <a:lnTo>
                    <a:pt x="296" y="223"/>
                  </a:lnTo>
                  <a:lnTo>
                    <a:pt x="304" y="215"/>
                  </a:lnTo>
                  <a:lnTo>
                    <a:pt x="321" y="201"/>
                  </a:lnTo>
                  <a:lnTo>
                    <a:pt x="337" y="190"/>
                  </a:lnTo>
                  <a:lnTo>
                    <a:pt x="351" y="180"/>
                  </a:lnTo>
                  <a:lnTo>
                    <a:pt x="364" y="174"/>
                  </a:lnTo>
                  <a:lnTo>
                    <a:pt x="369" y="171"/>
                  </a:lnTo>
                  <a:lnTo>
                    <a:pt x="376" y="168"/>
                  </a:lnTo>
                  <a:lnTo>
                    <a:pt x="384" y="165"/>
                  </a:lnTo>
                  <a:lnTo>
                    <a:pt x="393" y="162"/>
                  </a:lnTo>
                  <a:lnTo>
                    <a:pt x="403" y="160"/>
                  </a:lnTo>
                  <a:lnTo>
                    <a:pt x="416" y="157"/>
                  </a:lnTo>
                  <a:lnTo>
                    <a:pt x="428" y="156"/>
                  </a:lnTo>
                  <a:lnTo>
                    <a:pt x="441" y="155"/>
                  </a:lnTo>
                  <a:lnTo>
                    <a:pt x="450" y="155"/>
                  </a:lnTo>
                  <a:lnTo>
                    <a:pt x="462" y="156"/>
                  </a:lnTo>
                  <a:lnTo>
                    <a:pt x="474" y="158"/>
                  </a:lnTo>
                  <a:lnTo>
                    <a:pt x="488" y="162"/>
                  </a:lnTo>
                  <a:lnTo>
                    <a:pt x="503" y="167"/>
                  </a:lnTo>
                  <a:lnTo>
                    <a:pt x="520" y="174"/>
                  </a:lnTo>
                  <a:lnTo>
                    <a:pt x="537" y="185"/>
                  </a:lnTo>
                  <a:lnTo>
                    <a:pt x="555" y="197"/>
                  </a:lnTo>
                  <a:lnTo>
                    <a:pt x="568" y="207"/>
                  </a:lnTo>
                  <a:lnTo>
                    <a:pt x="579" y="217"/>
                  </a:lnTo>
                  <a:lnTo>
                    <a:pt x="589" y="227"/>
                  </a:lnTo>
                  <a:lnTo>
                    <a:pt x="598" y="238"/>
                  </a:lnTo>
                  <a:lnTo>
                    <a:pt x="606" y="250"/>
                  </a:lnTo>
                  <a:lnTo>
                    <a:pt x="614" y="261"/>
                  </a:lnTo>
                  <a:lnTo>
                    <a:pt x="621" y="273"/>
                  </a:lnTo>
                  <a:lnTo>
                    <a:pt x="626" y="285"/>
                  </a:lnTo>
                  <a:lnTo>
                    <a:pt x="631" y="299"/>
                  </a:lnTo>
                  <a:lnTo>
                    <a:pt x="635" y="311"/>
                  </a:lnTo>
                  <a:lnTo>
                    <a:pt x="639" y="324"/>
                  </a:lnTo>
                  <a:lnTo>
                    <a:pt x="642" y="338"/>
                  </a:lnTo>
                  <a:lnTo>
                    <a:pt x="647" y="367"/>
                  </a:lnTo>
                  <a:lnTo>
                    <a:pt x="652" y="397"/>
                  </a:lnTo>
                  <a:lnTo>
                    <a:pt x="225" y="397"/>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15" name="Freeform 15"/>
            <p:cNvSpPr>
              <a:spLocks/>
            </p:cNvSpPr>
            <p:nvPr userDrawn="1"/>
          </p:nvSpPr>
          <p:spPr bwMode="auto">
            <a:xfrm>
              <a:off x="5320" y="361"/>
              <a:ext cx="40" cy="50"/>
            </a:xfrm>
            <a:custGeom>
              <a:avLst/>
              <a:gdLst>
                <a:gd name="T0" fmla="*/ 0 w 798"/>
                <a:gd name="T1" fmla="*/ 0 h 1000"/>
                <a:gd name="T2" fmla="*/ 0 w 798"/>
                <a:gd name="T3" fmla="*/ 0 h 1000"/>
                <a:gd name="T4" fmla="*/ 0 w 798"/>
                <a:gd name="T5" fmla="*/ 0 h 1000"/>
                <a:gd name="T6" fmla="*/ 0 w 798"/>
                <a:gd name="T7" fmla="*/ 0 h 1000"/>
                <a:gd name="T8" fmla="*/ 0 w 798"/>
                <a:gd name="T9" fmla="*/ 0 h 1000"/>
                <a:gd name="T10" fmla="*/ 0 w 798"/>
                <a:gd name="T11" fmla="*/ 0 h 1000"/>
                <a:gd name="T12" fmla="*/ 0 w 798"/>
                <a:gd name="T13" fmla="*/ 0 h 1000"/>
                <a:gd name="T14" fmla="*/ 0 w 798"/>
                <a:gd name="T15" fmla="*/ 0 h 1000"/>
                <a:gd name="T16" fmla="*/ 0 w 798"/>
                <a:gd name="T17" fmla="*/ 0 h 1000"/>
                <a:gd name="T18" fmla="*/ 0 w 798"/>
                <a:gd name="T19" fmla="*/ 0 h 1000"/>
                <a:gd name="T20" fmla="*/ 0 w 798"/>
                <a:gd name="T21" fmla="*/ 0 h 1000"/>
                <a:gd name="T22" fmla="*/ 0 w 798"/>
                <a:gd name="T23" fmla="*/ 0 h 1000"/>
                <a:gd name="T24" fmla="*/ 0 w 798"/>
                <a:gd name="T25" fmla="*/ 0 h 1000"/>
                <a:gd name="T26" fmla="*/ 0 w 798"/>
                <a:gd name="T27" fmla="*/ 0 h 1000"/>
                <a:gd name="T28" fmla="*/ 0 w 798"/>
                <a:gd name="T29" fmla="*/ 0 h 1000"/>
                <a:gd name="T30" fmla="*/ 0 w 798"/>
                <a:gd name="T31" fmla="*/ 0 h 1000"/>
                <a:gd name="T32" fmla="*/ 0 w 798"/>
                <a:gd name="T33" fmla="*/ 0 h 1000"/>
                <a:gd name="T34" fmla="*/ 0 w 798"/>
                <a:gd name="T35" fmla="*/ 0 h 1000"/>
                <a:gd name="T36" fmla="*/ 0 w 798"/>
                <a:gd name="T37" fmla="*/ 0 h 1000"/>
                <a:gd name="T38" fmla="*/ 0 w 798"/>
                <a:gd name="T39" fmla="*/ 0 h 1000"/>
                <a:gd name="T40" fmla="*/ 0 w 798"/>
                <a:gd name="T41" fmla="*/ 0 h 1000"/>
                <a:gd name="T42" fmla="*/ 0 w 798"/>
                <a:gd name="T43" fmla="*/ 0 h 1000"/>
                <a:gd name="T44" fmla="*/ 0 w 798"/>
                <a:gd name="T45" fmla="*/ 0 h 1000"/>
                <a:gd name="T46" fmla="*/ 0 w 798"/>
                <a:gd name="T47" fmla="*/ 0 h 1000"/>
                <a:gd name="T48" fmla="*/ 0 w 798"/>
                <a:gd name="T49" fmla="*/ 0 h 1000"/>
                <a:gd name="T50" fmla="*/ 0 w 798"/>
                <a:gd name="T51" fmla="*/ 0 h 1000"/>
                <a:gd name="T52" fmla="*/ 0 w 798"/>
                <a:gd name="T53" fmla="*/ 0 h 1000"/>
                <a:gd name="T54" fmla="*/ 0 w 798"/>
                <a:gd name="T55" fmla="*/ 0 h 1000"/>
                <a:gd name="T56" fmla="*/ 0 w 798"/>
                <a:gd name="T57" fmla="*/ 0 h 1000"/>
                <a:gd name="T58" fmla="*/ 0 w 798"/>
                <a:gd name="T59" fmla="*/ 0 h 1000"/>
                <a:gd name="T60" fmla="*/ 0 w 798"/>
                <a:gd name="T61" fmla="*/ 0 h 1000"/>
                <a:gd name="T62" fmla="*/ 0 w 798"/>
                <a:gd name="T63" fmla="*/ 0 h 1000"/>
                <a:gd name="T64" fmla="*/ 0 w 798"/>
                <a:gd name="T65" fmla="*/ 0 h 1000"/>
                <a:gd name="T66" fmla="*/ 0 w 798"/>
                <a:gd name="T67" fmla="*/ 0 h 1000"/>
                <a:gd name="T68" fmla="*/ 0 w 798"/>
                <a:gd name="T69" fmla="*/ 0 h 1000"/>
                <a:gd name="T70" fmla="*/ 0 w 798"/>
                <a:gd name="T71" fmla="*/ 0 h 1000"/>
                <a:gd name="T72" fmla="*/ 0 w 798"/>
                <a:gd name="T73" fmla="*/ 0 h 1000"/>
                <a:gd name="T74" fmla="*/ 0 w 798"/>
                <a:gd name="T75" fmla="*/ 0 h 1000"/>
                <a:gd name="T76" fmla="*/ 0 w 798"/>
                <a:gd name="T77" fmla="*/ 0 h 1000"/>
                <a:gd name="T78" fmla="*/ 0 w 798"/>
                <a:gd name="T79" fmla="*/ 0 h 1000"/>
                <a:gd name="T80" fmla="*/ 0 w 798"/>
                <a:gd name="T81" fmla="*/ 0 h 1000"/>
                <a:gd name="T82" fmla="*/ 0 w 798"/>
                <a:gd name="T83" fmla="*/ 0 h 1000"/>
                <a:gd name="T84" fmla="*/ 0 w 798"/>
                <a:gd name="T85" fmla="*/ 0 h 1000"/>
                <a:gd name="T86" fmla="*/ 0 w 798"/>
                <a:gd name="T87" fmla="*/ 0 h 1000"/>
                <a:gd name="T88" fmla="*/ 0 w 798"/>
                <a:gd name="T89" fmla="*/ 0 h 1000"/>
                <a:gd name="T90" fmla="*/ 0 w 798"/>
                <a:gd name="T91" fmla="*/ 0 h 1000"/>
                <a:gd name="T92" fmla="*/ 0 w 798"/>
                <a:gd name="T93" fmla="*/ 0 h 1000"/>
                <a:gd name="T94" fmla="*/ 0 w 798"/>
                <a:gd name="T95" fmla="*/ 0 h 1000"/>
                <a:gd name="T96" fmla="*/ 0 w 798"/>
                <a:gd name="T97" fmla="*/ 0 h 1000"/>
                <a:gd name="T98" fmla="*/ 0 w 798"/>
                <a:gd name="T99" fmla="*/ 0 h 1000"/>
                <a:gd name="T100" fmla="*/ 0 w 798"/>
                <a:gd name="T101" fmla="*/ 0 h 1000"/>
                <a:gd name="T102" fmla="*/ 0 w 798"/>
                <a:gd name="T103" fmla="*/ 0 h 1000"/>
                <a:gd name="T104" fmla="*/ 0 w 798"/>
                <a:gd name="T105" fmla="*/ 0 h 1000"/>
                <a:gd name="T106" fmla="*/ 0 w 798"/>
                <a:gd name="T107" fmla="*/ 0 h 10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8" h="1000">
                  <a:moveTo>
                    <a:pt x="0" y="23"/>
                  </a:moveTo>
                  <a:lnTo>
                    <a:pt x="0" y="993"/>
                  </a:lnTo>
                  <a:lnTo>
                    <a:pt x="220" y="1000"/>
                  </a:lnTo>
                  <a:lnTo>
                    <a:pt x="220" y="483"/>
                  </a:lnTo>
                  <a:lnTo>
                    <a:pt x="222" y="446"/>
                  </a:lnTo>
                  <a:lnTo>
                    <a:pt x="226" y="410"/>
                  </a:lnTo>
                  <a:lnTo>
                    <a:pt x="228" y="391"/>
                  </a:lnTo>
                  <a:lnTo>
                    <a:pt x="231" y="374"/>
                  </a:lnTo>
                  <a:lnTo>
                    <a:pt x="235" y="358"/>
                  </a:lnTo>
                  <a:lnTo>
                    <a:pt x="239" y="340"/>
                  </a:lnTo>
                  <a:lnTo>
                    <a:pt x="244" y="324"/>
                  </a:lnTo>
                  <a:lnTo>
                    <a:pt x="251" y="309"/>
                  </a:lnTo>
                  <a:lnTo>
                    <a:pt x="258" y="293"/>
                  </a:lnTo>
                  <a:lnTo>
                    <a:pt x="268" y="278"/>
                  </a:lnTo>
                  <a:lnTo>
                    <a:pt x="278" y="264"/>
                  </a:lnTo>
                  <a:lnTo>
                    <a:pt x="290" y="251"/>
                  </a:lnTo>
                  <a:lnTo>
                    <a:pt x="303" y="237"/>
                  </a:lnTo>
                  <a:lnTo>
                    <a:pt x="319" y="225"/>
                  </a:lnTo>
                  <a:lnTo>
                    <a:pt x="336" y="212"/>
                  </a:lnTo>
                  <a:lnTo>
                    <a:pt x="352" y="202"/>
                  </a:lnTo>
                  <a:lnTo>
                    <a:pt x="369" y="195"/>
                  </a:lnTo>
                  <a:lnTo>
                    <a:pt x="384" y="190"/>
                  </a:lnTo>
                  <a:lnTo>
                    <a:pt x="397" y="186"/>
                  </a:lnTo>
                  <a:lnTo>
                    <a:pt x="410" y="183"/>
                  </a:lnTo>
                  <a:lnTo>
                    <a:pt x="421" y="182"/>
                  </a:lnTo>
                  <a:lnTo>
                    <a:pt x="430" y="181"/>
                  </a:lnTo>
                  <a:lnTo>
                    <a:pt x="448" y="182"/>
                  </a:lnTo>
                  <a:lnTo>
                    <a:pt x="464" y="186"/>
                  </a:lnTo>
                  <a:lnTo>
                    <a:pt x="479" y="190"/>
                  </a:lnTo>
                  <a:lnTo>
                    <a:pt x="492" y="195"/>
                  </a:lnTo>
                  <a:lnTo>
                    <a:pt x="503" y="201"/>
                  </a:lnTo>
                  <a:lnTo>
                    <a:pt x="512" y="206"/>
                  </a:lnTo>
                  <a:lnTo>
                    <a:pt x="521" y="212"/>
                  </a:lnTo>
                  <a:lnTo>
                    <a:pt x="528" y="217"/>
                  </a:lnTo>
                  <a:lnTo>
                    <a:pt x="538" y="227"/>
                  </a:lnTo>
                  <a:lnTo>
                    <a:pt x="546" y="237"/>
                  </a:lnTo>
                  <a:lnTo>
                    <a:pt x="554" y="248"/>
                  </a:lnTo>
                  <a:lnTo>
                    <a:pt x="561" y="259"/>
                  </a:lnTo>
                  <a:lnTo>
                    <a:pt x="566" y="270"/>
                  </a:lnTo>
                  <a:lnTo>
                    <a:pt x="572" y="281"/>
                  </a:lnTo>
                  <a:lnTo>
                    <a:pt x="576" y="293"/>
                  </a:lnTo>
                  <a:lnTo>
                    <a:pt x="579" y="306"/>
                  </a:lnTo>
                  <a:lnTo>
                    <a:pt x="583" y="331"/>
                  </a:lnTo>
                  <a:lnTo>
                    <a:pt x="586" y="358"/>
                  </a:lnTo>
                  <a:lnTo>
                    <a:pt x="587" y="384"/>
                  </a:lnTo>
                  <a:lnTo>
                    <a:pt x="588" y="412"/>
                  </a:lnTo>
                  <a:lnTo>
                    <a:pt x="588" y="1000"/>
                  </a:lnTo>
                  <a:lnTo>
                    <a:pt x="798" y="1000"/>
                  </a:lnTo>
                  <a:lnTo>
                    <a:pt x="798" y="339"/>
                  </a:lnTo>
                  <a:lnTo>
                    <a:pt x="797" y="333"/>
                  </a:lnTo>
                  <a:lnTo>
                    <a:pt x="796" y="323"/>
                  </a:lnTo>
                  <a:lnTo>
                    <a:pt x="796" y="311"/>
                  </a:lnTo>
                  <a:lnTo>
                    <a:pt x="795" y="296"/>
                  </a:lnTo>
                  <a:lnTo>
                    <a:pt x="793" y="281"/>
                  </a:lnTo>
                  <a:lnTo>
                    <a:pt x="791" y="264"/>
                  </a:lnTo>
                  <a:lnTo>
                    <a:pt x="788" y="247"/>
                  </a:lnTo>
                  <a:lnTo>
                    <a:pt x="785" y="230"/>
                  </a:lnTo>
                  <a:lnTo>
                    <a:pt x="780" y="213"/>
                  </a:lnTo>
                  <a:lnTo>
                    <a:pt x="776" y="198"/>
                  </a:lnTo>
                  <a:lnTo>
                    <a:pt x="770" y="184"/>
                  </a:lnTo>
                  <a:lnTo>
                    <a:pt x="765" y="171"/>
                  </a:lnTo>
                  <a:lnTo>
                    <a:pt x="760" y="161"/>
                  </a:lnTo>
                  <a:lnTo>
                    <a:pt x="756" y="151"/>
                  </a:lnTo>
                  <a:lnTo>
                    <a:pt x="752" y="143"/>
                  </a:lnTo>
                  <a:lnTo>
                    <a:pt x="749" y="137"/>
                  </a:lnTo>
                  <a:lnTo>
                    <a:pt x="742" y="125"/>
                  </a:lnTo>
                  <a:lnTo>
                    <a:pt x="734" y="113"/>
                  </a:lnTo>
                  <a:lnTo>
                    <a:pt x="726" y="102"/>
                  </a:lnTo>
                  <a:lnTo>
                    <a:pt x="716" y="91"/>
                  </a:lnTo>
                  <a:lnTo>
                    <a:pt x="707" y="81"/>
                  </a:lnTo>
                  <a:lnTo>
                    <a:pt x="698" y="71"/>
                  </a:lnTo>
                  <a:lnTo>
                    <a:pt x="688" y="62"/>
                  </a:lnTo>
                  <a:lnTo>
                    <a:pt x="678" y="54"/>
                  </a:lnTo>
                  <a:lnTo>
                    <a:pt x="666" y="47"/>
                  </a:lnTo>
                  <a:lnTo>
                    <a:pt x="652" y="38"/>
                  </a:lnTo>
                  <a:lnTo>
                    <a:pt x="635" y="30"/>
                  </a:lnTo>
                  <a:lnTo>
                    <a:pt x="614" y="21"/>
                  </a:lnTo>
                  <a:lnTo>
                    <a:pt x="591" y="13"/>
                  </a:lnTo>
                  <a:lnTo>
                    <a:pt x="564" y="6"/>
                  </a:lnTo>
                  <a:lnTo>
                    <a:pt x="550" y="4"/>
                  </a:lnTo>
                  <a:lnTo>
                    <a:pt x="535" y="2"/>
                  </a:lnTo>
                  <a:lnTo>
                    <a:pt x="520" y="0"/>
                  </a:lnTo>
                  <a:lnTo>
                    <a:pt x="503" y="0"/>
                  </a:lnTo>
                  <a:lnTo>
                    <a:pt x="489" y="0"/>
                  </a:lnTo>
                  <a:lnTo>
                    <a:pt x="475" y="1"/>
                  </a:lnTo>
                  <a:lnTo>
                    <a:pt x="461" y="2"/>
                  </a:lnTo>
                  <a:lnTo>
                    <a:pt x="449" y="4"/>
                  </a:lnTo>
                  <a:lnTo>
                    <a:pt x="425" y="9"/>
                  </a:lnTo>
                  <a:lnTo>
                    <a:pt x="402" y="15"/>
                  </a:lnTo>
                  <a:lnTo>
                    <a:pt x="382" y="24"/>
                  </a:lnTo>
                  <a:lnTo>
                    <a:pt x="362" y="33"/>
                  </a:lnTo>
                  <a:lnTo>
                    <a:pt x="345" y="43"/>
                  </a:lnTo>
                  <a:lnTo>
                    <a:pt x="329" y="54"/>
                  </a:lnTo>
                  <a:lnTo>
                    <a:pt x="315" y="65"/>
                  </a:lnTo>
                  <a:lnTo>
                    <a:pt x="301" y="78"/>
                  </a:lnTo>
                  <a:lnTo>
                    <a:pt x="289" y="89"/>
                  </a:lnTo>
                  <a:lnTo>
                    <a:pt x="279" y="101"/>
                  </a:lnTo>
                  <a:lnTo>
                    <a:pt x="262" y="124"/>
                  </a:lnTo>
                  <a:lnTo>
                    <a:pt x="248" y="144"/>
                  </a:lnTo>
                  <a:lnTo>
                    <a:pt x="241" y="154"/>
                  </a:lnTo>
                  <a:lnTo>
                    <a:pt x="235" y="165"/>
                  </a:lnTo>
                  <a:lnTo>
                    <a:pt x="229" y="176"/>
                  </a:lnTo>
                  <a:lnTo>
                    <a:pt x="222" y="189"/>
                  </a:lnTo>
                  <a:lnTo>
                    <a:pt x="217" y="200"/>
                  </a:lnTo>
                  <a:lnTo>
                    <a:pt x="211" y="211"/>
                  </a:lnTo>
                  <a:lnTo>
                    <a:pt x="205" y="222"/>
                  </a:lnTo>
                  <a:lnTo>
                    <a:pt x="201" y="232"/>
                  </a:lnTo>
                  <a:lnTo>
                    <a:pt x="201" y="23"/>
                  </a:lnTo>
                  <a:lnTo>
                    <a:pt x="0" y="23"/>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16" name="Freeform 16"/>
            <p:cNvSpPr>
              <a:spLocks/>
            </p:cNvSpPr>
            <p:nvPr userDrawn="1"/>
          </p:nvSpPr>
          <p:spPr bwMode="auto">
            <a:xfrm>
              <a:off x="5369" y="361"/>
              <a:ext cx="42" cy="51"/>
            </a:xfrm>
            <a:custGeom>
              <a:avLst/>
              <a:gdLst>
                <a:gd name="T0" fmla="*/ 0 w 843"/>
                <a:gd name="T1" fmla="*/ 0 h 1019"/>
                <a:gd name="T2" fmla="*/ 0 w 843"/>
                <a:gd name="T3" fmla="*/ 0 h 1019"/>
                <a:gd name="T4" fmla="*/ 0 w 843"/>
                <a:gd name="T5" fmla="*/ 0 h 1019"/>
                <a:gd name="T6" fmla="*/ 0 w 843"/>
                <a:gd name="T7" fmla="*/ 0 h 1019"/>
                <a:gd name="T8" fmla="*/ 0 w 843"/>
                <a:gd name="T9" fmla="*/ 0 h 1019"/>
                <a:gd name="T10" fmla="*/ 0 w 843"/>
                <a:gd name="T11" fmla="*/ 0 h 1019"/>
                <a:gd name="T12" fmla="*/ 0 w 843"/>
                <a:gd name="T13" fmla="*/ 0 h 1019"/>
                <a:gd name="T14" fmla="*/ 0 w 843"/>
                <a:gd name="T15" fmla="*/ 0 h 1019"/>
                <a:gd name="T16" fmla="*/ 0 w 843"/>
                <a:gd name="T17" fmla="*/ 0 h 1019"/>
                <a:gd name="T18" fmla="*/ 0 w 843"/>
                <a:gd name="T19" fmla="*/ 0 h 1019"/>
                <a:gd name="T20" fmla="*/ 0 w 843"/>
                <a:gd name="T21" fmla="*/ 0 h 1019"/>
                <a:gd name="T22" fmla="*/ 0 w 843"/>
                <a:gd name="T23" fmla="*/ 0 h 1019"/>
                <a:gd name="T24" fmla="*/ 0 w 843"/>
                <a:gd name="T25" fmla="*/ 0 h 1019"/>
                <a:gd name="T26" fmla="*/ 0 w 843"/>
                <a:gd name="T27" fmla="*/ 0 h 1019"/>
                <a:gd name="T28" fmla="*/ 0 w 843"/>
                <a:gd name="T29" fmla="*/ 0 h 1019"/>
                <a:gd name="T30" fmla="*/ 0 w 843"/>
                <a:gd name="T31" fmla="*/ 0 h 1019"/>
                <a:gd name="T32" fmla="*/ 0 w 843"/>
                <a:gd name="T33" fmla="*/ 0 h 1019"/>
                <a:gd name="T34" fmla="*/ 0 w 843"/>
                <a:gd name="T35" fmla="*/ 0 h 1019"/>
                <a:gd name="T36" fmla="*/ 0 w 843"/>
                <a:gd name="T37" fmla="*/ 0 h 1019"/>
                <a:gd name="T38" fmla="*/ 0 w 843"/>
                <a:gd name="T39" fmla="*/ 0 h 1019"/>
                <a:gd name="T40" fmla="*/ 0 w 843"/>
                <a:gd name="T41" fmla="*/ 0 h 1019"/>
                <a:gd name="T42" fmla="*/ 0 w 843"/>
                <a:gd name="T43" fmla="*/ 0 h 1019"/>
                <a:gd name="T44" fmla="*/ 0 w 843"/>
                <a:gd name="T45" fmla="*/ 0 h 1019"/>
                <a:gd name="T46" fmla="*/ 0 w 843"/>
                <a:gd name="T47" fmla="*/ 0 h 1019"/>
                <a:gd name="T48" fmla="*/ 0 w 843"/>
                <a:gd name="T49" fmla="*/ 0 h 1019"/>
                <a:gd name="T50" fmla="*/ 0 w 843"/>
                <a:gd name="T51" fmla="*/ 0 h 1019"/>
                <a:gd name="T52" fmla="*/ 0 w 843"/>
                <a:gd name="T53" fmla="*/ 0 h 1019"/>
                <a:gd name="T54" fmla="*/ 0 w 843"/>
                <a:gd name="T55" fmla="*/ 0 h 1019"/>
                <a:gd name="T56" fmla="*/ 0 w 843"/>
                <a:gd name="T57" fmla="*/ 0 h 1019"/>
                <a:gd name="T58" fmla="*/ 0 w 843"/>
                <a:gd name="T59" fmla="*/ 0 h 1019"/>
                <a:gd name="T60" fmla="*/ 0 w 843"/>
                <a:gd name="T61" fmla="*/ 0 h 1019"/>
                <a:gd name="T62" fmla="*/ 0 w 843"/>
                <a:gd name="T63" fmla="*/ 0 h 1019"/>
                <a:gd name="T64" fmla="*/ 0 w 843"/>
                <a:gd name="T65" fmla="*/ 0 h 1019"/>
                <a:gd name="T66" fmla="*/ 0 w 843"/>
                <a:gd name="T67" fmla="*/ 0 h 1019"/>
                <a:gd name="T68" fmla="*/ 0 w 843"/>
                <a:gd name="T69" fmla="*/ 0 h 1019"/>
                <a:gd name="T70" fmla="*/ 0 w 843"/>
                <a:gd name="T71" fmla="*/ 0 h 1019"/>
                <a:gd name="T72" fmla="*/ 0 w 843"/>
                <a:gd name="T73" fmla="*/ 0 h 1019"/>
                <a:gd name="T74" fmla="*/ 0 w 843"/>
                <a:gd name="T75" fmla="*/ 0 h 1019"/>
                <a:gd name="T76" fmla="*/ 0 w 843"/>
                <a:gd name="T77" fmla="*/ 0 h 1019"/>
                <a:gd name="T78" fmla="*/ 0 w 843"/>
                <a:gd name="T79" fmla="*/ 0 h 1019"/>
                <a:gd name="T80" fmla="*/ 0 w 843"/>
                <a:gd name="T81" fmla="*/ 0 h 1019"/>
                <a:gd name="T82" fmla="*/ 0 w 843"/>
                <a:gd name="T83" fmla="*/ 0 h 1019"/>
                <a:gd name="T84" fmla="*/ 0 w 843"/>
                <a:gd name="T85" fmla="*/ 0 h 1019"/>
                <a:gd name="T86" fmla="*/ 0 w 843"/>
                <a:gd name="T87" fmla="*/ 0 h 1019"/>
                <a:gd name="T88" fmla="*/ 0 w 843"/>
                <a:gd name="T89" fmla="*/ 0 h 1019"/>
                <a:gd name="T90" fmla="*/ 0 w 843"/>
                <a:gd name="T91" fmla="*/ 0 h 1019"/>
                <a:gd name="T92" fmla="*/ 0 w 843"/>
                <a:gd name="T93" fmla="*/ 0 h 1019"/>
                <a:gd name="T94" fmla="*/ 0 w 843"/>
                <a:gd name="T95" fmla="*/ 0 h 1019"/>
                <a:gd name="T96" fmla="*/ 0 w 843"/>
                <a:gd name="T97" fmla="*/ 0 h 1019"/>
                <a:gd name="T98" fmla="*/ 0 w 843"/>
                <a:gd name="T99" fmla="*/ 0 h 1019"/>
                <a:gd name="T100" fmla="*/ 0 w 843"/>
                <a:gd name="T101" fmla="*/ 0 h 1019"/>
                <a:gd name="T102" fmla="*/ 0 w 843"/>
                <a:gd name="T103" fmla="*/ 0 h 1019"/>
                <a:gd name="T104" fmla="*/ 0 w 843"/>
                <a:gd name="T105" fmla="*/ 0 h 1019"/>
                <a:gd name="T106" fmla="*/ 0 w 843"/>
                <a:gd name="T107" fmla="*/ 0 h 1019"/>
                <a:gd name="T108" fmla="*/ 0 w 843"/>
                <a:gd name="T109" fmla="*/ 0 h 1019"/>
                <a:gd name="T110" fmla="*/ 0 w 843"/>
                <a:gd name="T111" fmla="*/ 0 h 10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43" h="1019">
                  <a:moveTo>
                    <a:pt x="498" y="635"/>
                  </a:moveTo>
                  <a:lnTo>
                    <a:pt x="515" y="639"/>
                  </a:lnTo>
                  <a:lnTo>
                    <a:pt x="531" y="643"/>
                  </a:lnTo>
                  <a:lnTo>
                    <a:pt x="546" y="648"/>
                  </a:lnTo>
                  <a:lnTo>
                    <a:pt x="561" y="654"/>
                  </a:lnTo>
                  <a:lnTo>
                    <a:pt x="575" y="661"/>
                  </a:lnTo>
                  <a:lnTo>
                    <a:pt x="587" y="669"/>
                  </a:lnTo>
                  <a:lnTo>
                    <a:pt x="593" y="674"/>
                  </a:lnTo>
                  <a:lnTo>
                    <a:pt x="598" y="679"/>
                  </a:lnTo>
                  <a:lnTo>
                    <a:pt x="602" y="685"/>
                  </a:lnTo>
                  <a:lnTo>
                    <a:pt x="606" y="691"/>
                  </a:lnTo>
                  <a:lnTo>
                    <a:pt x="609" y="699"/>
                  </a:lnTo>
                  <a:lnTo>
                    <a:pt x="612" y="705"/>
                  </a:lnTo>
                  <a:lnTo>
                    <a:pt x="614" y="712"/>
                  </a:lnTo>
                  <a:lnTo>
                    <a:pt x="616" y="718"/>
                  </a:lnTo>
                  <a:lnTo>
                    <a:pt x="617" y="723"/>
                  </a:lnTo>
                  <a:lnTo>
                    <a:pt x="618" y="728"/>
                  </a:lnTo>
                  <a:lnTo>
                    <a:pt x="618" y="732"/>
                  </a:lnTo>
                  <a:lnTo>
                    <a:pt x="618" y="736"/>
                  </a:lnTo>
                  <a:lnTo>
                    <a:pt x="618" y="746"/>
                  </a:lnTo>
                  <a:lnTo>
                    <a:pt x="616" y="756"/>
                  </a:lnTo>
                  <a:lnTo>
                    <a:pt x="613" y="765"/>
                  </a:lnTo>
                  <a:lnTo>
                    <a:pt x="610" y="773"/>
                  </a:lnTo>
                  <a:lnTo>
                    <a:pt x="607" y="780"/>
                  </a:lnTo>
                  <a:lnTo>
                    <a:pt x="603" y="787"/>
                  </a:lnTo>
                  <a:lnTo>
                    <a:pt x="598" y="794"/>
                  </a:lnTo>
                  <a:lnTo>
                    <a:pt x="593" y="799"/>
                  </a:lnTo>
                  <a:lnTo>
                    <a:pt x="584" y="811"/>
                  </a:lnTo>
                  <a:lnTo>
                    <a:pt x="574" y="819"/>
                  </a:lnTo>
                  <a:lnTo>
                    <a:pt x="565" y="825"/>
                  </a:lnTo>
                  <a:lnTo>
                    <a:pt x="558" y="828"/>
                  </a:lnTo>
                  <a:lnTo>
                    <a:pt x="549" y="833"/>
                  </a:lnTo>
                  <a:lnTo>
                    <a:pt x="538" y="837"/>
                  </a:lnTo>
                  <a:lnTo>
                    <a:pt x="524" y="842"/>
                  </a:lnTo>
                  <a:lnTo>
                    <a:pt x="507" y="846"/>
                  </a:lnTo>
                  <a:lnTo>
                    <a:pt x="489" y="850"/>
                  </a:lnTo>
                  <a:lnTo>
                    <a:pt x="469" y="853"/>
                  </a:lnTo>
                  <a:lnTo>
                    <a:pt x="446" y="855"/>
                  </a:lnTo>
                  <a:lnTo>
                    <a:pt x="423" y="856"/>
                  </a:lnTo>
                  <a:lnTo>
                    <a:pt x="414" y="856"/>
                  </a:lnTo>
                  <a:lnTo>
                    <a:pt x="398" y="855"/>
                  </a:lnTo>
                  <a:lnTo>
                    <a:pt x="378" y="853"/>
                  </a:lnTo>
                  <a:lnTo>
                    <a:pt x="353" y="849"/>
                  </a:lnTo>
                  <a:lnTo>
                    <a:pt x="341" y="846"/>
                  </a:lnTo>
                  <a:lnTo>
                    <a:pt x="328" y="843"/>
                  </a:lnTo>
                  <a:lnTo>
                    <a:pt x="315" y="839"/>
                  </a:lnTo>
                  <a:lnTo>
                    <a:pt x="302" y="834"/>
                  </a:lnTo>
                  <a:lnTo>
                    <a:pt x="289" y="829"/>
                  </a:lnTo>
                  <a:lnTo>
                    <a:pt x="277" y="822"/>
                  </a:lnTo>
                  <a:lnTo>
                    <a:pt x="265" y="815"/>
                  </a:lnTo>
                  <a:lnTo>
                    <a:pt x="254" y="806"/>
                  </a:lnTo>
                  <a:lnTo>
                    <a:pt x="247" y="800"/>
                  </a:lnTo>
                  <a:lnTo>
                    <a:pt x="242" y="794"/>
                  </a:lnTo>
                  <a:lnTo>
                    <a:pt x="236" y="788"/>
                  </a:lnTo>
                  <a:lnTo>
                    <a:pt x="231" y="781"/>
                  </a:lnTo>
                  <a:lnTo>
                    <a:pt x="225" y="772"/>
                  </a:lnTo>
                  <a:lnTo>
                    <a:pt x="219" y="762"/>
                  </a:lnTo>
                  <a:lnTo>
                    <a:pt x="213" y="750"/>
                  </a:lnTo>
                  <a:lnTo>
                    <a:pt x="205" y="734"/>
                  </a:lnTo>
                  <a:lnTo>
                    <a:pt x="0" y="778"/>
                  </a:lnTo>
                  <a:lnTo>
                    <a:pt x="14" y="803"/>
                  </a:lnTo>
                  <a:lnTo>
                    <a:pt x="26" y="827"/>
                  </a:lnTo>
                  <a:lnTo>
                    <a:pt x="37" y="846"/>
                  </a:lnTo>
                  <a:lnTo>
                    <a:pt x="47" y="864"/>
                  </a:lnTo>
                  <a:lnTo>
                    <a:pt x="57" y="879"/>
                  </a:lnTo>
                  <a:lnTo>
                    <a:pt x="66" y="892"/>
                  </a:lnTo>
                  <a:lnTo>
                    <a:pt x="75" y="903"/>
                  </a:lnTo>
                  <a:lnTo>
                    <a:pt x="85" y="914"/>
                  </a:lnTo>
                  <a:lnTo>
                    <a:pt x="100" y="928"/>
                  </a:lnTo>
                  <a:lnTo>
                    <a:pt x="117" y="940"/>
                  </a:lnTo>
                  <a:lnTo>
                    <a:pt x="134" y="952"/>
                  </a:lnTo>
                  <a:lnTo>
                    <a:pt x="153" y="962"/>
                  </a:lnTo>
                  <a:lnTo>
                    <a:pt x="173" y="973"/>
                  </a:lnTo>
                  <a:lnTo>
                    <a:pt x="194" y="981"/>
                  </a:lnTo>
                  <a:lnTo>
                    <a:pt x="215" y="989"/>
                  </a:lnTo>
                  <a:lnTo>
                    <a:pt x="237" y="995"/>
                  </a:lnTo>
                  <a:lnTo>
                    <a:pt x="260" y="1001"/>
                  </a:lnTo>
                  <a:lnTo>
                    <a:pt x="281" y="1006"/>
                  </a:lnTo>
                  <a:lnTo>
                    <a:pt x="303" y="1010"/>
                  </a:lnTo>
                  <a:lnTo>
                    <a:pt x="326" y="1013"/>
                  </a:lnTo>
                  <a:lnTo>
                    <a:pt x="348" y="1016"/>
                  </a:lnTo>
                  <a:lnTo>
                    <a:pt x="370" y="1018"/>
                  </a:lnTo>
                  <a:lnTo>
                    <a:pt x="391" y="1019"/>
                  </a:lnTo>
                  <a:lnTo>
                    <a:pt x="412" y="1019"/>
                  </a:lnTo>
                  <a:lnTo>
                    <a:pt x="431" y="1019"/>
                  </a:lnTo>
                  <a:lnTo>
                    <a:pt x="460" y="1017"/>
                  </a:lnTo>
                  <a:lnTo>
                    <a:pt x="478" y="1016"/>
                  </a:lnTo>
                  <a:lnTo>
                    <a:pt x="497" y="1014"/>
                  </a:lnTo>
                  <a:lnTo>
                    <a:pt x="519" y="1011"/>
                  </a:lnTo>
                  <a:lnTo>
                    <a:pt x="540" y="1007"/>
                  </a:lnTo>
                  <a:lnTo>
                    <a:pt x="563" y="1003"/>
                  </a:lnTo>
                  <a:lnTo>
                    <a:pt x="587" y="997"/>
                  </a:lnTo>
                  <a:lnTo>
                    <a:pt x="611" y="990"/>
                  </a:lnTo>
                  <a:lnTo>
                    <a:pt x="635" y="982"/>
                  </a:lnTo>
                  <a:lnTo>
                    <a:pt x="659" y="971"/>
                  </a:lnTo>
                  <a:lnTo>
                    <a:pt x="683" y="960"/>
                  </a:lnTo>
                  <a:lnTo>
                    <a:pt x="694" y="954"/>
                  </a:lnTo>
                  <a:lnTo>
                    <a:pt x="705" y="948"/>
                  </a:lnTo>
                  <a:lnTo>
                    <a:pt x="716" y="941"/>
                  </a:lnTo>
                  <a:lnTo>
                    <a:pt x="727" y="933"/>
                  </a:lnTo>
                  <a:lnTo>
                    <a:pt x="745" y="919"/>
                  </a:lnTo>
                  <a:lnTo>
                    <a:pt x="761" y="903"/>
                  </a:lnTo>
                  <a:lnTo>
                    <a:pt x="776" y="887"/>
                  </a:lnTo>
                  <a:lnTo>
                    <a:pt x="789" y="872"/>
                  </a:lnTo>
                  <a:lnTo>
                    <a:pt x="799" y="855"/>
                  </a:lnTo>
                  <a:lnTo>
                    <a:pt x="809" y="839"/>
                  </a:lnTo>
                  <a:lnTo>
                    <a:pt x="817" y="823"/>
                  </a:lnTo>
                  <a:lnTo>
                    <a:pt x="824" y="807"/>
                  </a:lnTo>
                  <a:lnTo>
                    <a:pt x="829" y="791"/>
                  </a:lnTo>
                  <a:lnTo>
                    <a:pt x="834" y="776"/>
                  </a:lnTo>
                  <a:lnTo>
                    <a:pt x="837" y="761"/>
                  </a:lnTo>
                  <a:lnTo>
                    <a:pt x="840" y="747"/>
                  </a:lnTo>
                  <a:lnTo>
                    <a:pt x="842" y="722"/>
                  </a:lnTo>
                  <a:lnTo>
                    <a:pt x="843" y="701"/>
                  </a:lnTo>
                  <a:lnTo>
                    <a:pt x="843" y="683"/>
                  </a:lnTo>
                  <a:lnTo>
                    <a:pt x="841" y="665"/>
                  </a:lnTo>
                  <a:lnTo>
                    <a:pt x="838" y="648"/>
                  </a:lnTo>
                  <a:lnTo>
                    <a:pt x="835" y="630"/>
                  </a:lnTo>
                  <a:lnTo>
                    <a:pt x="830" y="613"/>
                  </a:lnTo>
                  <a:lnTo>
                    <a:pt x="824" y="597"/>
                  </a:lnTo>
                  <a:lnTo>
                    <a:pt x="817" y="581"/>
                  </a:lnTo>
                  <a:lnTo>
                    <a:pt x="809" y="564"/>
                  </a:lnTo>
                  <a:lnTo>
                    <a:pt x="800" y="549"/>
                  </a:lnTo>
                  <a:lnTo>
                    <a:pt x="791" y="535"/>
                  </a:lnTo>
                  <a:lnTo>
                    <a:pt x="780" y="520"/>
                  </a:lnTo>
                  <a:lnTo>
                    <a:pt x="767" y="507"/>
                  </a:lnTo>
                  <a:lnTo>
                    <a:pt x="755" y="495"/>
                  </a:lnTo>
                  <a:lnTo>
                    <a:pt x="742" y="484"/>
                  </a:lnTo>
                  <a:lnTo>
                    <a:pt x="728" y="473"/>
                  </a:lnTo>
                  <a:lnTo>
                    <a:pt x="711" y="463"/>
                  </a:lnTo>
                  <a:lnTo>
                    <a:pt x="702" y="457"/>
                  </a:lnTo>
                  <a:lnTo>
                    <a:pt x="692" y="452"/>
                  </a:lnTo>
                  <a:lnTo>
                    <a:pt x="682" y="448"/>
                  </a:lnTo>
                  <a:lnTo>
                    <a:pt x="670" y="443"/>
                  </a:lnTo>
                  <a:lnTo>
                    <a:pt x="656" y="438"/>
                  </a:lnTo>
                  <a:lnTo>
                    <a:pt x="642" y="433"/>
                  </a:lnTo>
                  <a:lnTo>
                    <a:pt x="624" y="427"/>
                  </a:lnTo>
                  <a:lnTo>
                    <a:pt x="603" y="420"/>
                  </a:lnTo>
                  <a:lnTo>
                    <a:pt x="382" y="379"/>
                  </a:lnTo>
                  <a:lnTo>
                    <a:pt x="362" y="374"/>
                  </a:lnTo>
                  <a:lnTo>
                    <a:pt x="343" y="369"/>
                  </a:lnTo>
                  <a:lnTo>
                    <a:pt x="325" y="364"/>
                  </a:lnTo>
                  <a:lnTo>
                    <a:pt x="308" y="356"/>
                  </a:lnTo>
                  <a:lnTo>
                    <a:pt x="300" y="352"/>
                  </a:lnTo>
                  <a:lnTo>
                    <a:pt x="292" y="348"/>
                  </a:lnTo>
                  <a:lnTo>
                    <a:pt x="285" y="343"/>
                  </a:lnTo>
                  <a:lnTo>
                    <a:pt x="278" y="338"/>
                  </a:lnTo>
                  <a:lnTo>
                    <a:pt x="272" y="332"/>
                  </a:lnTo>
                  <a:lnTo>
                    <a:pt x="266" y="325"/>
                  </a:lnTo>
                  <a:lnTo>
                    <a:pt x="261" y="318"/>
                  </a:lnTo>
                  <a:lnTo>
                    <a:pt x="255" y="309"/>
                  </a:lnTo>
                  <a:lnTo>
                    <a:pt x="252" y="303"/>
                  </a:lnTo>
                  <a:lnTo>
                    <a:pt x="250" y="296"/>
                  </a:lnTo>
                  <a:lnTo>
                    <a:pt x="248" y="291"/>
                  </a:lnTo>
                  <a:lnTo>
                    <a:pt x="246" y="285"/>
                  </a:lnTo>
                  <a:lnTo>
                    <a:pt x="245" y="280"/>
                  </a:lnTo>
                  <a:lnTo>
                    <a:pt x="245" y="276"/>
                  </a:lnTo>
                  <a:lnTo>
                    <a:pt x="244" y="273"/>
                  </a:lnTo>
                  <a:lnTo>
                    <a:pt x="244" y="270"/>
                  </a:lnTo>
                  <a:lnTo>
                    <a:pt x="245" y="262"/>
                  </a:lnTo>
                  <a:lnTo>
                    <a:pt x="245" y="255"/>
                  </a:lnTo>
                  <a:lnTo>
                    <a:pt x="247" y="249"/>
                  </a:lnTo>
                  <a:lnTo>
                    <a:pt x="248" y="241"/>
                  </a:lnTo>
                  <a:lnTo>
                    <a:pt x="250" y="236"/>
                  </a:lnTo>
                  <a:lnTo>
                    <a:pt x="252" y="231"/>
                  </a:lnTo>
                  <a:lnTo>
                    <a:pt x="254" y="227"/>
                  </a:lnTo>
                  <a:lnTo>
                    <a:pt x="255" y="225"/>
                  </a:lnTo>
                  <a:lnTo>
                    <a:pt x="262" y="216"/>
                  </a:lnTo>
                  <a:lnTo>
                    <a:pt x="268" y="209"/>
                  </a:lnTo>
                  <a:lnTo>
                    <a:pt x="275" y="202"/>
                  </a:lnTo>
                  <a:lnTo>
                    <a:pt x="283" y="196"/>
                  </a:lnTo>
                  <a:lnTo>
                    <a:pt x="290" y="191"/>
                  </a:lnTo>
                  <a:lnTo>
                    <a:pt x="298" y="185"/>
                  </a:lnTo>
                  <a:lnTo>
                    <a:pt x="307" y="181"/>
                  </a:lnTo>
                  <a:lnTo>
                    <a:pt x="316" y="178"/>
                  </a:lnTo>
                  <a:lnTo>
                    <a:pt x="331" y="173"/>
                  </a:lnTo>
                  <a:lnTo>
                    <a:pt x="346" y="170"/>
                  </a:lnTo>
                  <a:lnTo>
                    <a:pt x="358" y="168"/>
                  </a:lnTo>
                  <a:lnTo>
                    <a:pt x="367" y="167"/>
                  </a:lnTo>
                  <a:lnTo>
                    <a:pt x="375" y="165"/>
                  </a:lnTo>
                  <a:lnTo>
                    <a:pt x="383" y="165"/>
                  </a:lnTo>
                  <a:lnTo>
                    <a:pt x="390" y="164"/>
                  </a:lnTo>
                  <a:lnTo>
                    <a:pt x="397" y="163"/>
                  </a:lnTo>
                  <a:lnTo>
                    <a:pt x="403" y="163"/>
                  </a:lnTo>
                  <a:lnTo>
                    <a:pt x="409" y="163"/>
                  </a:lnTo>
                  <a:lnTo>
                    <a:pt x="414" y="163"/>
                  </a:lnTo>
                  <a:lnTo>
                    <a:pt x="418" y="163"/>
                  </a:lnTo>
                  <a:lnTo>
                    <a:pt x="438" y="164"/>
                  </a:lnTo>
                  <a:lnTo>
                    <a:pt x="457" y="166"/>
                  </a:lnTo>
                  <a:lnTo>
                    <a:pt x="476" y="169"/>
                  </a:lnTo>
                  <a:lnTo>
                    <a:pt x="492" y="174"/>
                  </a:lnTo>
                  <a:lnTo>
                    <a:pt x="506" y="179"/>
                  </a:lnTo>
                  <a:lnTo>
                    <a:pt x="520" y="186"/>
                  </a:lnTo>
                  <a:lnTo>
                    <a:pt x="532" y="194"/>
                  </a:lnTo>
                  <a:lnTo>
                    <a:pt x="543" y="201"/>
                  </a:lnTo>
                  <a:lnTo>
                    <a:pt x="552" y="210"/>
                  </a:lnTo>
                  <a:lnTo>
                    <a:pt x="561" y="218"/>
                  </a:lnTo>
                  <a:lnTo>
                    <a:pt x="569" y="227"/>
                  </a:lnTo>
                  <a:lnTo>
                    <a:pt x="577" y="236"/>
                  </a:lnTo>
                  <a:lnTo>
                    <a:pt x="589" y="254"/>
                  </a:lnTo>
                  <a:lnTo>
                    <a:pt x="599" y="270"/>
                  </a:lnTo>
                  <a:lnTo>
                    <a:pt x="792" y="229"/>
                  </a:lnTo>
                  <a:lnTo>
                    <a:pt x="781" y="205"/>
                  </a:lnTo>
                  <a:lnTo>
                    <a:pt x="771" y="184"/>
                  </a:lnTo>
                  <a:lnTo>
                    <a:pt x="761" y="168"/>
                  </a:lnTo>
                  <a:lnTo>
                    <a:pt x="753" y="153"/>
                  </a:lnTo>
                  <a:lnTo>
                    <a:pt x="745" y="141"/>
                  </a:lnTo>
                  <a:lnTo>
                    <a:pt x="737" y="129"/>
                  </a:lnTo>
                  <a:lnTo>
                    <a:pt x="729" y="119"/>
                  </a:lnTo>
                  <a:lnTo>
                    <a:pt x="720" y="109"/>
                  </a:lnTo>
                  <a:lnTo>
                    <a:pt x="705" y="95"/>
                  </a:lnTo>
                  <a:lnTo>
                    <a:pt x="690" y="83"/>
                  </a:lnTo>
                  <a:lnTo>
                    <a:pt x="674" y="70"/>
                  </a:lnTo>
                  <a:lnTo>
                    <a:pt x="656" y="59"/>
                  </a:lnTo>
                  <a:lnTo>
                    <a:pt x="638" y="50"/>
                  </a:lnTo>
                  <a:lnTo>
                    <a:pt x="620" y="41"/>
                  </a:lnTo>
                  <a:lnTo>
                    <a:pt x="600" y="33"/>
                  </a:lnTo>
                  <a:lnTo>
                    <a:pt x="581" y="26"/>
                  </a:lnTo>
                  <a:lnTo>
                    <a:pt x="560" y="19"/>
                  </a:lnTo>
                  <a:lnTo>
                    <a:pt x="540" y="14"/>
                  </a:lnTo>
                  <a:lnTo>
                    <a:pt x="520" y="9"/>
                  </a:lnTo>
                  <a:lnTo>
                    <a:pt x="498" y="6"/>
                  </a:lnTo>
                  <a:lnTo>
                    <a:pt x="478" y="3"/>
                  </a:lnTo>
                  <a:lnTo>
                    <a:pt x="458" y="1"/>
                  </a:lnTo>
                  <a:lnTo>
                    <a:pt x="438" y="0"/>
                  </a:lnTo>
                  <a:lnTo>
                    <a:pt x="419" y="0"/>
                  </a:lnTo>
                  <a:lnTo>
                    <a:pt x="400" y="0"/>
                  </a:lnTo>
                  <a:lnTo>
                    <a:pt x="382" y="1"/>
                  </a:lnTo>
                  <a:lnTo>
                    <a:pt x="364" y="2"/>
                  </a:lnTo>
                  <a:lnTo>
                    <a:pt x="344" y="5"/>
                  </a:lnTo>
                  <a:lnTo>
                    <a:pt x="325" y="7"/>
                  </a:lnTo>
                  <a:lnTo>
                    <a:pt x="306" y="11"/>
                  </a:lnTo>
                  <a:lnTo>
                    <a:pt x="288" y="15"/>
                  </a:lnTo>
                  <a:lnTo>
                    <a:pt x="269" y="19"/>
                  </a:lnTo>
                  <a:lnTo>
                    <a:pt x="250" y="26"/>
                  </a:lnTo>
                  <a:lnTo>
                    <a:pt x="233" y="32"/>
                  </a:lnTo>
                  <a:lnTo>
                    <a:pt x="216" y="39"/>
                  </a:lnTo>
                  <a:lnTo>
                    <a:pt x="198" y="47"/>
                  </a:lnTo>
                  <a:lnTo>
                    <a:pt x="182" y="55"/>
                  </a:lnTo>
                  <a:lnTo>
                    <a:pt x="167" y="65"/>
                  </a:lnTo>
                  <a:lnTo>
                    <a:pt x="151" y="75"/>
                  </a:lnTo>
                  <a:lnTo>
                    <a:pt x="137" y="87"/>
                  </a:lnTo>
                  <a:lnTo>
                    <a:pt x="126" y="97"/>
                  </a:lnTo>
                  <a:lnTo>
                    <a:pt x="116" y="108"/>
                  </a:lnTo>
                  <a:lnTo>
                    <a:pt x="106" y="120"/>
                  </a:lnTo>
                  <a:lnTo>
                    <a:pt x="95" y="134"/>
                  </a:lnTo>
                  <a:lnTo>
                    <a:pt x="86" y="147"/>
                  </a:lnTo>
                  <a:lnTo>
                    <a:pt x="78" y="161"/>
                  </a:lnTo>
                  <a:lnTo>
                    <a:pt x="71" y="175"/>
                  </a:lnTo>
                  <a:lnTo>
                    <a:pt x="64" y="191"/>
                  </a:lnTo>
                  <a:lnTo>
                    <a:pt x="58" y="206"/>
                  </a:lnTo>
                  <a:lnTo>
                    <a:pt x="51" y="222"/>
                  </a:lnTo>
                  <a:lnTo>
                    <a:pt x="47" y="237"/>
                  </a:lnTo>
                  <a:lnTo>
                    <a:pt x="43" y="254"/>
                  </a:lnTo>
                  <a:lnTo>
                    <a:pt x="40" y="270"/>
                  </a:lnTo>
                  <a:lnTo>
                    <a:pt x="38" y="286"/>
                  </a:lnTo>
                  <a:lnTo>
                    <a:pt x="36" y="303"/>
                  </a:lnTo>
                  <a:lnTo>
                    <a:pt x="36" y="319"/>
                  </a:lnTo>
                  <a:lnTo>
                    <a:pt x="37" y="343"/>
                  </a:lnTo>
                  <a:lnTo>
                    <a:pt x="40" y="366"/>
                  </a:lnTo>
                  <a:lnTo>
                    <a:pt x="44" y="387"/>
                  </a:lnTo>
                  <a:lnTo>
                    <a:pt x="49" y="406"/>
                  </a:lnTo>
                  <a:lnTo>
                    <a:pt x="57" y="425"/>
                  </a:lnTo>
                  <a:lnTo>
                    <a:pt x="65" y="441"/>
                  </a:lnTo>
                  <a:lnTo>
                    <a:pt x="73" y="456"/>
                  </a:lnTo>
                  <a:lnTo>
                    <a:pt x="83" y="471"/>
                  </a:lnTo>
                  <a:lnTo>
                    <a:pt x="92" y="484"/>
                  </a:lnTo>
                  <a:lnTo>
                    <a:pt x="102" y="495"/>
                  </a:lnTo>
                  <a:lnTo>
                    <a:pt x="113" y="506"/>
                  </a:lnTo>
                  <a:lnTo>
                    <a:pt x="123" y="515"/>
                  </a:lnTo>
                  <a:lnTo>
                    <a:pt x="133" y="523"/>
                  </a:lnTo>
                  <a:lnTo>
                    <a:pt x="143" y="531"/>
                  </a:lnTo>
                  <a:lnTo>
                    <a:pt x="151" y="537"/>
                  </a:lnTo>
                  <a:lnTo>
                    <a:pt x="160" y="542"/>
                  </a:lnTo>
                  <a:lnTo>
                    <a:pt x="174" y="550"/>
                  </a:lnTo>
                  <a:lnTo>
                    <a:pt x="188" y="557"/>
                  </a:lnTo>
                  <a:lnTo>
                    <a:pt x="201" y="564"/>
                  </a:lnTo>
                  <a:lnTo>
                    <a:pt x="216" y="569"/>
                  </a:lnTo>
                  <a:lnTo>
                    <a:pt x="230" y="574"/>
                  </a:lnTo>
                  <a:lnTo>
                    <a:pt x="244" y="578"/>
                  </a:lnTo>
                  <a:lnTo>
                    <a:pt x="260" y="584"/>
                  </a:lnTo>
                  <a:lnTo>
                    <a:pt x="275" y="589"/>
                  </a:lnTo>
                  <a:lnTo>
                    <a:pt x="498" y="635"/>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17" name="Freeform 17"/>
            <p:cNvSpPr>
              <a:spLocks noEditPoints="1"/>
            </p:cNvSpPr>
            <p:nvPr userDrawn="1"/>
          </p:nvSpPr>
          <p:spPr bwMode="auto">
            <a:xfrm>
              <a:off x="5416" y="362"/>
              <a:ext cx="45" cy="50"/>
            </a:xfrm>
            <a:custGeom>
              <a:avLst/>
              <a:gdLst>
                <a:gd name="T0" fmla="*/ 0 w 902"/>
                <a:gd name="T1" fmla="*/ 0 h 1017"/>
                <a:gd name="T2" fmla="*/ 0 w 902"/>
                <a:gd name="T3" fmla="*/ 0 h 1017"/>
                <a:gd name="T4" fmla="*/ 0 w 902"/>
                <a:gd name="T5" fmla="*/ 0 h 1017"/>
                <a:gd name="T6" fmla="*/ 0 w 902"/>
                <a:gd name="T7" fmla="*/ 0 h 1017"/>
                <a:gd name="T8" fmla="*/ 0 w 902"/>
                <a:gd name="T9" fmla="*/ 0 h 1017"/>
                <a:gd name="T10" fmla="*/ 0 w 902"/>
                <a:gd name="T11" fmla="*/ 0 h 1017"/>
                <a:gd name="T12" fmla="*/ 0 w 902"/>
                <a:gd name="T13" fmla="*/ 0 h 1017"/>
                <a:gd name="T14" fmla="*/ 0 w 902"/>
                <a:gd name="T15" fmla="*/ 0 h 1017"/>
                <a:gd name="T16" fmla="*/ 0 w 902"/>
                <a:gd name="T17" fmla="*/ 0 h 1017"/>
                <a:gd name="T18" fmla="*/ 0 w 902"/>
                <a:gd name="T19" fmla="*/ 0 h 1017"/>
                <a:gd name="T20" fmla="*/ 0 w 902"/>
                <a:gd name="T21" fmla="*/ 0 h 1017"/>
                <a:gd name="T22" fmla="*/ 0 w 902"/>
                <a:gd name="T23" fmla="*/ 0 h 1017"/>
                <a:gd name="T24" fmla="*/ 0 w 902"/>
                <a:gd name="T25" fmla="*/ 0 h 1017"/>
                <a:gd name="T26" fmla="*/ 0 w 902"/>
                <a:gd name="T27" fmla="*/ 0 h 1017"/>
                <a:gd name="T28" fmla="*/ 0 w 902"/>
                <a:gd name="T29" fmla="*/ 0 h 1017"/>
                <a:gd name="T30" fmla="*/ 0 w 902"/>
                <a:gd name="T31" fmla="*/ 0 h 1017"/>
                <a:gd name="T32" fmla="*/ 0 w 902"/>
                <a:gd name="T33" fmla="*/ 0 h 1017"/>
                <a:gd name="T34" fmla="*/ 0 w 902"/>
                <a:gd name="T35" fmla="*/ 0 h 1017"/>
                <a:gd name="T36" fmla="*/ 0 w 902"/>
                <a:gd name="T37" fmla="*/ 0 h 1017"/>
                <a:gd name="T38" fmla="*/ 0 w 902"/>
                <a:gd name="T39" fmla="*/ 0 h 1017"/>
                <a:gd name="T40" fmla="*/ 0 w 902"/>
                <a:gd name="T41" fmla="*/ 0 h 1017"/>
                <a:gd name="T42" fmla="*/ 0 w 902"/>
                <a:gd name="T43" fmla="*/ 0 h 1017"/>
                <a:gd name="T44" fmla="*/ 0 w 902"/>
                <a:gd name="T45" fmla="*/ 0 h 1017"/>
                <a:gd name="T46" fmla="*/ 0 w 902"/>
                <a:gd name="T47" fmla="*/ 0 h 1017"/>
                <a:gd name="T48" fmla="*/ 0 w 902"/>
                <a:gd name="T49" fmla="*/ 0 h 1017"/>
                <a:gd name="T50" fmla="*/ 0 w 902"/>
                <a:gd name="T51" fmla="*/ 0 h 1017"/>
                <a:gd name="T52" fmla="*/ 0 w 902"/>
                <a:gd name="T53" fmla="*/ 0 h 1017"/>
                <a:gd name="T54" fmla="*/ 0 w 902"/>
                <a:gd name="T55" fmla="*/ 0 h 1017"/>
                <a:gd name="T56" fmla="*/ 0 w 902"/>
                <a:gd name="T57" fmla="*/ 0 h 1017"/>
                <a:gd name="T58" fmla="*/ 0 w 902"/>
                <a:gd name="T59" fmla="*/ 0 h 1017"/>
                <a:gd name="T60" fmla="*/ 0 w 902"/>
                <a:gd name="T61" fmla="*/ 0 h 1017"/>
                <a:gd name="T62" fmla="*/ 0 w 902"/>
                <a:gd name="T63" fmla="*/ 0 h 1017"/>
                <a:gd name="T64" fmla="*/ 0 w 902"/>
                <a:gd name="T65" fmla="*/ 0 h 1017"/>
                <a:gd name="T66" fmla="*/ 0 w 902"/>
                <a:gd name="T67" fmla="*/ 0 h 1017"/>
                <a:gd name="T68" fmla="*/ 0 w 902"/>
                <a:gd name="T69" fmla="*/ 0 h 1017"/>
                <a:gd name="T70" fmla="*/ 0 w 902"/>
                <a:gd name="T71" fmla="*/ 0 h 1017"/>
                <a:gd name="T72" fmla="*/ 0 w 902"/>
                <a:gd name="T73" fmla="*/ 0 h 1017"/>
                <a:gd name="T74" fmla="*/ 0 w 902"/>
                <a:gd name="T75" fmla="*/ 0 h 1017"/>
                <a:gd name="T76" fmla="*/ 0 w 902"/>
                <a:gd name="T77" fmla="*/ 0 h 1017"/>
                <a:gd name="T78" fmla="*/ 0 w 902"/>
                <a:gd name="T79" fmla="*/ 0 h 1017"/>
                <a:gd name="T80" fmla="*/ 0 w 902"/>
                <a:gd name="T81" fmla="*/ 0 h 1017"/>
                <a:gd name="T82" fmla="*/ 0 w 902"/>
                <a:gd name="T83" fmla="*/ 0 h 1017"/>
                <a:gd name="T84" fmla="*/ 0 w 902"/>
                <a:gd name="T85" fmla="*/ 0 h 1017"/>
                <a:gd name="T86" fmla="*/ 0 w 902"/>
                <a:gd name="T87" fmla="*/ 0 h 1017"/>
                <a:gd name="T88" fmla="*/ 0 w 902"/>
                <a:gd name="T89" fmla="*/ 0 h 1017"/>
                <a:gd name="T90" fmla="*/ 0 w 902"/>
                <a:gd name="T91" fmla="*/ 0 h 1017"/>
                <a:gd name="T92" fmla="*/ 0 w 902"/>
                <a:gd name="T93" fmla="*/ 0 h 1017"/>
                <a:gd name="T94" fmla="*/ 0 w 902"/>
                <a:gd name="T95" fmla="*/ 0 h 1017"/>
                <a:gd name="T96" fmla="*/ 0 w 902"/>
                <a:gd name="T97" fmla="*/ 0 h 1017"/>
                <a:gd name="T98" fmla="*/ 0 w 902"/>
                <a:gd name="T99" fmla="*/ 0 h 1017"/>
                <a:gd name="T100" fmla="*/ 0 w 902"/>
                <a:gd name="T101" fmla="*/ 0 h 1017"/>
                <a:gd name="T102" fmla="*/ 0 w 902"/>
                <a:gd name="T103" fmla="*/ 0 h 1017"/>
                <a:gd name="T104" fmla="*/ 0 w 902"/>
                <a:gd name="T105" fmla="*/ 0 h 1017"/>
                <a:gd name="T106" fmla="*/ 0 w 902"/>
                <a:gd name="T107" fmla="*/ 0 h 1017"/>
                <a:gd name="T108" fmla="*/ 0 w 902"/>
                <a:gd name="T109" fmla="*/ 0 h 1017"/>
                <a:gd name="T110" fmla="*/ 0 w 902"/>
                <a:gd name="T111" fmla="*/ 0 h 1017"/>
                <a:gd name="T112" fmla="*/ 0 w 902"/>
                <a:gd name="T113" fmla="*/ 0 h 1017"/>
                <a:gd name="T114" fmla="*/ 0 w 902"/>
                <a:gd name="T115" fmla="*/ 0 h 1017"/>
                <a:gd name="T116" fmla="*/ 0 w 902"/>
                <a:gd name="T117" fmla="*/ 0 h 1017"/>
                <a:gd name="T118" fmla="*/ 0 w 902"/>
                <a:gd name="T119" fmla="*/ 0 h 1017"/>
                <a:gd name="T120" fmla="*/ 0 w 902"/>
                <a:gd name="T121" fmla="*/ 0 h 1017"/>
                <a:gd name="T122" fmla="*/ 0 w 902"/>
                <a:gd name="T123" fmla="*/ 0 h 1017"/>
                <a:gd name="T124" fmla="*/ 0 w 902"/>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2" h="1017">
                  <a:moveTo>
                    <a:pt x="1" y="483"/>
                  </a:moveTo>
                  <a:lnTo>
                    <a:pt x="0" y="507"/>
                  </a:lnTo>
                  <a:lnTo>
                    <a:pt x="0" y="532"/>
                  </a:lnTo>
                  <a:lnTo>
                    <a:pt x="1" y="554"/>
                  </a:lnTo>
                  <a:lnTo>
                    <a:pt x="2" y="577"/>
                  </a:lnTo>
                  <a:lnTo>
                    <a:pt x="4" y="599"/>
                  </a:lnTo>
                  <a:lnTo>
                    <a:pt x="7" y="620"/>
                  </a:lnTo>
                  <a:lnTo>
                    <a:pt x="10" y="641"/>
                  </a:lnTo>
                  <a:lnTo>
                    <a:pt x="15" y="660"/>
                  </a:lnTo>
                  <a:lnTo>
                    <a:pt x="19" y="679"/>
                  </a:lnTo>
                  <a:lnTo>
                    <a:pt x="25" y="699"/>
                  </a:lnTo>
                  <a:lnTo>
                    <a:pt x="31" y="716"/>
                  </a:lnTo>
                  <a:lnTo>
                    <a:pt x="38" y="734"/>
                  </a:lnTo>
                  <a:lnTo>
                    <a:pt x="44" y="751"/>
                  </a:lnTo>
                  <a:lnTo>
                    <a:pt x="51" y="767"/>
                  </a:lnTo>
                  <a:lnTo>
                    <a:pt x="59" y="782"/>
                  </a:lnTo>
                  <a:lnTo>
                    <a:pt x="67" y="797"/>
                  </a:lnTo>
                  <a:lnTo>
                    <a:pt x="76" y="812"/>
                  </a:lnTo>
                  <a:lnTo>
                    <a:pt x="84" y="825"/>
                  </a:lnTo>
                  <a:lnTo>
                    <a:pt x="93" y="838"/>
                  </a:lnTo>
                  <a:lnTo>
                    <a:pt x="102" y="850"/>
                  </a:lnTo>
                  <a:lnTo>
                    <a:pt x="120" y="874"/>
                  </a:lnTo>
                  <a:lnTo>
                    <a:pt x="139" y="895"/>
                  </a:lnTo>
                  <a:lnTo>
                    <a:pt x="158" y="914"/>
                  </a:lnTo>
                  <a:lnTo>
                    <a:pt x="177" y="930"/>
                  </a:lnTo>
                  <a:lnTo>
                    <a:pt x="196" y="944"/>
                  </a:lnTo>
                  <a:lnTo>
                    <a:pt x="213" y="955"/>
                  </a:lnTo>
                  <a:lnTo>
                    <a:pt x="231" y="965"/>
                  </a:lnTo>
                  <a:lnTo>
                    <a:pt x="248" y="975"/>
                  </a:lnTo>
                  <a:lnTo>
                    <a:pt x="265" y="983"/>
                  </a:lnTo>
                  <a:lnTo>
                    <a:pt x="283" y="990"/>
                  </a:lnTo>
                  <a:lnTo>
                    <a:pt x="300" y="995"/>
                  </a:lnTo>
                  <a:lnTo>
                    <a:pt x="316" y="1000"/>
                  </a:lnTo>
                  <a:lnTo>
                    <a:pt x="333" y="1004"/>
                  </a:lnTo>
                  <a:lnTo>
                    <a:pt x="349" y="1008"/>
                  </a:lnTo>
                  <a:lnTo>
                    <a:pt x="379" y="1013"/>
                  </a:lnTo>
                  <a:lnTo>
                    <a:pt x="405" y="1015"/>
                  </a:lnTo>
                  <a:lnTo>
                    <a:pt x="427" y="1016"/>
                  </a:lnTo>
                  <a:lnTo>
                    <a:pt x="444" y="1017"/>
                  </a:lnTo>
                  <a:lnTo>
                    <a:pt x="458" y="1016"/>
                  </a:lnTo>
                  <a:lnTo>
                    <a:pt x="474" y="1016"/>
                  </a:lnTo>
                  <a:lnTo>
                    <a:pt x="492" y="1014"/>
                  </a:lnTo>
                  <a:lnTo>
                    <a:pt x="511" y="1012"/>
                  </a:lnTo>
                  <a:lnTo>
                    <a:pt x="533" y="1009"/>
                  </a:lnTo>
                  <a:lnTo>
                    <a:pt x="554" y="1005"/>
                  </a:lnTo>
                  <a:lnTo>
                    <a:pt x="577" y="999"/>
                  </a:lnTo>
                  <a:lnTo>
                    <a:pt x="601" y="991"/>
                  </a:lnTo>
                  <a:lnTo>
                    <a:pt x="625" y="982"/>
                  </a:lnTo>
                  <a:lnTo>
                    <a:pt x="650" y="971"/>
                  </a:lnTo>
                  <a:lnTo>
                    <a:pt x="675" y="957"/>
                  </a:lnTo>
                  <a:lnTo>
                    <a:pt x="700" y="941"/>
                  </a:lnTo>
                  <a:lnTo>
                    <a:pt x="712" y="933"/>
                  </a:lnTo>
                  <a:lnTo>
                    <a:pt x="724" y="923"/>
                  </a:lnTo>
                  <a:lnTo>
                    <a:pt x="737" y="913"/>
                  </a:lnTo>
                  <a:lnTo>
                    <a:pt x="749" y="901"/>
                  </a:lnTo>
                  <a:lnTo>
                    <a:pt x="761" y="890"/>
                  </a:lnTo>
                  <a:lnTo>
                    <a:pt x="772" y="878"/>
                  </a:lnTo>
                  <a:lnTo>
                    <a:pt x="783" y="865"/>
                  </a:lnTo>
                  <a:lnTo>
                    <a:pt x="795" y="850"/>
                  </a:lnTo>
                  <a:lnTo>
                    <a:pt x="809" y="831"/>
                  </a:lnTo>
                  <a:lnTo>
                    <a:pt x="821" y="812"/>
                  </a:lnTo>
                  <a:lnTo>
                    <a:pt x="832" y="792"/>
                  </a:lnTo>
                  <a:lnTo>
                    <a:pt x="844" y="772"/>
                  </a:lnTo>
                  <a:lnTo>
                    <a:pt x="853" y="752"/>
                  </a:lnTo>
                  <a:lnTo>
                    <a:pt x="862" y="730"/>
                  </a:lnTo>
                  <a:lnTo>
                    <a:pt x="869" y="709"/>
                  </a:lnTo>
                  <a:lnTo>
                    <a:pt x="876" y="688"/>
                  </a:lnTo>
                  <a:lnTo>
                    <a:pt x="882" y="665"/>
                  </a:lnTo>
                  <a:lnTo>
                    <a:pt x="888" y="644"/>
                  </a:lnTo>
                  <a:lnTo>
                    <a:pt x="893" y="621"/>
                  </a:lnTo>
                  <a:lnTo>
                    <a:pt x="896" y="599"/>
                  </a:lnTo>
                  <a:lnTo>
                    <a:pt x="899" y="576"/>
                  </a:lnTo>
                  <a:lnTo>
                    <a:pt x="901" y="553"/>
                  </a:lnTo>
                  <a:lnTo>
                    <a:pt x="902" y="531"/>
                  </a:lnTo>
                  <a:lnTo>
                    <a:pt x="902" y="507"/>
                  </a:lnTo>
                  <a:lnTo>
                    <a:pt x="902" y="483"/>
                  </a:lnTo>
                  <a:lnTo>
                    <a:pt x="900" y="458"/>
                  </a:lnTo>
                  <a:lnTo>
                    <a:pt x="898" y="434"/>
                  </a:lnTo>
                  <a:lnTo>
                    <a:pt x="895" y="411"/>
                  </a:lnTo>
                  <a:lnTo>
                    <a:pt x="891" y="387"/>
                  </a:lnTo>
                  <a:lnTo>
                    <a:pt x="885" y="364"/>
                  </a:lnTo>
                  <a:lnTo>
                    <a:pt x="880" y="340"/>
                  </a:lnTo>
                  <a:lnTo>
                    <a:pt x="873" y="318"/>
                  </a:lnTo>
                  <a:lnTo>
                    <a:pt x="866" y="296"/>
                  </a:lnTo>
                  <a:lnTo>
                    <a:pt x="858" y="274"/>
                  </a:lnTo>
                  <a:lnTo>
                    <a:pt x="849" y="253"/>
                  </a:lnTo>
                  <a:lnTo>
                    <a:pt x="839" y="231"/>
                  </a:lnTo>
                  <a:lnTo>
                    <a:pt x="827" y="212"/>
                  </a:lnTo>
                  <a:lnTo>
                    <a:pt x="816" y="192"/>
                  </a:lnTo>
                  <a:lnTo>
                    <a:pt x="803" y="173"/>
                  </a:lnTo>
                  <a:lnTo>
                    <a:pt x="790" y="155"/>
                  </a:lnTo>
                  <a:lnTo>
                    <a:pt x="775" y="138"/>
                  </a:lnTo>
                  <a:lnTo>
                    <a:pt x="761" y="121"/>
                  </a:lnTo>
                  <a:lnTo>
                    <a:pt x="745" y="106"/>
                  </a:lnTo>
                  <a:lnTo>
                    <a:pt x="728" y="91"/>
                  </a:lnTo>
                  <a:lnTo>
                    <a:pt x="710" y="78"/>
                  </a:lnTo>
                  <a:lnTo>
                    <a:pt x="693" y="64"/>
                  </a:lnTo>
                  <a:lnTo>
                    <a:pt x="673" y="53"/>
                  </a:lnTo>
                  <a:lnTo>
                    <a:pt x="653" y="42"/>
                  </a:lnTo>
                  <a:lnTo>
                    <a:pt x="633" y="33"/>
                  </a:lnTo>
                  <a:lnTo>
                    <a:pt x="611" y="25"/>
                  </a:lnTo>
                  <a:lnTo>
                    <a:pt x="589" y="17"/>
                  </a:lnTo>
                  <a:lnTo>
                    <a:pt x="566" y="11"/>
                  </a:lnTo>
                  <a:lnTo>
                    <a:pt x="543" y="6"/>
                  </a:lnTo>
                  <a:lnTo>
                    <a:pt x="518" y="2"/>
                  </a:lnTo>
                  <a:lnTo>
                    <a:pt x="493" y="0"/>
                  </a:lnTo>
                  <a:lnTo>
                    <a:pt x="466" y="0"/>
                  </a:lnTo>
                  <a:lnTo>
                    <a:pt x="441" y="0"/>
                  </a:lnTo>
                  <a:lnTo>
                    <a:pt x="408" y="4"/>
                  </a:lnTo>
                  <a:lnTo>
                    <a:pt x="390" y="6"/>
                  </a:lnTo>
                  <a:lnTo>
                    <a:pt x="369" y="10"/>
                  </a:lnTo>
                  <a:lnTo>
                    <a:pt x="349" y="16"/>
                  </a:lnTo>
                  <a:lnTo>
                    <a:pt x="327" y="22"/>
                  </a:lnTo>
                  <a:lnTo>
                    <a:pt x="304" y="30"/>
                  </a:lnTo>
                  <a:lnTo>
                    <a:pt x="281" y="39"/>
                  </a:lnTo>
                  <a:lnTo>
                    <a:pt x="257" y="50"/>
                  </a:lnTo>
                  <a:lnTo>
                    <a:pt x="233" y="63"/>
                  </a:lnTo>
                  <a:lnTo>
                    <a:pt x="209" y="78"/>
                  </a:lnTo>
                  <a:lnTo>
                    <a:pt x="186" y="95"/>
                  </a:lnTo>
                  <a:lnTo>
                    <a:pt x="174" y="105"/>
                  </a:lnTo>
                  <a:lnTo>
                    <a:pt x="162" y="114"/>
                  </a:lnTo>
                  <a:lnTo>
                    <a:pt x="151" y="125"/>
                  </a:lnTo>
                  <a:lnTo>
                    <a:pt x="140" y="137"/>
                  </a:lnTo>
                  <a:lnTo>
                    <a:pt x="129" y="149"/>
                  </a:lnTo>
                  <a:lnTo>
                    <a:pt x="118" y="161"/>
                  </a:lnTo>
                  <a:lnTo>
                    <a:pt x="108" y="174"/>
                  </a:lnTo>
                  <a:lnTo>
                    <a:pt x="98" y="187"/>
                  </a:lnTo>
                  <a:lnTo>
                    <a:pt x="82" y="213"/>
                  </a:lnTo>
                  <a:lnTo>
                    <a:pt x="66" y="238"/>
                  </a:lnTo>
                  <a:lnTo>
                    <a:pt x="53" y="264"/>
                  </a:lnTo>
                  <a:lnTo>
                    <a:pt x="42" y="289"/>
                  </a:lnTo>
                  <a:lnTo>
                    <a:pt x="33" y="315"/>
                  </a:lnTo>
                  <a:lnTo>
                    <a:pt x="25" y="338"/>
                  </a:lnTo>
                  <a:lnTo>
                    <a:pt x="18" y="362"/>
                  </a:lnTo>
                  <a:lnTo>
                    <a:pt x="13" y="384"/>
                  </a:lnTo>
                  <a:lnTo>
                    <a:pt x="9" y="405"/>
                  </a:lnTo>
                  <a:lnTo>
                    <a:pt x="6" y="425"/>
                  </a:lnTo>
                  <a:lnTo>
                    <a:pt x="2" y="457"/>
                  </a:lnTo>
                  <a:lnTo>
                    <a:pt x="1" y="483"/>
                  </a:lnTo>
                  <a:close/>
                  <a:moveTo>
                    <a:pt x="231" y="507"/>
                  </a:moveTo>
                  <a:lnTo>
                    <a:pt x="233" y="475"/>
                  </a:lnTo>
                  <a:lnTo>
                    <a:pt x="236" y="439"/>
                  </a:lnTo>
                  <a:lnTo>
                    <a:pt x="239" y="421"/>
                  </a:lnTo>
                  <a:lnTo>
                    <a:pt x="242" y="402"/>
                  </a:lnTo>
                  <a:lnTo>
                    <a:pt x="246" y="384"/>
                  </a:lnTo>
                  <a:lnTo>
                    <a:pt x="250" y="366"/>
                  </a:lnTo>
                  <a:lnTo>
                    <a:pt x="255" y="347"/>
                  </a:lnTo>
                  <a:lnTo>
                    <a:pt x="261" y="329"/>
                  </a:lnTo>
                  <a:lnTo>
                    <a:pt x="268" y="313"/>
                  </a:lnTo>
                  <a:lnTo>
                    <a:pt x="276" y="296"/>
                  </a:lnTo>
                  <a:lnTo>
                    <a:pt x="285" y="280"/>
                  </a:lnTo>
                  <a:lnTo>
                    <a:pt x="294" y="265"/>
                  </a:lnTo>
                  <a:lnTo>
                    <a:pt x="305" y="251"/>
                  </a:lnTo>
                  <a:lnTo>
                    <a:pt x="316" y="237"/>
                  </a:lnTo>
                  <a:lnTo>
                    <a:pt x="327" y="229"/>
                  </a:lnTo>
                  <a:lnTo>
                    <a:pt x="336" y="221"/>
                  </a:lnTo>
                  <a:lnTo>
                    <a:pt x="347" y="214"/>
                  </a:lnTo>
                  <a:lnTo>
                    <a:pt x="357" y="208"/>
                  </a:lnTo>
                  <a:lnTo>
                    <a:pt x="367" y="203"/>
                  </a:lnTo>
                  <a:lnTo>
                    <a:pt x="378" y="198"/>
                  </a:lnTo>
                  <a:lnTo>
                    <a:pt x="389" y="194"/>
                  </a:lnTo>
                  <a:lnTo>
                    <a:pt x="399" y="191"/>
                  </a:lnTo>
                  <a:lnTo>
                    <a:pt x="418" y="186"/>
                  </a:lnTo>
                  <a:lnTo>
                    <a:pt x="436" y="184"/>
                  </a:lnTo>
                  <a:lnTo>
                    <a:pt x="450" y="181"/>
                  </a:lnTo>
                  <a:lnTo>
                    <a:pt x="461" y="181"/>
                  </a:lnTo>
                  <a:lnTo>
                    <a:pt x="473" y="181"/>
                  </a:lnTo>
                  <a:lnTo>
                    <a:pt x="485" y="182"/>
                  </a:lnTo>
                  <a:lnTo>
                    <a:pt x="496" y="185"/>
                  </a:lnTo>
                  <a:lnTo>
                    <a:pt x="506" y="187"/>
                  </a:lnTo>
                  <a:lnTo>
                    <a:pt x="525" y="193"/>
                  </a:lnTo>
                  <a:lnTo>
                    <a:pt x="542" y="200"/>
                  </a:lnTo>
                  <a:lnTo>
                    <a:pt x="557" y="207"/>
                  </a:lnTo>
                  <a:lnTo>
                    <a:pt x="569" y="215"/>
                  </a:lnTo>
                  <a:lnTo>
                    <a:pt x="579" y="223"/>
                  </a:lnTo>
                  <a:lnTo>
                    <a:pt x="587" y="230"/>
                  </a:lnTo>
                  <a:lnTo>
                    <a:pt x="601" y="245"/>
                  </a:lnTo>
                  <a:lnTo>
                    <a:pt x="613" y="261"/>
                  </a:lnTo>
                  <a:lnTo>
                    <a:pt x="624" y="277"/>
                  </a:lnTo>
                  <a:lnTo>
                    <a:pt x="634" y="293"/>
                  </a:lnTo>
                  <a:lnTo>
                    <a:pt x="642" y="311"/>
                  </a:lnTo>
                  <a:lnTo>
                    <a:pt x="648" y="327"/>
                  </a:lnTo>
                  <a:lnTo>
                    <a:pt x="654" y="344"/>
                  </a:lnTo>
                  <a:lnTo>
                    <a:pt x="658" y="361"/>
                  </a:lnTo>
                  <a:lnTo>
                    <a:pt x="665" y="391"/>
                  </a:lnTo>
                  <a:lnTo>
                    <a:pt x="668" y="419"/>
                  </a:lnTo>
                  <a:lnTo>
                    <a:pt x="670" y="441"/>
                  </a:lnTo>
                  <a:lnTo>
                    <a:pt x="671" y="457"/>
                  </a:lnTo>
                  <a:lnTo>
                    <a:pt x="671" y="465"/>
                  </a:lnTo>
                  <a:lnTo>
                    <a:pt x="672" y="473"/>
                  </a:lnTo>
                  <a:lnTo>
                    <a:pt x="672" y="480"/>
                  </a:lnTo>
                  <a:lnTo>
                    <a:pt x="672" y="488"/>
                  </a:lnTo>
                  <a:lnTo>
                    <a:pt x="673" y="496"/>
                  </a:lnTo>
                  <a:lnTo>
                    <a:pt x="673" y="504"/>
                  </a:lnTo>
                  <a:lnTo>
                    <a:pt x="673" y="512"/>
                  </a:lnTo>
                  <a:lnTo>
                    <a:pt x="673" y="521"/>
                  </a:lnTo>
                  <a:lnTo>
                    <a:pt x="673" y="539"/>
                  </a:lnTo>
                  <a:lnTo>
                    <a:pt x="672" y="567"/>
                  </a:lnTo>
                  <a:lnTo>
                    <a:pt x="671" y="585"/>
                  </a:lnTo>
                  <a:lnTo>
                    <a:pt x="669" y="602"/>
                  </a:lnTo>
                  <a:lnTo>
                    <a:pt x="666" y="621"/>
                  </a:lnTo>
                  <a:lnTo>
                    <a:pt x="662" y="642"/>
                  </a:lnTo>
                  <a:lnTo>
                    <a:pt x="657" y="663"/>
                  </a:lnTo>
                  <a:lnTo>
                    <a:pt x="650" y="683"/>
                  </a:lnTo>
                  <a:lnTo>
                    <a:pt x="642" y="705"/>
                  </a:lnTo>
                  <a:lnTo>
                    <a:pt x="631" y="725"/>
                  </a:lnTo>
                  <a:lnTo>
                    <a:pt x="626" y="736"/>
                  </a:lnTo>
                  <a:lnTo>
                    <a:pt x="619" y="746"/>
                  </a:lnTo>
                  <a:lnTo>
                    <a:pt x="613" y="756"/>
                  </a:lnTo>
                  <a:lnTo>
                    <a:pt x="605" y="765"/>
                  </a:lnTo>
                  <a:lnTo>
                    <a:pt x="598" y="774"/>
                  </a:lnTo>
                  <a:lnTo>
                    <a:pt x="589" y="783"/>
                  </a:lnTo>
                  <a:lnTo>
                    <a:pt x="579" y="791"/>
                  </a:lnTo>
                  <a:lnTo>
                    <a:pt x="570" y="800"/>
                  </a:lnTo>
                  <a:lnTo>
                    <a:pt x="561" y="806"/>
                  </a:lnTo>
                  <a:lnTo>
                    <a:pt x="551" y="813"/>
                  </a:lnTo>
                  <a:lnTo>
                    <a:pt x="539" y="820"/>
                  </a:lnTo>
                  <a:lnTo>
                    <a:pt x="525" y="826"/>
                  </a:lnTo>
                  <a:lnTo>
                    <a:pt x="509" y="832"/>
                  </a:lnTo>
                  <a:lnTo>
                    <a:pt x="491" y="836"/>
                  </a:lnTo>
                  <a:lnTo>
                    <a:pt x="481" y="838"/>
                  </a:lnTo>
                  <a:lnTo>
                    <a:pt x="470" y="840"/>
                  </a:lnTo>
                  <a:lnTo>
                    <a:pt x="459" y="840"/>
                  </a:lnTo>
                  <a:lnTo>
                    <a:pt x="448" y="841"/>
                  </a:lnTo>
                  <a:lnTo>
                    <a:pt x="434" y="840"/>
                  </a:lnTo>
                  <a:lnTo>
                    <a:pt x="420" y="839"/>
                  </a:lnTo>
                  <a:lnTo>
                    <a:pt x="407" y="837"/>
                  </a:lnTo>
                  <a:lnTo>
                    <a:pt x="395" y="834"/>
                  </a:lnTo>
                  <a:lnTo>
                    <a:pt x="383" y="831"/>
                  </a:lnTo>
                  <a:lnTo>
                    <a:pt x="371" y="827"/>
                  </a:lnTo>
                  <a:lnTo>
                    <a:pt x="360" y="822"/>
                  </a:lnTo>
                  <a:lnTo>
                    <a:pt x="351" y="817"/>
                  </a:lnTo>
                  <a:lnTo>
                    <a:pt x="341" y="811"/>
                  </a:lnTo>
                  <a:lnTo>
                    <a:pt x="332" y="805"/>
                  </a:lnTo>
                  <a:lnTo>
                    <a:pt x="323" y="797"/>
                  </a:lnTo>
                  <a:lnTo>
                    <a:pt x="315" y="790"/>
                  </a:lnTo>
                  <a:lnTo>
                    <a:pt x="301" y="775"/>
                  </a:lnTo>
                  <a:lnTo>
                    <a:pt x="288" y="759"/>
                  </a:lnTo>
                  <a:lnTo>
                    <a:pt x="277" y="743"/>
                  </a:lnTo>
                  <a:lnTo>
                    <a:pt x="267" y="726"/>
                  </a:lnTo>
                  <a:lnTo>
                    <a:pt x="259" y="710"/>
                  </a:lnTo>
                  <a:lnTo>
                    <a:pt x="253" y="695"/>
                  </a:lnTo>
                  <a:lnTo>
                    <a:pt x="248" y="680"/>
                  </a:lnTo>
                  <a:lnTo>
                    <a:pt x="244" y="668"/>
                  </a:lnTo>
                  <a:lnTo>
                    <a:pt x="241" y="657"/>
                  </a:lnTo>
                  <a:lnTo>
                    <a:pt x="240" y="648"/>
                  </a:lnTo>
                  <a:lnTo>
                    <a:pt x="235" y="625"/>
                  </a:lnTo>
                  <a:lnTo>
                    <a:pt x="232" y="603"/>
                  </a:lnTo>
                  <a:lnTo>
                    <a:pt x="230" y="583"/>
                  </a:lnTo>
                  <a:lnTo>
                    <a:pt x="229" y="562"/>
                  </a:lnTo>
                  <a:lnTo>
                    <a:pt x="229" y="544"/>
                  </a:lnTo>
                  <a:lnTo>
                    <a:pt x="229" y="529"/>
                  </a:lnTo>
                  <a:lnTo>
                    <a:pt x="230" y="516"/>
                  </a:lnTo>
                  <a:lnTo>
                    <a:pt x="231" y="507"/>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18" name="Freeform 18"/>
            <p:cNvSpPr>
              <a:spLocks/>
            </p:cNvSpPr>
            <p:nvPr userDrawn="1"/>
          </p:nvSpPr>
          <p:spPr bwMode="auto">
            <a:xfrm>
              <a:off x="5472" y="362"/>
              <a:ext cx="25" cy="49"/>
            </a:xfrm>
            <a:custGeom>
              <a:avLst/>
              <a:gdLst>
                <a:gd name="T0" fmla="*/ 0 w 499"/>
                <a:gd name="T1" fmla="*/ 0 h 998"/>
                <a:gd name="T2" fmla="*/ 0 w 499"/>
                <a:gd name="T3" fmla="*/ 0 h 998"/>
                <a:gd name="T4" fmla="*/ 0 w 499"/>
                <a:gd name="T5" fmla="*/ 0 h 998"/>
                <a:gd name="T6" fmla="*/ 0 w 499"/>
                <a:gd name="T7" fmla="*/ 0 h 998"/>
                <a:gd name="T8" fmla="*/ 0 w 499"/>
                <a:gd name="T9" fmla="*/ 0 h 998"/>
                <a:gd name="T10" fmla="*/ 0 w 499"/>
                <a:gd name="T11" fmla="*/ 0 h 998"/>
                <a:gd name="T12" fmla="*/ 0 w 499"/>
                <a:gd name="T13" fmla="*/ 0 h 998"/>
                <a:gd name="T14" fmla="*/ 0 w 499"/>
                <a:gd name="T15" fmla="*/ 0 h 998"/>
                <a:gd name="T16" fmla="*/ 0 w 499"/>
                <a:gd name="T17" fmla="*/ 0 h 998"/>
                <a:gd name="T18" fmla="*/ 0 w 499"/>
                <a:gd name="T19" fmla="*/ 0 h 998"/>
                <a:gd name="T20" fmla="*/ 0 w 499"/>
                <a:gd name="T21" fmla="*/ 0 h 998"/>
                <a:gd name="T22" fmla="*/ 0 w 499"/>
                <a:gd name="T23" fmla="*/ 0 h 998"/>
                <a:gd name="T24" fmla="*/ 0 w 499"/>
                <a:gd name="T25" fmla="*/ 0 h 998"/>
                <a:gd name="T26" fmla="*/ 0 w 499"/>
                <a:gd name="T27" fmla="*/ 0 h 998"/>
                <a:gd name="T28" fmla="*/ 0 w 499"/>
                <a:gd name="T29" fmla="*/ 0 h 998"/>
                <a:gd name="T30" fmla="*/ 0 w 499"/>
                <a:gd name="T31" fmla="*/ 0 h 998"/>
                <a:gd name="T32" fmla="*/ 0 w 499"/>
                <a:gd name="T33" fmla="*/ 0 h 998"/>
                <a:gd name="T34" fmla="*/ 0 w 499"/>
                <a:gd name="T35" fmla="*/ 0 h 998"/>
                <a:gd name="T36" fmla="*/ 0 w 499"/>
                <a:gd name="T37" fmla="*/ 0 h 998"/>
                <a:gd name="T38" fmla="*/ 0 w 499"/>
                <a:gd name="T39" fmla="*/ 0 h 998"/>
                <a:gd name="T40" fmla="*/ 0 w 499"/>
                <a:gd name="T41" fmla="*/ 0 h 998"/>
                <a:gd name="T42" fmla="*/ 0 w 499"/>
                <a:gd name="T43" fmla="*/ 0 h 998"/>
                <a:gd name="T44" fmla="*/ 0 w 499"/>
                <a:gd name="T45" fmla="*/ 0 h 998"/>
                <a:gd name="T46" fmla="*/ 0 w 499"/>
                <a:gd name="T47" fmla="*/ 0 h 998"/>
                <a:gd name="T48" fmla="*/ 0 w 499"/>
                <a:gd name="T49" fmla="*/ 0 h 998"/>
                <a:gd name="T50" fmla="*/ 0 w 499"/>
                <a:gd name="T51" fmla="*/ 0 h 998"/>
                <a:gd name="T52" fmla="*/ 0 w 499"/>
                <a:gd name="T53" fmla="*/ 0 h 998"/>
                <a:gd name="T54" fmla="*/ 0 w 499"/>
                <a:gd name="T55" fmla="*/ 0 h 998"/>
                <a:gd name="T56" fmla="*/ 0 w 499"/>
                <a:gd name="T57" fmla="*/ 0 h 998"/>
                <a:gd name="T58" fmla="*/ 0 w 499"/>
                <a:gd name="T59" fmla="*/ 0 h 998"/>
                <a:gd name="T60" fmla="*/ 0 w 499"/>
                <a:gd name="T61" fmla="*/ 0 h 998"/>
                <a:gd name="T62" fmla="*/ 0 w 499"/>
                <a:gd name="T63" fmla="*/ 0 h 998"/>
                <a:gd name="T64" fmla="*/ 0 w 499"/>
                <a:gd name="T65" fmla="*/ 0 h 998"/>
                <a:gd name="T66" fmla="*/ 0 w 499"/>
                <a:gd name="T67" fmla="*/ 0 h 998"/>
                <a:gd name="T68" fmla="*/ 0 w 499"/>
                <a:gd name="T69" fmla="*/ 0 h 998"/>
                <a:gd name="T70" fmla="*/ 0 w 499"/>
                <a:gd name="T71" fmla="*/ 0 h 998"/>
                <a:gd name="T72" fmla="*/ 0 w 499"/>
                <a:gd name="T73" fmla="*/ 0 h 9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99" h="998">
                  <a:moveTo>
                    <a:pt x="0" y="21"/>
                  </a:moveTo>
                  <a:lnTo>
                    <a:pt x="0" y="998"/>
                  </a:lnTo>
                  <a:lnTo>
                    <a:pt x="78" y="993"/>
                  </a:lnTo>
                  <a:lnTo>
                    <a:pt x="96" y="992"/>
                  </a:lnTo>
                  <a:lnTo>
                    <a:pt x="112" y="992"/>
                  </a:lnTo>
                  <a:lnTo>
                    <a:pt x="129" y="992"/>
                  </a:lnTo>
                  <a:lnTo>
                    <a:pt x="147" y="992"/>
                  </a:lnTo>
                  <a:lnTo>
                    <a:pt x="164" y="993"/>
                  </a:lnTo>
                  <a:lnTo>
                    <a:pt x="181" y="993"/>
                  </a:lnTo>
                  <a:lnTo>
                    <a:pt x="199" y="994"/>
                  </a:lnTo>
                  <a:lnTo>
                    <a:pt x="215" y="995"/>
                  </a:lnTo>
                  <a:lnTo>
                    <a:pt x="215" y="592"/>
                  </a:lnTo>
                  <a:lnTo>
                    <a:pt x="216" y="571"/>
                  </a:lnTo>
                  <a:lnTo>
                    <a:pt x="216" y="543"/>
                  </a:lnTo>
                  <a:lnTo>
                    <a:pt x="217" y="526"/>
                  </a:lnTo>
                  <a:lnTo>
                    <a:pt x="219" y="507"/>
                  </a:lnTo>
                  <a:lnTo>
                    <a:pt x="221" y="488"/>
                  </a:lnTo>
                  <a:lnTo>
                    <a:pt x="225" y="468"/>
                  </a:lnTo>
                  <a:lnTo>
                    <a:pt x="229" y="446"/>
                  </a:lnTo>
                  <a:lnTo>
                    <a:pt x="236" y="425"/>
                  </a:lnTo>
                  <a:lnTo>
                    <a:pt x="243" y="403"/>
                  </a:lnTo>
                  <a:lnTo>
                    <a:pt x="252" y="381"/>
                  </a:lnTo>
                  <a:lnTo>
                    <a:pt x="263" y="360"/>
                  </a:lnTo>
                  <a:lnTo>
                    <a:pt x="276" y="339"/>
                  </a:lnTo>
                  <a:lnTo>
                    <a:pt x="283" y="328"/>
                  </a:lnTo>
                  <a:lnTo>
                    <a:pt x="292" y="319"/>
                  </a:lnTo>
                  <a:lnTo>
                    <a:pt x="300" y="309"/>
                  </a:lnTo>
                  <a:lnTo>
                    <a:pt x="309" y="300"/>
                  </a:lnTo>
                  <a:lnTo>
                    <a:pt x="319" y="289"/>
                  </a:lnTo>
                  <a:lnTo>
                    <a:pt x="329" y="281"/>
                  </a:lnTo>
                  <a:lnTo>
                    <a:pt x="340" y="274"/>
                  </a:lnTo>
                  <a:lnTo>
                    <a:pt x="349" y="267"/>
                  </a:lnTo>
                  <a:lnTo>
                    <a:pt x="359" y="262"/>
                  </a:lnTo>
                  <a:lnTo>
                    <a:pt x="368" y="257"/>
                  </a:lnTo>
                  <a:lnTo>
                    <a:pt x="377" y="253"/>
                  </a:lnTo>
                  <a:lnTo>
                    <a:pt x="386" y="250"/>
                  </a:lnTo>
                  <a:lnTo>
                    <a:pt x="403" y="246"/>
                  </a:lnTo>
                  <a:lnTo>
                    <a:pt x="419" y="243"/>
                  </a:lnTo>
                  <a:lnTo>
                    <a:pt x="433" y="241"/>
                  </a:lnTo>
                  <a:lnTo>
                    <a:pt x="447" y="240"/>
                  </a:lnTo>
                  <a:lnTo>
                    <a:pt x="453" y="240"/>
                  </a:lnTo>
                  <a:lnTo>
                    <a:pt x="459" y="238"/>
                  </a:lnTo>
                  <a:lnTo>
                    <a:pt x="465" y="238"/>
                  </a:lnTo>
                  <a:lnTo>
                    <a:pt x="471" y="238"/>
                  </a:lnTo>
                  <a:lnTo>
                    <a:pt x="478" y="238"/>
                  </a:lnTo>
                  <a:lnTo>
                    <a:pt x="484" y="237"/>
                  </a:lnTo>
                  <a:lnTo>
                    <a:pt x="491" y="237"/>
                  </a:lnTo>
                  <a:lnTo>
                    <a:pt x="497" y="237"/>
                  </a:lnTo>
                  <a:lnTo>
                    <a:pt x="499" y="0"/>
                  </a:lnTo>
                  <a:lnTo>
                    <a:pt x="487" y="0"/>
                  </a:lnTo>
                  <a:lnTo>
                    <a:pt x="473" y="1"/>
                  </a:lnTo>
                  <a:lnTo>
                    <a:pt x="457" y="2"/>
                  </a:lnTo>
                  <a:lnTo>
                    <a:pt x="438" y="5"/>
                  </a:lnTo>
                  <a:lnTo>
                    <a:pt x="418" y="9"/>
                  </a:lnTo>
                  <a:lnTo>
                    <a:pt x="396" y="16"/>
                  </a:lnTo>
                  <a:lnTo>
                    <a:pt x="385" y="20"/>
                  </a:lnTo>
                  <a:lnTo>
                    <a:pt x="373" y="25"/>
                  </a:lnTo>
                  <a:lnTo>
                    <a:pt x="362" y="31"/>
                  </a:lnTo>
                  <a:lnTo>
                    <a:pt x="351" y="37"/>
                  </a:lnTo>
                  <a:lnTo>
                    <a:pt x="335" y="47"/>
                  </a:lnTo>
                  <a:lnTo>
                    <a:pt x="321" y="57"/>
                  </a:lnTo>
                  <a:lnTo>
                    <a:pt x="308" y="69"/>
                  </a:lnTo>
                  <a:lnTo>
                    <a:pt x="296" y="81"/>
                  </a:lnTo>
                  <a:lnTo>
                    <a:pt x="284" y="94"/>
                  </a:lnTo>
                  <a:lnTo>
                    <a:pt x="274" y="107"/>
                  </a:lnTo>
                  <a:lnTo>
                    <a:pt x="264" y="120"/>
                  </a:lnTo>
                  <a:lnTo>
                    <a:pt x="255" y="135"/>
                  </a:lnTo>
                  <a:lnTo>
                    <a:pt x="247" y="150"/>
                  </a:lnTo>
                  <a:lnTo>
                    <a:pt x="239" y="165"/>
                  </a:lnTo>
                  <a:lnTo>
                    <a:pt x="231" y="180"/>
                  </a:lnTo>
                  <a:lnTo>
                    <a:pt x="224" y="196"/>
                  </a:lnTo>
                  <a:lnTo>
                    <a:pt x="210" y="228"/>
                  </a:lnTo>
                  <a:lnTo>
                    <a:pt x="197" y="262"/>
                  </a:lnTo>
                  <a:lnTo>
                    <a:pt x="197" y="21"/>
                  </a:lnTo>
                  <a:lnTo>
                    <a:pt x="0" y="21"/>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19" name="Freeform 19"/>
            <p:cNvSpPr>
              <a:spLocks/>
            </p:cNvSpPr>
            <p:nvPr userDrawn="1"/>
          </p:nvSpPr>
          <p:spPr bwMode="auto">
            <a:xfrm>
              <a:off x="5531" y="346"/>
              <a:ext cx="12" cy="65"/>
            </a:xfrm>
            <a:custGeom>
              <a:avLst/>
              <a:gdLst>
                <a:gd name="T0" fmla="*/ 0 w 244"/>
                <a:gd name="T1" fmla="*/ 0 h 1304"/>
                <a:gd name="T2" fmla="*/ 0 w 244"/>
                <a:gd name="T3" fmla="*/ 0 h 1304"/>
                <a:gd name="T4" fmla="*/ 0 w 244"/>
                <a:gd name="T5" fmla="*/ 0 h 1304"/>
                <a:gd name="T6" fmla="*/ 0 w 244"/>
                <a:gd name="T7" fmla="*/ 0 h 1304"/>
                <a:gd name="T8" fmla="*/ 0 w 244"/>
                <a:gd name="T9" fmla="*/ 0 h 1304"/>
                <a:gd name="T10" fmla="*/ 0 w 244"/>
                <a:gd name="T11" fmla="*/ 0 h 1304"/>
                <a:gd name="T12" fmla="*/ 0 w 244"/>
                <a:gd name="T13" fmla="*/ 0 h 130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4" h="1304">
                  <a:moveTo>
                    <a:pt x="0" y="1203"/>
                  </a:moveTo>
                  <a:lnTo>
                    <a:pt x="0" y="1304"/>
                  </a:lnTo>
                  <a:lnTo>
                    <a:pt x="244" y="1304"/>
                  </a:lnTo>
                  <a:lnTo>
                    <a:pt x="244" y="0"/>
                  </a:lnTo>
                  <a:lnTo>
                    <a:pt x="1" y="0"/>
                  </a:lnTo>
                  <a:lnTo>
                    <a:pt x="1" y="136"/>
                  </a:lnTo>
                  <a:lnTo>
                    <a:pt x="0" y="1203"/>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 name="Freeform 20"/>
            <p:cNvSpPr>
              <a:spLocks/>
            </p:cNvSpPr>
            <p:nvPr userDrawn="1"/>
          </p:nvSpPr>
          <p:spPr bwMode="auto">
            <a:xfrm>
              <a:off x="5557" y="361"/>
              <a:ext cx="40" cy="50"/>
            </a:xfrm>
            <a:custGeom>
              <a:avLst/>
              <a:gdLst>
                <a:gd name="T0" fmla="*/ 0 w 798"/>
                <a:gd name="T1" fmla="*/ 0 h 1000"/>
                <a:gd name="T2" fmla="*/ 0 w 798"/>
                <a:gd name="T3" fmla="*/ 0 h 1000"/>
                <a:gd name="T4" fmla="*/ 0 w 798"/>
                <a:gd name="T5" fmla="*/ 0 h 1000"/>
                <a:gd name="T6" fmla="*/ 0 w 798"/>
                <a:gd name="T7" fmla="*/ 0 h 1000"/>
                <a:gd name="T8" fmla="*/ 0 w 798"/>
                <a:gd name="T9" fmla="*/ 0 h 1000"/>
                <a:gd name="T10" fmla="*/ 0 w 798"/>
                <a:gd name="T11" fmla="*/ 0 h 1000"/>
                <a:gd name="T12" fmla="*/ 0 w 798"/>
                <a:gd name="T13" fmla="*/ 0 h 1000"/>
                <a:gd name="T14" fmla="*/ 0 w 798"/>
                <a:gd name="T15" fmla="*/ 0 h 1000"/>
                <a:gd name="T16" fmla="*/ 0 w 798"/>
                <a:gd name="T17" fmla="*/ 0 h 1000"/>
                <a:gd name="T18" fmla="*/ 0 w 798"/>
                <a:gd name="T19" fmla="*/ 0 h 1000"/>
                <a:gd name="T20" fmla="*/ 0 w 798"/>
                <a:gd name="T21" fmla="*/ 0 h 1000"/>
                <a:gd name="T22" fmla="*/ 0 w 798"/>
                <a:gd name="T23" fmla="*/ 0 h 1000"/>
                <a:gd name="T24" fmla="*/ 0 w 798"/>
                <a:gd name="T25" fmla="*/ 0 h 1000"/>
                <a:gd name="T26" fmla="*/ 0 w 798"/>
                <a:gd name="T27" fmla="*/ 0 h 1000"/>
                <a:gd name="T28" fmla="*/ 0 w 798"/>
                <a:gd name="T29" fmla="*/ 0 h 1000"/>
                <a:gd name="T30" fmla="*/ 0 w 798"/>
                <a:gd name="T31" fmla="*/ 0 h 1000"/>
                <a:gd name="T32" fmla="*/ 0 w 798"/>
                <a:gd name="T33" fmla="*/ 0 h 1000"/>
                <a:gd name="T34" fmla="*/ 0 w 798"/>
                <a:gd name="T35" fmla="*/ 0 h 1000"/>
                <a:gd name="T36" fmla="*/ 0 w 798"/>
                <a:gd name="T37" fmla="*/ 0 h 1000"/>
                <a:gd name="T38" fmla="*/ 0 w 798"/>
                <a:gd name="T39" fmla="*/ 0 h 1000"/>
                <a:gd name="T40" fmla="*/ 0 w 798"/>
                <a:gd name="T41" fmla="*/ 0 h 1000"/>
                <a:gd name="T42" fmla="*/ 0 w 798"/>
                <a:gd name="T43" fmla="*/ 0 h 1000"/>
                <a:gd name="T44" fmla="*/ 0 w 798"/>
                <a:gd name="T45" fmla="*/ 0 h 1000"/>
                <a:gd name="T46" fmla="*/ 0 w 798"/>
                <a:gd name="T47" fmla="*/ 0 h 1000"/>
                <a:gd name="T48" fmla="*/ 0 w 798"/>
                <a:gd name="T49" fmla="*/ 0 h 1000"/>
                <a:gd name="T50" fmla="*/ 0 w 798"/>
                <a:gd name="T51" fmla="*/ 0 h 1000"/>
                <a:gd name="T52" fmla="*/ 0 w 798"/>
                <a:gd name="T53" fmla="*/ 0 h 1000"/>
                <a:gd name="T54" fmla="*/ 0 w 798"/>
                <a:gd name="T55" fmla="*/ 0 h 1000"/>
                <a:gd name="T56" fmla="*/ 0 w 798"/>
                <a:gd name="T57" fmla="*/ 0 h 1000"/>
                <a:gd name="T58" fmla="*/ 0 w 798"/>
                <a:gd name="T59" fmla="*/ 0 h 1000"/>
                <a:gd name="T60" fmla="*/ 0 w 798"/>
                <a:gd name="T61" fmla="*/ 0 h 1000"/>
                <a:gd name="T62" fmla="*/ 0 w 798"/>
                <a:gd name="T63" fmla="*/ 0 h 1000"/>
                <a:gd name="T64" fmla="*/ 0 w 798"/>
                <a:gd name="T65" fmla="*/ 0 h 1000"/>
                <a:gd name="T66" fmla="*/ 0 w 798"/>
                <a:gd name="T67" fmla="*/ 0 h 1000"/>
                <a:gd name="T68" fmla="*/ 0 w 798"/>
                <a:gd name="T69" fmla="*/ 0 h 1000"/>
                <a:gd name="T70" fmla="*/ 0 w 798"/>
                <a:gd name="T71" fmla="*/ 0 h 1000"/>
                <a:gd name="T72" fmla="*/ 0 w 798"/>
                <a:gd name="T73" fmla="*/ 0 h 1000"/>
                <a:gd name="T74" fmla="*/ 0 w 798"/>
                <a:gd name="T75" fmla="*/ 0 h 1000"/>
                <a:gd name="T76" fmla="*/ 0 w 798"/>
                <a:gd name="T77" fmla="*/ 0 h 1000"/>
                <a:gd name="T78" fmla="*/ 0 w 798"/>
                <a:gd name="T79" fmla="*/ 0 h 1000"/>
                <a:gd name="T80" fmla="*/ 0 w 798"/>
                <a:gd name="T81" fmla="*/ 0 h 1000"/>
                <a:gd name="T82" fmla="*/ 0 w 798"/>
                <a:gd name="T83" fmla="*/ 0 h 1000"/>
                <a:gd name="T84" fmla="*/ 0 w 798"/>
                <a:gd name="T85" fmla="*/ 0 h 1000"/>
                <a:gd name="T86" fmla="*/ 0 w 798"/>
                <a:gd name="T87" fmla="*/ 0 h 1000"/>
                <a:gd name="T88" fmla="*/ 0 w 798"/>
                <a:gd name="T89" fmla="*/ 0 h 1000"/>
                <a:gd name="T90" fmla="*/ 0 w 798"/>
                <a:gd name="T91" fmla="*/ 0 h 1000"/>
                <a:gd name="T92" fmla="*/ 0 w 798"/>
                <a:gd name="T93" fmla="*/ 0 h 1000"/>
                <a:gd name="T94" fmla="*/ 0 w 798"/>
                <a:gd name="T95" fmla="*/ 0 h 1000"/>
                <a:gd name="T96" fmla="*/ 0 w 798"/>
                <a:gd name="T97" fmla="*/ 0 h 1000"/>
                <a:gd name="T98" fmla="*/ 0 w 798"/>
                <a:gd name="T99" fmla="*/ 0 h 1000"/>
                <a:gd name="T100" fmla="*/ 0 w 798"/>
                <a:gd name="T101" fmla="*/ 0 h 1000"/>
                <a:gd name="T102" fmla="*/ 0 w 798"/>
                <a:gd name="T103" fmla="*/ 0 h 1000"/>
                <a:gd name="T104" fmla="*/ 0 w 798"/>
                <a:gd name="T105" fmla="*/ 0 h 1000"/>
                <a:gd name="T106" fmla="*/ 0 w 798"/>
                <a:gd name="T107" fmla="*/ 0 h 10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8" h="1000">
                  <a:moveTo>
                    <a:pt x="0" y="23"/>
                  </a:moveTo>
                  <a:lnTo>
                    <a:pt x="0" y="993"/>
                  </a:lnTo>
                  <a:lnTo>
                    <a:pt x="220" y="1000"/>
                  </a:lnTo>
                  <a:lnTo>
                    <a:pt x="220" y="483"/>
                  </a:lnTo>
                  <a:lnTo>
                    <a:pt x="222" y="446"/>
                  </a:lnTo>
                  <a:lnTo>
                    <a:pt x="226" y="410"/>
                  </a:lnTo>
                  <a:lnTo>
                    <a:pt x="229" y="391"/>
                  </a:lnTo>
                  <a:lnTo>
                    <a:pt x="232" y="374"/>
                  </a:lnTo>
                  <a:lnTo>
                    <a:pt x="235" y="358"/>
                  </a:lnTo>
                  <a:lnTo>
                    <a:pt x="240" y="340"/>
                  </a:lnTo>
                  <a:lnTo>
                    <a:pt x="245" y="324"/>
                  </a:lnTo>
                  <a:lnTo>
                    <a:pt x="251" y="309"/>
                  </a:lnTo>
                  <a:lnTo>
                    <a:pt x="259" y="293"/>
                  </a:lnTo>
                  <a:lnTo>
                    <a:pt x="268" y="278"/>
                  </a:lnTo>
                  <a:lnTo>
                    <a:pt x="279" y="264"/>
                  </a:lnTo>
                  <a:lnTo>
                    <a:pt x="291" y="251"/>
                  </a:lnTo>
                  <a:lnTo>
                    <a:pt x="304" y="237"/>
                  </a:lnTo>
                  <a:lnTo>
                    <a:pt x="319" y="225"/>
                  </a:lnTo>
                  <a:lnTo>
                    <a:pt x="337" y="212"/>
                  </a:lnTo>
                  <a:lnTo>
                    <a:pt x="353" y="202"/>
                  </a:lnTo>
                  <a:lnTo>
                    <a:pt x="368" y="195"/>
                  </a:lnTo>
                  <a:lnTo>
                    <a:pt x="384" y="190"/>
                  </a:lnTo>
                  <a:lnTo>
                    <a:pt x="398" y="186"/>
                  </a:lnTo>
                  <a:lnTo>
                    <a:pt x="410" y="183"/>
                  </a:lnTo>
                  <a:lnTo>
                    <a:pt x="421" y="182"/>
                  </a:lnTo>
                  <a:lnTo>
                    <a:pt x="431" y="181"/>
                  </a:lnTo>
                  <a:lnTo>
                    <a:pt x="448" y="182"/>
                  </a:lnTo>
                  <a:lnTo>
                    <a:pt x="464" y="186"/>
                  </a:lnTo>
                  <a:lnTo>
                    <a:pt x="480" y="190"/>
                  </a:lnTo>
                  <a:lnTo>
                    <a:pt x="493" y="195"/>
                  </a:lnTo>
                  <a:lnTo>
                    <a:pt x="504" y="201"/>
                  </a:lnTo>
                  <a:lnTo>
                    <a:pt x="513" y="206"/>
                  </a:lnTo>
                  <a:lnTo>
                    <a:pt x="521" y="212"/>
                  </a:lnTo>
                  <a:lnTo>
                    <a:pt x="527" y="217"/>
                  </a:lnTo>
                  <a:lnTo>
                    <a:pt x="538" y="227"/>
                  </a:lnTo>
                  <a:lnTo>
                    <a:pt x="547" y="237"/>
                  </a:lnTo>
                  <a:lnTo>
                    <a:pt x="555" y="248"/>
                  </a:lnTo>
                  <a:lnTo>
                    <a:pt x="561" y="259"/>
                  </a:lnTo>
                  <a:lnTo>
                    <a:pt x="567" y="270"/>
                  </a:lnTo>
                  <a:lnTo>
                    <a:pt x="572" y="281"/>
                  </a:lnTo>
                  <a:lnTo>
                    <a:pt x="575" y="293"/>
                  </a:lnTo>
                  <a:lnTo>
                    <a:pt x="578" y="306"/>
                  </a:lnTo>
                  <a:lnTo>
                    <a:pt x="584" y="331"/>
                  </a:lnTo>
                  <a:lnTo>
                    <a:pt x="586" y="358"/>
                  </a:lnTo>
                  <a:lnTo>
                    <a:pt x="587" y="384"/>
                  </a:lnTo>
                  <a:lnTo>
                    <a:pt x="588" y="412"/>
                  </a:lnTo>
                  <a:lnTo>
                    <a:pt x="588" y="1000"/>
                  </a:lnTo>
                  <a:lnTo>
                    <a:pt x="798" y="1000"/>
                  </a:lnTo>
                  <a:lnTo>
                    <a:pt x="798" y="339"/>
                  </a:lnTo>
                  <a:lnTo>
                    <a:pt x="798" y="333"/>
                  </a:lnTo>
                  <a:lnTo>
                    <a:pt x="797" y="323"/>
                  </a:lnTo>
                  <a:lnTo>
                    <a:pt x="796" y="311"/>
                  </a:lnTo>
                  <a:lnTo>
                    <a:pt x="795" y="296"/>
                  </a:lnTo>
                  <a:lnTo>
                    <a:pt x="794" y="281"/>
                  </a:lnTo>
                  <a:lnTo>
                    <a:pt x="792" y="264"/>
                  </a:lnTo>
                  <a:lnTo>
                    <a:pt x="789" y="247"/>
                  </a:lnTo>
                  <a:lnTo>
                    <a:pt x="785" y="230"/>
                  </a:lnTo>
                  <a:lnTo>
                    <a:pt x="780" y="213"/>
                  </a:lnTo>
                  <a:lnTo>
                    <a:pt x="775" y="198"/>
                  </a:lnTo>
                  <a:lnTo>
                    <a:pt x="770" y="184"/>
                  </a:lnTo>
                  <a:lnTo>
                    <a:pt x="766" y="171"/>
                  </a:lnTo>
                  <a:lnTo>
                    <a:pt x="761" y="161"/>
                  </a:lnTo>
                  <a:lnTo>
                    <a:pt x="756" y="151"/>
                  </a:lnTo>
                  <a:lnTo>
                    <a:pt x="753" y="143"/>
                  </a:lnTo>
                  <a:lnTo>
                    <a:pt x="749" y="137"/>
                  </a:lnTo>
                  <a:lnTo>
                    <a:pt x="742" y="125"/>
                  </a:lnTo>
                  <a:lnTo>
                    <a:pt x="735" y="113"/>
                  </a:lnTo>
                  <a:lnTo>
                    <a:pt x="726" y="102"/>
                  </a:lnTo>
                  <a:lnTo>
                    <a:pt x="717" y="91"/>
                  </a:lnTo>
                  <a:lnTo>
                    <a:pt x="708" y="81"/>
                  </a:lnTo>
                  <a:lnTo>
                    <a:pt x="699" y="71"/>
                  </a:lnTo>
                  <a:lnTo>
                    <a:pt x="689" y="62"/>
                  </a:lnTo>
                  <a:lnTo>
                    <a:pt x="678" y="54"/>
                  </a:lnTo>
                  <a:lnTo>
                    <a:pt x="666" y="47"/>
                  </a:lnTo>
                  <a:lnTo>
                    <a:pt x="652" y="38"/>
                  </a:lnTo>
                  <a:lnTo>
                    <a:pt x="635" y="30"/>
                  </a:lnTo>
                  <a:lnTo>
                    <a:pt x="614" y="21"/>
                  </a:lnTo>
                  <a:lnTo>
                    <a:pt x="592" y="13"/>
                  </a:lnTo>
                  <a:lnTo>
                    <a:pt x="565" y="6"/>
                  </a:lnTo>
                  <a:lnTo>
                    <a:pt x="551" y="4"/>
                  </a:lnTo>
                  <a:lnTo>
                    <a:pt x="536" y="2"/>
                  </a:lnTo>
                  <a:lnTo>
                    <a:pt x="520" y="0"/>
                  </a:lnTo>
                  <a:lnTo>
                    <a:pt x="503" y="0"/>
                  </a:lnTo>
                  <a:lnTo>
                    <a:pt x="489" y="0"/>
                  </a:lnTo>
                  <a:lnTo>
                    <a:pt x="475" y="1"/>
                  </a:lnTo>
                  <a:lnTo>
                    <a:pt x="462" y="2"/>
                  </a:lnTo>
                  <a:lnTo>
                    <a:pt x="450" y="4"/>
                  </a:lnTo>
                  <a:lnTo>
                    <a:pt x="425" y="9"/>
                  </a:lnTo>
                  <a:lnTo>
                    <a:pt x="403" y="15"/>
                  </a:lnTo>
                  <a:lnTo>
                    <a:pt x="382" y="24"/>
                  </a:lnTo>
                  <a:lnTo>
                    <a:pt x="363" y="33"/>
                  </a:lnTo>
                  <a:lnTo>
                    <a:pt x="345" y="43"/>
                  </a:lnTo>
                  <a:lnTo>
                    <a:pt x="330" y="54"/>
                  </a:lnTo>
                  <a:lnTo>
                    <a:pt x="314" y="65"/>
                  </a:lnTo>
                  <a:lnTo>
                    <a:pt x="302" y="78"/>
                  </a:lnTo>
                  <a:lnTo>
                    <a:pt x="290" y="89"/>
                  </a:lnTo>
                  <a:lnTo>
                    <a:pt x="280" y="101"/>
                  </a:lnTo>
                  <a:lnTo>
                    <a:pt x="261" y="124"/>
                  </a:lnTo>
                  <a:lnTo>
                    <a:pt x="248" y="144"/>
                  </a:lnTo>
                  <a:lnTo>
                    <a:pt x="242" y="154"/>
                  </a:lnTo>
                  <a:lnTo>
                    <a:pt x="236" y="165"/>
                  </a:lnTo>
                  <a:lnTo>
                    <a:pt x="229" y="176"/>
                  </a:lnTo>
                  <a:lnTo>
                    <a:pt x="222" y="189"/>
                  </a:lnTo>
                  <a:lnTo>
                    <a:pt x="216" y="200"/>
                  </a:lnTo>
                  <a:lnTo>
                    <a:pt x="211" y="211"/>
                  </a:lnTo>
                  <a:lnTo>
                    <a:pt x="206" y="222"/>
                  </a:lnTo>
                  <a:lnTo>
                    <a:pt x="201" y="232"/>
                  </a:lnTo>
                  <a:lnTo>
                    <a:pt x="201" y="23"/>
                  </a:lnTo>
                  <a:lnTo>
                    <a:pt x="0" y="23"/>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1" name="Freeform 21"/>
            <p:cNvSpPr>
              <a:spLocks/>
            </p:cNvSpPr>
            <p:nvPr userDrawn="1"/>
          </p:nvSpPr>
          <p:spPr bwMode="auto">
            <a:xfrm>
              <a:off x="5604" y="349"/>
              <a:ext cx="27" cy="63"/>
            </a:xfrm>
            <a:custGeom>
              <a:avLst/>
              <a:gdLst>
                <a:gd name="T0" fmla="*/ 0 w 538"/>
                <a:gd name="T1" fmla="*/ 0 h 1259"/>
                <a:gd name="T2" fmla="*/ 0 w 538"/>
                <a:gd name="T3" fmla="*/ 0 h 1259"/>
                <a:gd name="T4" fmla="*/ 0 w 538"/>
                <a:gd name="T5" fmla="*/ 0 h 1259"/>
                <a:gd name="T6" fmla="*/ 0 w 538"/>
                <a:gd name="T7" fmla="*/ 0 h 1259"/>
                <a:gd name="T8" fmla="*/ 0 w 538"/>
                <a:gd name="T9" fmla="*/ 0 h 1259"/>
                <a:gd name="T10" fmla="*/ 0 w 538"/>
                <a:gd name="T11" fmla="*/ 0 h 1259"/>
                <a:gd name="T12" fmla="*/ 0 w 538"/>
                <a:gd name="T13" fmla="*/ 0 h 1259"/>
                <a:gd name="T14" fmla="*/ 0 w 538"/>
                <a:gd name="T15" fmla="*/ 0 h 1259"/>
                <a:gd name="T16" fmla="*/ 0 w 538"/>
                <a:gd name="T17" fmla="*/ 0 h 1259"/>
                <a:gd name="T18" fmla="*/ 0 w 538"/>
                <a:gd name="T19" fmla="*/ 0 h 1259"/>
                <a:gd name="T20" fmla="*/ 0 w 538"/>
                <a:gd name="T21" fmla="*/ 0 h 1259"/>
                <a:gd name="T22" fmla="*/ 0 w 538"/>
                <a:gd name="T23" fmla="*/ 0 h 1259"/>
                <a:gd name="T24" fmla="*/ 0 w 538"/>
                <a:gd name="T25" fmla="*/ 0 h 1259"/>
                <a:gd name="T26" fmla="*/ 0 w 538"/>
                <a:gd name="T27" fmla="*/ 0 h 1259"/>
                <a:gd name="T28" fmla="*/ 0 w 538"/>
                <a:gd name="T29" fmla="*/ 0 h 1259"/>
                <a:gd name="T30" fmla="*/ 0 w 538"/>
                <a:gd name="T31" fmla="*/ 0 h 1259"/>
                <a:gd name="T32" fmla="*/ 0 w 538"/>
                <a:gd name="T33" fmla="*/ 0 h 1259"/>
                <a:gd name="T34" fmla="*/ 0 w 538"/>
                <a:gd name="T35" fmla="*/ 0 h 1259"/>
                <a:gd name="T36" fmla="*/ 0 w 538"/>
                <a:gd name="T37" fmla="*/ 0 h 1259"/>
                <a:gd name="T38" fmla="*/ 0 w 538"/>
                <a:gd name="T39" fmla="*/ 0 h 1259"/>
                <a:gd name="T40" fmla="*/ 0 w 538"/>
                <a:gd name="T41" fmla="*/ 0 h 1259"/>
                <a:gd name="T42" fmla="*/ 0 w 538"/>
                <a:gd name="T43" fmla="*/ 0 h 1259"/>
                <a:gd name="T44" fmla="*/ 0 w 538"/>
                <a:gd name="T45" fmla="*/ 0 h 1259"/>
                <a:gd name="T46" fmla="*/ 0 w 538"/>
                <a:gd name="T47" fmla="*/ 0 h 1259"/>
                <a:gd name="T48" fmla="*/ 0 w 538"/>
                <a:gd name="T49" fmla="*/ 0 h 1259"/>
                <a:gd name="T50" fmla="*/ 0 w 538"/>
                <a:gd name="T51" fmla="*/ 0 h 1259"/>
                <a:gd name="T52" fmla="*/ 0 w 538"/>
                <a:gd name="T53" fmla="*/ 0 h 1259"/>
                <a:gd name="T54" fmla="*/ 0 w 538"/>
                <a:gd name="T55" fmla="*/ 0 h 1259"/>
                <a:gd name="T56" fmla="*/ 0 w 538"/>
                <a:gd name="T57" fmla="*/ 0 h 1259"/>
                <a:gd name="T58" fmla="*/ 0 w 538"/>
                <a:gd name="T59" fmla="*/ 0 h 1259"/>
                <a:gd name="T60" fmla="*/ 0 w 538"/>
                <a:gd name="T61" fmla="*/ 0 h 1259"/>
                <a:gd name="T62" fmla="*/ 0 w 538"/>
                <a:gd name="T63" fmla="*/ 0 h 1259"/>
                <a:gd name="T64" fmla="*/ 0 w 538"/>
                <a:gd name="T65" fmla="*/ 0 h 12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38" h="1259">
                  <a:moveTo>
                    <a:pt x="0" y="276"/>
                  </a:moveTo>
                  <a:lnTo>
                    <a:pt x="0" y="457"/>
                  </a:lnTo>
                  <a:lnTo>
                    <a:pt x="118" y="457"/>
                  </a:lnTo>
                  <a:lnTo>
                    <a:pt x="118" y="996"/>
                  </a:lnTo>
                  <a:lnTo>
                    <a:pt x="121" y="1025"/>
                  </a:lnTo>
                  <a:lnTo>
                    <a:pt x="125" y="1051"/>
                  </a:lnTo>
                  <a:lnTo>
                    <a:pt x="130" y="1077"/>
                  </a:lnTo>
                  <a:lnTo>
                    <a:pt x="136" y="1101"/>
                  </a:lnTo>
                  <a:lnTo>
                    <a:pt x="140" y="1114"/>
                  </a:lnTo>
                  <a:lnTo>
                    <a:pt x="146" y="1126"/>
                  </a:lnTo>
                  <a:lnTo>
                    <a:pt x="151" y="1137"/>
                  </a:lnTo>
                  <a:lnTo>
                    <a:pt x="157" y="1148"/>
                  </a:lnTo>
                  <a:lnTo>
                    <a:pt x="164" y="1159"/>
                  </a:lnTo>
                  <a:lnTo>
                    <a:pt x="172" y="1171"/>
                  </a:lnTo>
                  <a:lnTo>
                    <a:pt x="181" y="1181"/>
                  </a:lnTo>
                  <a:lnTo>
                    <a:pt x="190" y="1191"/>
                  </a:lnTo>
                  <a:lnTo>
                    <a:pt x="202" y="1202"/>
                  </a:lnTo>
                  <a:lnTo>
                    <a:pt x="212" y="1211"/>
                  </a:lnTo>
                  <a:lnTo>
                    <a:pt x="223" y="1219"/>
                  </a:lnTo>
                  <a:lnTo>
                    <a:pt x="235" y="1227"/>
                  </a:lnTo>
                  <a:lnTo>
                    <a:pt x="248" y="1233"/>
                  </a:lnTo>
                  <a:lnTo>
                    <a:pt x="260" y="1239"/>
                  </a:lnTo>
                  <a:lnTo>
                    <a:pt x="272" y="1243"/>
                  </a:lnTo>
                  <a:lnTo>
                    <a:pt x="285" y="1247"/>
                  </a:lnTo>
                  <a:lnTo>
                    <a:pt x="299" y="1250"/>
                  </a:lnTo>
                  <a:lnTo>
                    <a:pt x="313" y="1253"/>
                  </a:lnTo>
                  <a:lnTo>
                    <a:pt x="327" y="1255"/>
                  </a:lnTo>
                  <a:lnTo>
                    <a:pt x="341" y="1256"/>
                  </a:lnTo>
                  <a:lnTo>
                    <a:pt x="371" y="1258"/>
                  </a:lnTo>
                  <a:lnTo>
                    <a:pt x="402" y="1259"/>
                  </a:lnTo>
                  <a:lnTo>
                    <a:pt x="418" y="1259"/>
                  </a:lnTo>
                  <a:lnTo>
                    <a:pt x="435" y="1258"/>
                  </a:lnTo>
                  <a:lnTo>
                    <a:pt x="452" y="1258"/>
                  </a:lnTo>
                  <a:lnTo>
                    <a:pt x="469" y="1257"/>
                  </a:lnTo>
                  <a:lnTo>
                    <a:pt x="485" y="1256"/>
                  </a:lnTo>
                  <a:lnTo>
                    <a:pt x="503" y="1255"/>
                  </a:lnTo>
                  <a:lnTo>
                    <a:pt x="519" y="1254"/>
                  </a:lnTo>
                  <a:lnTo>
                    <a:pt x="536" y="1253"/>
                  </a:lnTo>
                  <a:lnTo>
                    <a:pt x="538" y="1074"/>
                  </a:lnTo>
                  <a:lnTo>
                    <a:pt x="515" y="1076"/>
                  </a:lnTo>
                  <a:lnTo>
                    <a:pt x="491" y="1077"/>
                  </a:lnTo>
                  <a:lnTo>
                    <a:pt x="467" y="1078"/>
                  </a:lnTo>
                  <a:lnTo>
                    <a:pt x="442" y="1076"/>
                  </a:lnTo>
                  <a:lnTo>
                    <a:pt x="431" y="1075"/>
                  </a:lnTo>
                  <a:lnTo>
                    <a:pt x="420" y="1072"/>
                  </a:lnTo>
                  <a:lnTo>
                    <a:pt x="409" y="1069"/>
                  </a:lnTo>
                  <a:lnTo>
                    <a:pt x="399" y="1065"/>
                  </a:lnTo>
                  <a:lnTo>
                    <a:pt x="388" y="1060"/>
                  </a:lnTo>
                  <a:lnTo>
                    <a:pt x="378" y="1054"/>
                  </a:lnTo>
                  <a:lnTo>
                    <a:pt x="370" y="1046"/>
                  </a:lnTo>
                  <a:lnTo>
                    <a:pt x="362" y="1038"/>
                  </a:lnTo>
                  <a:lnTo>
                    <a:pt x="356" y="1030"/>
                  </a:lnTo>
                  <a:lnTo>
                    <a:pt x="351" y="1022"/>
                  </a:lnTo>
                  <a:lnTo>
                    <a:pt x="347" y="1013"/>
                  </a:lnTo>
                  <a:lnTo>
                    <a:pt x="342" y="1003"/>
                  </a:lnTo>
                  <a:lnTo>
                    <a:pt x="339" y="991"/>
                  </a:lnTo>
                  <a:lnTo>
                    <a:pt x="337" y="978"/>
                  </a:lnTo>
                  <a:lnTo>
                    <a:pt x="335" y="963"/>
                  </a:lnTo>
                  <a:lnTo>
                    <a:pt x="333" y="945"/>
                  </a:lnTo>
                  <a:lnTo>
                    <a:pt x="333" y="455"/>
                  </a:lnTo>
                  <a:lnTo>
                    <a:pt x="527" y="455"/>
                  </a:lnTo>
                  <a:lnTo>
                    <a:pt x="527" y="274"/>
                  </a:lnTo>
                  <a:lnTo>
                    <a:pt x="331" y="274"/>
                  </a:lnTo>
                  <a:lnTo>
                    <a:pt x="331" y="0"/>
                  </a:lnTo>
                  <a:lnTo>
                    <a:pt x="156" y="13"/>
                  </a:lnTo>
                  <a:lnTo>
                    <a:pt x="131" y="276"/>
                  </a:lnTo>
                  <a:lnTo>
                    <a:pt x="0" y="276"/>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2" name="Freeform 22"/>
            <p:cNvSpPr>
              <a:spLocks noEditPoints="1"/>
            </p:cNvSpPr>
            <p:nvPr userDrawn="1"/>
          </p:nvSpPr>
          <p:spPr bwMode="auto">
            <a:xfrm>
              <a:off x="5635" y="362"/>
              <a:ext cx="44" cy="50"/>
            </a:xfrm>
            <a:custGeom>
              <a:avLst/>
              <a:gdLst>
                <a:gd name="T0" fmla="*/ 0 w 873"/>
                <a:gd name="T1" fmla="*/ 0 h 1017"/>
                <a:gd name="T2" fmla="*/ 0 w 873"/>
                <a:gd name="T3" fmla="*/ 0 h 1017"/>
                <a:gd name="T4" fmla="*/ 0 w 873"/>
                <a:gd name="T5" fmla="*/ 0 h 1017"/>
                <a:gd name="T6" fmla="*/ 0 w 873"/>
                <a:gd name="T7" fmla="*/ 0 h 1017"/>
                <a:gd name="T8" fmla="*/ 0 w 873"/>
                <a:gd name="T9" fmla="*/ 0 h 1017"/>
                <a:gd name="T10" fmla="*/ 0 w 873"/>
                <a:gd name="T11" fmla="*/ 0 h 1017"/>
                <a:gd name="T12" fmla="*/ 0 w 873"/>
                <a:gd name="T13" fmla="*/ 0 h 1017"/>
                <a:gd name="T14" fmla="*/ 0 w 873"/>
                <a:gd name="T15" fmla="*/ 0 h 1017"/>
                <a:gd name="T16" fmla="*/ 0 w 873"/>
                <a:gd name="T17" fmla="*/ 0 h 1017"/>
                <a:gd name="T18" fmla="*/ 0 w 873"/>
                <a:gd name="T19" fmla="*/ 0 h 1017"/>
                <a:gd name="T20" fmla="*/ 0 w 873"/>
                <a:gd name="T21" fmla="*/ 0 h 1017"/>
                <a:gd name="T22" fmla="*/ 0 w 873"/>
                <a:gd name="T23" fmla="*/ 0 h 1017"/>
                <a:gd name="T24" fmla="*/ 0 w 873"/>
                <a:gd name="T25" fmla="*/ 0 h 1017"/>
                <a:gd name="T26" fmla="*/ 0 w 873"/>
                <a:gd name="T27" fmla="*/ 0 h 1017"/>
                <a:gd name="T28" fmla="*/ 0 w 873"/>
                <a:gd name="T29" fmla="*/ 0 h 1017"/>
                <a:gd name="T30" fmla="*/ 0 w 873"/>
                <a:gd name="T31" fmla="*/ 0 h 1017"/>
                <a:gd name="T32" fmla="*/ 0 w 873"/>
                <a:gd name="T33" fmla="*/ 0 h 1017"/>
                <a:gd name="T34" fmla="*/ 0 w 873"/>
                <a:gd name="T35" fmla="*/ 0 h 1017"/>
                <a:gd name="T36" fmla="*/ 0 w 873"/>
                <a:gd name="T37" fmla="*/ 0 h 1017"/>
                <a:gd name="T38" fmla="*/ 0 w 873"/>
                <a:gd name="T39" fmla="*/ 0 h 1017"/>
                <a:gd name="T40" fmla="*/ 0 w 873"/>
                <a:gd name="T41" fmla="*/ 0 h 1017"/>
                <a:gd name="T42" fmla="*/ 0 w 873"/>
                <a:gd name="T43" fmla="*/ 0 h 1017"/>
                <a:gd name="T44" fmla="*/ 0 w 873"/>
                <a:gd name="T45" fmla="*/ 0 h 1017"/>
                <a:gd name="T46" fmla="*/ 0 w 873"/>
                <a:gd name="T47" fmla="*/ 0 h 1017"/>
                <a:gd name="T48" fmla="*/ 0 w 873"/>
                <a:gd name="T49" fmla="*/ 0 h 1017"/>
                <a:gd name="T50" fmla="*/ 0 w 873"/>
                <a:gd name="T51" fmla="*/ 0 h 1017"/>
                <a:gd name="T52" fmla="*/ 0 w 873"/>
                <a:gd name="T53" fmla="*/ 0 h 1017"/>
                <a:gd name="T54" fmla="*/ 0 w 873"/>
                <a:gd name="T55" fmla="*/ 0 h 1017"/>
                <a:gd name="T56" fmla="*/ 0 w 873"/>
                <a:gd name="T57" fmla="*/ 0 h 1017"/>
                <a:gd name="T58" fmla="*/ 0 w 873"/>
                <a:gd name="T59" fmla="*/ 0 h 1017"/>
                <a:gd name="T60" fmla="*/ 0 w 873"/>
                <a:gd name="T61" fmla="*/ 0 h 1017"/>
                <a:gd name="T62" fmla="*/ 0 w 873"/>
                <a:gd name="T63" fmla="*/ 0 h 1017"/>
                <a:gd name="T64" fmla="*/ 0 w 873"/>
                <a:gd name="T65" fmla="*/ 0 h 1017"/>
                <a:gd name="T66" fmla="*/ 0 w 873"/>
                <a:gd name="T67" fmla="*/ 0 h 1017"/>
                <a:gd name="T68" fmla="*/ 0 w 873"/>
                <a:gd name="T69" fmla="*/ 0 h 1017"/>
                <a:gd name="T70" fmla="*/ 0 w 873"/>
                <a:gd name="T71" fmla="*/ 0 h 1017"/>
                <a:gd name="T72" fmla="*/ 0 w 873"/>
                <a:gd name="T73" fmla="*/ 0 h 1017"/>
                <a:gd name="T74" fmla="*/ 0 w 873"/>
                <a:gd name="T75" fmla="*/ 0 h 1017"/>
                <a:gd name="T76" fmla="*/ 0 w 873"/>
                <a:gd name="T77" fmla="*/ 0 h 1017"/>
                <a:gd name="T78" fmla="*/ 0 w 873"/>
                <a:gd name="T79" fmla="*/ 0 h 1017"/>
                <a:gd name="T80" fmla="*/ 0 w 873"/>
                <a:gd name="T81" fmla="*/ 0 h 1017"/>
                <a:gd name="T82" fmla="*/ 0 w 873"/>
                <a:gd name="T83" fmla="*/ 0 h 1017"/>
                <a:gd name="T84" fmla="*/ 0 w 873"/>
                <a:gd name="T85" fmla="*/ 0 h 1017"/>
                <a:gd name="T86" fmla="*/ 0 w 873"/>
                <a:gd name="T87" fmla="*/ 0 h 1017"/>
                <a:gd name="T88" fmla="*/ 0 w 873"/>
                <a:gd name="T89" fmla="*/ 0 h 1017"/>
                <a:gd name="T90" fmla="*/ 0 w 873"/>
                <a:gd name="T91" fmla="*/ 0 h 1017"/>
                <a:gd name="T92" fmla="*/ 0 w 873"/>
                <a:gd name="T93" fmla="*/ 0 h 1017"/>
                <a:gd name="T94" fmla="*/ 0 w 873"/>
                <a:gd name="T95" fmla="*/ 0 h 1017"/>
                <a:gd name="T96" fmla="*/ 0 w 873"/>
                <a:gd name="T97" fmla="*/ 0 h 1017"/>
                <a:gd name="T98" fmla="*/ 0 w 873"/>
                <a:gd name="T99" fmla="*/ 0 h 1017"/>
                <a:gd name="T100" fmla="*/ 0 w 873"/>
                <a:gd name="T101" fmla="*/ 0 h 1017"/>
                <a:gd name="T102" fmla="*/ 0 w 873"/>
                <a:gd name="T103" fmla="*/ 0 h 1017"/>
                <a:gd name="T104" fmla="*/ 0 w 873"/>
                <a:gd name="T105" fmla="*/ 0 h 1017"/>
                <a:gd name="T106" fmla="*/ 0 w 873"/>
                <a:gd name="T107" fmla="*/ 0 h 1017"/>
                <a:gd name="T108" fmla="*/ 0 w 873"/>
                <a:gd name="T109" fmla="*/ 0 h 1017"/>
                <a:gd name="T110" fmla="*/ 0 w 873"/>
                <a:gd name="T111" fmla="*/ 0 h 1017"/>
                <a:gd name="T112" fmla="*/ 0 w 873"/>
                <a:gd name="T113" fmla="*/ 0 h 1017"/>
                <a:gd name="T114" fmla="*/ 0 w 873"/>
                <a:gd name="T115" fmla="*/ 0 h 1017"/>
                <a:gd name="T116" fmla="*/ 0 w 873"/>
                <a:gd name="T117" fmla="*/ 0 h 1017"/>
                <a:gd name="T118" fmla="*/ 0 w 873"/>
                <a:gd name="T119" fmla="*/ 0 h 1017"/>
                <a:gd name="T120" fmla="*/ 0 w 873"/>
                <a:gd name="T121" fmla="*/ 0 h 1017"/>
                <a:gd name="T122" fmla="*/ 0 w 873"/>
                <a:gd name="T123" fmla="*/ 0 h 1017"/>
                <a:gd name="T124" fmla="*/ 0 w 873"/>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3" h="1017">
                  <a:moveTo>
                    <a:pt x="873" y="537"/>
                  </a:moveTo>
                  <a:lnTo>
                    <a:pt x="873" y="509"/>
                  </a:lnTo>
                  <a:lnTo>
                    <a:pt x="872" y="481"/>
                  </a:lnTo>
                  <a:lnTo>
                    <a:pt x="871" y="451"/>
                  </a:lnTo>
                  <a:lnTo>
                    <a:pt x="870" y="423"/>
                  </a:lnTo>
                  <a:lnTo>
                    <a:pt x="867" y="394"/>
                  </a:lnTo>
                  <a:lnTo>
                    <a:pt x="863" y="366"/>
                  </a:lnTo>
                  <a:lnTo>
                    <a:pt x="859" y="338"/>
                  </a:lnTo>
                  <a:lnTo>
                    <a:pt x="853" y="311"/>
                  </a:lnTo>
                  <a:lnTo>
                    <a:pt x="849" y="301"/>
                  </a:lnTo>
                  <a:lnTo>
                    <a:pt x="845" y="287"/>
                  </a:lnTo>
                  <a:lnTo>
                    <a:pt x="839" y="273"/>
                  </a:lnTo>
                  <a:lnTo>
                    <a:pt x="833" y="256"/>
                  </a:lnTo>
                  <a:lnTo>
                    <a:pt x="825" y="238"/>
                  </a:lnTo>
                  <a:lnTo>
                    <a:pt x="816" y="219"/>
                  </a:lnTo>
                  <a:lnTo>
                    <a:pt x="804" y="199"/>
                  </a:lnTo>
                  <a:lnTo>
                    <a:pt x="791" y="178"/>
                  </a:lnTo>
                  <a:lnTo>
                    <a:pt x="780" y="163"/>
                  </a:lnTo>
                  <a:lnTo>
                    <a:pt x="769" y="150"/>
                  </a:lnTo>
                  <a:lnTo>
                    <a:pt x="758" y="137"/>
                  </a:lnTo>
                  <a:lnTo>
                    <a:pt x="747" y="124"/>
                  </a:lnTo>
                  <a:lnTo>
                    <a:pt x="735" y="112"/>
                  </a:lnTo>
                  <a:lnTo>
                    <a:pt x="723" y="102"/>
                  </a:lnTo>
                  <a:lnTo>
                    <a:pt x="711" y="92"/>
                  </a:lnTo>
                  <a:lnTo>
                    <a:pt x="700" y="82"/>
                  </a:lnTo>
                  <a:lnTo>
                    <a:pt x="687" y="74"/>
                  </a:lnTo>
                  <a:lnTo>
                    <a:pt x="675" y="65"/>
                  </a:lnTo>
                  <a:lnTo>
                    <a:pt x="663" y="57"/>
                  </a:lnTo>
                  <a:lnTo>
                    <a:pt x="651" y="51"/>
                  </a:lnTo>
                  <a:lnTo>
                    <a:pt x="626" y="39"/>
                  </a:lnTo>
                  <a:lnTo>
                    <a:pt x="602" y="29"/>
                  </a:lnTo>
                  <a:lnTo>
                    <a:pt x="578" y="21"/>
                  </a:lnTo>
                  <a:lnTo>
                    <a:pt x="556" y="13"/>
                  </a:lnTo>
                  <a:lnTo>
                    <a:pt x="533" y="8"/>
                  </a:lnTo>
                  <a:lnTo>
                    <a:pt x="513" y="5"/>
                  </a:lnTo>
                  <a:lnTo>
                    <a:pt x="494" y="2"/>
                  </a:lnTo>
                  <a:lnTo>
                    <a:pt x="475" y="1"/>
                  </a:lnTo>
                  <a:lnTo>
                    <a:pt x="459" y="0"/>
                  </a:lnTo>
                  <a:lnTo>
                    <a:pt x="445" y="0"/>
                  </a:lnTo>
                  <a:lnTo>
                    <a:pt x="426" y="0"/>
                  </a:lnTo>
                  <a:lnTo>
                    <a:pt x="408" y="1"/>
                  </a:lnTo>
                  <a:lnTo>
                    <a:pt x="390" y="3"/>
                  </a:lnTo>
                  <a:lnTo>
                    <a:pt x="372" y="5"/>
                  </a:lnTo>
                  <a:lnTo>
                    <a:pt x="354" y="8"/>
                  </a:lnTo>
                  <a:lnTo>
                    <a:pt x="338" y="12"/>
                  </a:lnTo>
                  <a:lnTo>
                    <a:pt x="320" y="17"/>
                  </a:lnTo>
                  <a:lnTo>
                    <a:pt x="304" y="22"/>
                  </a:lnTo>
                  <a:lnTo>
                    <a:pt x="288" y="28"/>
                  </a:lnTo>
                  <a:lnTo>
                    <a:pt x="271" y="34"/>
                  </a:lnTo>
                  <a:lnTo>
                    <a:pt x="256" y="41"/>
                  </a:lnTo>
                  <a:lnTo>
                    <a:pt x="241" y="48"/>
                  </a:lnTo>
                  <a:lnTo>
                    <a:pt x="225" y="56"/>
                  </a:lnTo>
                  <a:lnTo>
                    <a:pt x="211" y="65"/>
                  </a:lnTo>
                  <a:lnTo>
                    <a:pt x="198" y="75"/>
                  </a:lnTo>
                  <a:lnTo>
                    <a:pt x="184" y="84"/>
                  </a:lnTo>
                  <a:lnTo>
                    <a:pt x="170" y="95"/>
                  </a:lnTo>
                  <a:lnTo>
                    <a:pt x="158" y="105"/>
                  </a:lnTo>
                  <a:lnTo>
                    <a:pt x="146" y="117"/>
                  </a:lnTo>
                  <a:lnTo>
                    <a:pt x="134" y="129"/>
                  </a:lnTo>
                  <a:lnTo>
                    <a:pt x="122" y="142"/>
                  </a:lnTo>
                  <a:lnTo>
                    <a:pt x="111" y="154"/>
                  </a:lnTo>
                  <a:lnTo>
                    <a:pt x="101" y="168"/>
                  </a:lnTo>
                  <a:lnTo>
                    <a:pt x="91" y="181"/>
                  </a:lnTo>
                  <a:lnTo>
                    <a:pt x="81" y="196"/>
                  </a:lnTo>
                  <a:lnTo>
                    <a:pt x="71" y="211"/>
                  </a:lnTo>
                  <a:lnTo>
                    <a:pt x="63" y="226"/>
                  </a:lnTo>
                  <a:lnTo>
                    <a:pt x="55" y="242"/>
                  </a:lnTo>
                  <a:lnTo>
                    <a:pt x="48" y="258"/>
                  </a:lnTo>
                  <a:lnTo>
                    <a:pt x="41" y="275"/>
                  </a:lnTo>
                  <a:lnTo>
                    <a:pt x="35" y="291"/>
                  </a:lnTo>
                  <a:lnTo>
                    <a:pt x="29" y="309"/>
                  </a:lnTo>
                  <a:lnTo>
                    <a:pt x="19" y="341"/>
                  </a:lnTo>
                  <a:lnTo>
                    <a:pt x="13" y="373"/>
                  </a:lnTo>
                  <a:lnTo>
                    <a:pt x="8" y="402"/>
                  </a:lnTo>
                  <a:lnTo>
                    <a:pt x="4" y="431"/>
                  </a:lnTo>
                  <a:lnTo>
                    <a:pt x="2" y="456"/>
                  </a:lnTo>
                  <a:lnTo>
                    <a:pt x="1" y="478"/>
                  </a:lnTo>
                  <a:lnTo>
                    <a:pt x="0" y="497"/>
                  </a:lnTo>
                  <a:lnTo>
                    <a:pt x="0" y="511"/>
                  </a:lnTo>
                  <a:lnTo>
                    <a:pt x="0" y="536"/>
                  </a:lnTo>
                  <a:lnTo>
                    <a:pt x="1" y="560"/>
                  </a:lnTo>
                  <a:lnTo>
                    <a:pt x="3" y="584"/>
                  </a:lnTo>
                  <a:lnTo>
                    <a:pt x="5" y="606"/>
                  </a:lnTo>
                  <a:lnTo>
                    <a:pt x="7" y="627"/>
                  </a:lnTo>
                  <a:lnTo>
                    <a:pt x="11" y="648"/>
                  </a:lnTo>
                  <a:lnTo>
                    <a:pt x="14" y="668"/>
                  </a:lnTo>
                  <a:lnTo>
                    <a:pt x="18" y="688"/>
                  </a:lnTo>
                  <a:lnTo>
                    <a:pt x="23" y="706"/>
                  </a:lnTo>
                  <a:lnTo>
                    <a:pt x="29" y="723"/>
                  </a:lnTo>
                  <a:lnTo>
                    <a:pt x="34" y="739"/>
                  </a:lnTo>
                  <a:lnTo>
                    <a:pt x="40" y="756"/>
                  </a:lnTo>
                  <a:lnTo>
                    <a:pt x="46" y="771"/>
                  </a:lnTo>
                  <a:lnTo>
                    <a:pt x="53" y="786"/>
                  </a:lnTo>
                  <a:lnTo>
                    <a:pt x="60" y="801"/>
                  </a:lnTo>
                  <a:lnTo>
                    <a:pt x="67" y="814"/>
                  </a:lnTo>
                  <a:lnTo>
                    <a:pt x="75" y="827"/>
                  </a:lnTo>
                  <a:lnTo>
                    <a:pt x="83" y="839"/>
                  </a:lnTo>
                  <a:lnTo>
                    <a:pt x="91" y="850"/>
                  </a:lnTo>
                  <a:lnTo>
                    <a:pt x="100" y="862"/>
                  </a:lnTo>
                  <a:lnTo>
                    <a:pt x="117" y="882"/>
                  </a:lnTo>
                  <a:lnTo>
                    <a:pt x="136" y="900"/>
                  </a:lnTo>
                  <a:lnTo>
                    <a:pt x="154" y="918"/>
                  </a:lnTo>
                  <a:lnTo>
                    <a:pt x="173" y="932"/>
                  </a:lnTo>
                  <a:lnTo>
                    <a:pt x="193" y="945"/>
                  </a:lnTo>
                  <a:lnTo>
                    <a:pt x="212" y="957"/>
                  </a:lnTo>
                  <a:lnTo>
                    <a:pt x="230" y="967"/>
                  </a:lnTo>
                  <a:lnTo>
                    <a:pt x="247" y="976"/>
                  </a:lnTo>
                  <a:lnTo>
                    <a:pt x="264" y="983"/>
                  </a:lnTo>
                  <a:lnTo>
                    <a:pt x="282" y="990"/>
                  </a:lnTo>
                  <a:lnTo>
                    <a:pt x="298" y="995"/>
                  </a:lnTo>
                  <a:lnTo>
                    <a:pt x="314" y="1000"/>
                  </a:lnTo>
                  <a:lnTo>
                    <a:pt x="329" y="1004"/>
                  </a:lnTo>
                  <a:lnTo>
                    <a:pt x="345" y="1007"/>
                  </a:lnTo>
                  <a:lnTo>
                    <a:pt x="372" y="1012"/>
                  </a:lnTo>
                  <a:lnTo>
                    <a:pt x="398" y="1015"/>
                  </a:lnTo>
                  <a:lnTo>
                    <a:pt x="419" y="1016"/>
                  </a:lnTo>
                  <a:lnTo>
                    <a:pt x="438" y="1017"/>
                  </a:lnTo>
                  <a:lnTo>
                    <a:pt x="464" y="1016"/>
                  </a:lnTo>
                  <a:lnTo>
                    <a:pt x="491" y="1014"/>
                  </a:lnTo>
                  <a:lnTo>
                    <a:pt x="517" y="1010"/>
                  </a:lnTo>
                  <a:lnTo>
                    <a:pt x="543" y="1005"/>
                  </a:lnTo>
                  <a:lnTo>
                    <a:pt x="568" y="999"/>
                  </a:lnTo>
                  <a:lnTo>
                    <a:pt x="593" y="991"/>
                  </a:lnTo>
                  <a:lnTo>
                    <a:pt x="617" y="982"/>
                  </a:lnTo>
                  <a:lnTo>
                    <a:pt x="641" y="972"/>
                  </a:lnTo>
                  <a:lnTo>
                    <a:pt x="664" y="959"/>
                  </a:lnTo>
                  <a:lnTo>
                    <a:pt x="685" y="946"/>
                  </a:lnTo>
                  <a:lnTo>
                    <a:pt x="707" y="932"/>
                  </a:lnTo>
                  <a:lnTo>
                    <a:pt x="727" y="916"/>
                  </a:lnTo>
                  <a:lnTo>
                    <a:pt x="747" y="898"/>
                  </a:lnTo>
                  <a:lnTo>
                    <a:pt x="765" y="880"/>
                  </a:lnTo>
                  <a:lnTo>
                    <a:pt x="782" y="861"/>
                  </a:lnTo>
                  <a:lnTo>
                    <a:pt x="798" y="839"/>
                  </a:lnTo>
                  <a:lnTo>
                    <a:pt x="810" y="821"/>
                  </a:lnTo>
                  <a:lnTo>
                    <a:pt x="820" y="802"/>
                  </a:lnTo>
                  <a:lnTo>
                    <a:pt x="830" y="783"/>
                  </a:lnTo>
                  <a:lnTo>
                    <a:pt x="839" y="765"/>
                  </a:lnTo>
                  <a:lnTo>
                    <a:pt x="848" y="748"/>
                  </a:lnTo>
                  <a:lnTo>
                    <a:pt x="854" y="733"/>
                  </a:lnTo>
                  <a:lnTo>
                    <a:pt x="859" y="722"/>
                  </a:lnTo>
                  <a:lnTo>
                    <a:pt x="862" y="715"/>
                  </a:lnTo>
                  <a:lnTo>
                    <a:pt x="661" y="683"/>
                  </a:lnTo>
                  <a:lnTo>
                    <a:pt x="658" y="692"/>
                  </a:lnTo>
                  <a:lnTo>
                    <a:pt x="655" y="700"/>
                  </a:lnTo>
                  <a:lnTo>
                    <a:pt x="652" y="708"/>
                  </a:lnTo>
                  <a:lnTo>
                    <a:pt x="649" y="715"/>
                  </a:lnTo>
                  <a:lnTo>
                    <a:pt x="646" y="723"/>
                  </a:lnTo>
                  <a:lnTo>
                    <a:pt x="642" y="730"/>
                  </a:lnTo>
                  <a:lnTo>
                    <a:pt x="638" y="737"/>
                  </a:lnTo>
                  <a:lnTo>
                    <a:pt x="632" y="746"/>
                  </a:lnTo>
                  <a:lnTo>
                    <a:pt x="624" y="757"/>
                  </a:lnTo>
                  <a:lnTo>
                    <a:pt x="616" y="767"/>
                  </a:lnTo>
                  <a:lnTo>
                    <a:pt x="607" y="776"/>
                  </a:lnTo>
                  <a:lnTo>
                    <a:pt x="597" y="786"/>
                  </a:lnTo>
                  <a:lnTo>
                    <a:pt x="587" y="794"/>
                  </a:lnTo>
                  <a:lnTo>
                    <a:pt x="575" y="803"/>
                  </a:lnTo>
                  <a:lnTo>
                    <a:pt x="564" y="810"/>
                  </a:lnTo>
                  <a:lnTo>
                    <a:pt x="553" y="817"/>
                  </a:lnTo>
                  <a:lnTo>
                    <a:pt x="541" y="823"/>
                  </a:lnTo>
                  <a:lnTo>
                    <a:pt x="528" y="828"/>
                  </a:lnTo>
                  <a:lnTo>
                    <a:pt x="516" y="832"/>
                  </a:lnTo>
                  <a:lnTo>
                    <a:pt x="504" y="836"/>
                  </a:lnTo>
                  <a:lnTo>
                    <a:pt x="491" y="839"/>
                  </a:lnTo>
                  <a:lnTo>
                    <a:pt x="477" y="841"/>
                  </a:lnTo>
                  <a:lnTo>
                    <a:pt x="464" y="842"/>
                  </a:lnTo>
                  <a:lnTo>
                    <a:pt x="451" y="842"/>
                  </a:lnTo>
                  <a:lnTo>
                    <a:pt x="440" y="842"/>
                  </a:lnTo>
                  <a:lnTo>
                    <a:pt x="426" y="841"/>
                  </a:lnTo>
                  <a:lnTo>
                    <a:pt x="412" y="839"/>
                  </a:lnTo>
                  <a:lnTo>
                    <a:pt x="396" y="835"/>
                  </a:lnTo>
                  <a:lnTo>
                    <a:pt x="388" y="833"/>
                  </a:lnTo>
                  <a:lnTo>
                    <a:pt x="379" y="829"/>
                  </a:lnTo>
                  <a:lnTo>
                    <a:pt x="371" y="826"/>
                  </a:lnTo>
                  <a:lnTo>
                    <a:pt x="362" y="821"/>
                  </a:lnTo>
                  <a:lnTo>
                    <a:pt x="353" y="816"/>
                  </a:lnTo>
                  <a:lnTo>
                    <a:pt x="344" y="810"/>
                  </a:lnTo>
                  <a:lnTo>
                    <a:pt x="335" y="803"/>
                  </a:lnTo>
                  <a:lnTo>
                    <a:pt x="325" y="794"/>
                  </a:lnTo>
                  <a:lnTo>
                    <a:pt x="311" y="781"/>
                  </a:lnTo>
                  <a:lnTo>
                    <a:pt x="298" y="767"/>
                  </a:lnTo>
                  <a:lnTo>
                    <a:pt x="287" y="753"/>
                  </a:lnTo>
                  <a:lnTo>
                    <a:pt x="277" y="737"/>
                  </a:lnTo>
                  <a:lnTo>
                    <a:pt x="269" y="723"/>
                  </a:lnTo>
                  <a:lnTo>
                    <a:pt x="262" y="708"/>
                  </a:lnTo>
                  <a:lnTo>
                    <a:pt x="256" y="694"/>
                  </a:lnTo>
                  <a:lnTo>
                    <a:pt x="251" y="679"/>
                  </a:lnTo>
                  <a:lnTo>
                    <a:pt x="247" y="666"/>
                  </a:lnTo>
                  <a:lnTo>
                    <a:pt x="244" y="653"/>
                  </a:lnTo>
                  <a:lnTo>
                    <a:pt x="241" y="641"/>
                  </a:lnTo>
                  <a:lnTo>
                    <a:pt x="239" y="629"/>
                  </a:lnTo>
                  <a:lnTo>
                    <a:pt x="237" y="609"/>
                  </a:lnTo>
                  <a:lnTo>
                    <a:pt x="235" y="594"/>
                  </a:lnTo>
                  <a:lnTo>
                    <a:pt x="234" y="587"/>
                  </a:lnTo>
                  <a:lnTo>
                    <a:pt x="234" y="580"/>
                  </a:lnTo>
                  <a:lnTo>
                    <a:pt x="233" y="572"/>
                  </a:lnTo>
                  <a:lnTo>
                    <a:pt x="233" y="565"/>
                  </a:lnTo>
                  <a:lnTo>
                    <a:pt x="232" y="559"/>
                  </a:lnTo>
                  <a:lnTo>
                    <a:pt x="232" y="552"/>
                  </a:lnTo>
                  <a:lnTo>
                    <a:pt x="231" y="546"/>
                  </a:lnTo>
                  <a:lnTo>
                    <a:pt x="231" y="540"/>
                  </a:lnTo>
                  <a:lnTo>
                    <a:pt x="873" y="537"/>
                  </a:lnTo>
                  <a:close/>
                  <a:moveTo>
                    <a:pt x="225" y="397"/>
                  </a:moveTo>
                  <a:lnTo>
                    <a:pt x="227" y="380"/>
                  </a:lnTo>
                  <a:lnTo>
                    <a:pt x="230" y="365"/>
                  </a:lnTo>
                  <a:lnTo>
                    <a:pt x="232" y="353"/>
                  </a:lnTo>
                  <a:lnTo>
                    <a:pt x="234" y="342"/>
                  </a:lnTo>
                  <a:lnTo>
                    <a:pt x="236" y="332"/>
                  </a:lnTo>
                  <a:lnTo>
                    <a:pt x="239" y="323"/>
                  </a:lnTo>
                  <a:lnTo>
                    <a:pt x="242" y="315"/>
                  </a:lnTo>
                  <a:lnTo>
                    <a:pt x="246" y="306"/>
                  </a:lnTo>
                  <a:lnTo>
                    <a:pt x="252" y="290"/>
                  </a:lnTo>
                  <a:lnTo>
                    <a:pt x="258" y="277"/>
                  </a:lnTo>
                  <a:lnTo>
                    <a:pt x="265" y="265"/>
                  </a:lnTo>
                  <a:lnTo>
                    <a:pt x="273" y="253"/>
                  </a:lnTo>
                  <a:lnTo>
                    <a:pt x="281" y="243"/>
                  </a:lnTo>
                  <a:lnTo>
                    <a:pt x="289" y="232"/>
                  </a:lnTo>
                  <a:lnTo>
                    <a:pt x="297" y="223"/>
                  </a:lnTo>
                  <a:lnTo>
                    <a:pt x="305" y="215"/>
                  </a:lnTo>
                  <a:lnTo>
                    <a:pt x="321" y="201"/>
                  </a:lnTo>
                  <a:lnTo>
                    <a:pt x="338" y="190"/>
                  </a:lnTo>
                  <a:lnTo>
                    <a:pt x="352" y="180"/>
                  </a:lnTo>
                  <a:lnTo>
                    <a:pt x="364" y="174"/>
                  </a:lnTo>
                  <a:lnTo>
                    <a:pt x="369" y="171"/>
                  </a:lnTo>
                  <a:lnTo>
                    <a:pt x="376" y="168"/>
                  </a:lnTo>
                  <a:lnTo>
                    <a:pt x="385" y="165"/>
                  </a:lnTo>
                  <a:lnTo>
                    <a:pt x="394" y="162"/>
                  </a:lnTo>
                  <a:lnTo>
                    <a:pt x="404" y="160"/>
                  </a:lnTo>
                  <a:lnTo>
                    <a:pt x="416" y="157"/>
                  </a:lnTo>
                  <a:lnTo>
                    <a:pt x="428" y="156"/>
                  </a:lnTo>
                  <a:lnTo>
                    <a:pt x="442" y="155"/>
                  </a:lnTo>
                  <a:lnTo>
                    <a:pt x="451" y="155"/>
                  </a:lnTo>
                  <a:lnTo>
                    <a:pt x="462" y="156"/>
                  </a:lnTo>
                  <a:lnTo>
                    <a:pt x="474" y="158"/>
                  </a:lnTo>
                  <a:lnTo>
                    <a:pt x="489" y="162"/>
                  </a:lnTo>
                  <a:lnTo>
                    <a:pt x="504" y="167"/>
                  </a:lnTo>
                  <a:lnTo>
                    <a:pt x="520" y="174"/>
                  </a:lnTo>
                  <a:lnTo>
                    <a:pt x="538" y="185"/>
                  </a:lnTo>
                  <a:lnTo>
                    <a:pt x="556" y="197"/>
                  </a:lnTo>
                  <a:lnTo>
                    <a:pt x="568" y="207"/>
                  </a:lnTo>
                  <a:lnTo>
                    <a:pt x="580" y="217"/>
                  </a:lnTo>
                  <a:lnTo>
                    <a:pt x="590" y="227"/>
                  </a:lnTo>
                  <a:lnTo>
                    <a:pt x="599" y="238"/>
                  </a:lnTo>
                  <a:lnTo>
                    <a:pt x="607" y="250"/>
                  </a:lnTo>
                  <a:lnTo>
                    <a:pt x="614" y="261"/>
                  </a:lnTo>
                  <a:lnTo>
                    <a:pt x="621" y="273"/>
                  </a:lnTo>
                  <a:lnTo>
                    <a:pt x="626" y="285"/>
                  </a:lnTo>
                  <a:lnTo>
                    <a:pt x="631" y="299"/>
                  </a:lnTo>
                  <a:lnTo>
                    <a:pt x="635" y="311"/>
                  </a:lnTo>
                  <a:lnTo>
                    <a:pt x="640" y="324"/>
                  </a:lnTo>
                  <a:lnTo>
                    <a:pt x="643" y="338"/>
                  </a:lnTo>
                  <a:lnTo>
                    <a:pt x="649" y="367"/>
                  </a:lnTo>
                  <a:lnTo>
                    <a:pt x="654" y="397"/>
                  </a:lnTo>
                  <a:lnTo>
                    <a:pt x="225" y="397"/>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3" name="Rectangle 23"/>
            <p:cNvSpPr>
              <a:spLocks noChangeArrowheads="1"/>
            </p:cNvSpPr>
            <p:nvPr userDrawn="1"/>
          </p:nvSpPr>
          <p:spPr bwMode="auto">
            <a:xfrm>
              <a:off x="5688" y="345"/>
              <a:ext cx="12" cy="66"/>
            </a:xfrm>
            <a:prstGeom prst="rect">
              <a:avLst/>
            </a:prstGeom>
            <a:solidFill>
              <a:srgbClr val="5E737D"/>
            </a:solidFill>
            <a:ln>
              <a:noFill/>
            </a:ln>
            <a:extLst/>
          </p:spPr>
          <p:txBody>
            <a:bodyP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algn="ctr" eaLnBrk="1" fontAlgn="base" hangingPunct="1">
                <a:spcBef>
                  <a:spcPct val="20000"/>
                </a:spcBef>
                <a:spcAft>
                  <a:spcPct val="0"/>
                </a:spcAft>
                <a:buClr>
                  <a:srgbClr val="0084C2"/>
                </a:buClr>
                <a:buSzPct val="130000"/>
                <a:buFont typeface="Times New Roman" pitchFamily="18" charset="0"/>
                <a:buNone/>
                <a:defRPr/>
              </a:pPr>
              <a:endParaRPr lang="ru-RU" altLang="en-US" smtClean="0">
                <a:solidFill>
                  <a:srgbClr val="000000"/>
                </a:solidFill>
              </a:endParaRPr>
            </a:p>
          </p:txBody>
        </p:sp>
        <p:sp>
          <p:nvSpPr>
            <p:cNvPr id="24" name="Rectangle 24"/>
            <p:cNvSpPr>
              <a:spLocks noChangeArrowheads="1"/>
            </p:cNvSpPr>
            <p:nvPr userDrawn="1"/>
          </p:nvSpPr>
          <p:spPr bwMode="auto">
            <a:xfrm>
              <a:off x="5712" y="345"/>
              <a:ext cx="11" cy="66"/>
            </a:xfrm>
            <a:prstGeom prst="rect">
              <a:avLst/>
            </a:prstGeom>
            <a:solidFill>
              <a:srgbClr val="5E737D"/>
            </a:solidFill>
            <a:ln>
              <a:noFill/>
            </a:ln>
            <a:extLst/>
          </p:spPr>
          <p:txBody>
            <a:bodyP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algn="ctr" eaLnBrk="1" fontAlgn="base" hangingPunct="1">
                <a:spcBef>
                  <a:spcPct val="20000"/>
                </a:spcBef>
                <a:spcAft>
                  <a:spcPct val="0"/>
                </a:spcAft>
                <a:buClr>
                  <a:srgbClr val="0084C2"/>
                </a:buClr>
                <a:buSzPct val="130000"/>
                <a:buFont typeface="Times New Roman" pitchFamily="18" charset="0"/>
                <a:buNone/>
                <a:defRPr/>
              </a:pPr>
              <a:endParaRPr lang="ru-RU" altLang="en-US" smtClean="0">
                <a:solidFill>
                  <a:srgbClr val="000000"/>
                </a:solidFill>
              </a:endParaRPr>
            </a:p>
          </p:txBody>
        </p:sp>
        <p:sp>
          <p:nvSpPr>
            <p:cNvPr id="25" name="Freeform 25"/>
            <p:cNvSpPr>
              <a:spLocks noEditPoints="1"/>
            </p:cNvSpPr>
            <p:nvPr userDrawn="1"/>
          </p:nvSpPr>
          <p:spPr bwMode="auto">
            <a:xfrm>
              <a:off x="5734" y="346"/>
              <a:ext cx="12" cy="65"/>
            </a:xfrm>
            <a:custGeom>
              <a:avLst/>
              <a:gdLst>
                <a:gd name="T0" fmla="*/ 0 w 223"/>
                <a:gd name="T1" fmla="*/ 0 h 1313"/>
                <a:gd name="T2" fmla="*/ 0 w 223"/>
                <a:gd name="T3" fmla="*/ 0 h 1313"/>
                <a:gd name="T4" fmla="*/ 0 w 223"/>
                <a:gd name="T5" fmla="*/ 0 h 1313"/>
                <a:gd name="T6" fmla="*/ 0 w 223"/>
                <a:gd name="T7" fmla="*/ 0 h 1313"/>
                <a:gd name="T8" fmla="*/ 0 w 223"/>
                <a:gd name="T9" fmla="*/ 0 h 1313"/>
                <a:gd name="T10" fmla="*/ 0 w 223"/>
                <a:gd name="T11" fmla="*/ 0 h 1313"/>
                <a:gd name="T12" fmla="*/ 0 w 223"/>
                <a:gd name="T13" fmla="*/ 0 h 1313"/>
                <a:gd name="T14" fmla="*/ 0 w 223"/>
                <a:gd name="T15" fmla="*/ 0 h 1313"/>
                <a:gd name="T16" fmla="*/ 0 w 223"/>
                <a:gd name="T17" fmla="*/ 0 h 1313"/>
                <a:gd name="T18" fmla="*/ 0 w 223"/>
                <a:gd name="T19" fmla="*/ 0 h 13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3" h="1313">
                  <a:moveTo>
                    <a:pt x="0" y="339"/>
                  </a:moveTo>
                  <a:lnTo>
                    <a:pt x="0" y="1313"/>
                  </a:lnTo>
                  <a:lnTo>
                    <a:pt x="223" y="1313"/>
                  </a:lnTo>
                  <a:lnTo>
                    <a:pt x="223" y="339"/>
                  </a:lnTo>
                  <a:lnTo>
                    <a:pt x="0" y="339"/>
                  </a:lnTo>
                  <a:close/>
                  <a:moveTo>
                    <a:pt x="6" y="0"/>
                  </a:moveTo>
                  <a:lnTo>
                    <a:pt x="6" y="232"/>
                  </a:lnTo>
                  <a:lnTo>
                    <a:pt x="221" y="232"/>
                  </a:lnTo>
                  <a:lnTo>
                    <a:pt x="221" y="0"/>
                  </a:lnTo>
                  <a:lnTo>
                    <a:pt x="6" y="0"/>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6" name="Freeform 26"/>
            <p:cNvSpPr>
              <a:spLocks noEditPoints="1"/>
            </p:cNvSpPr>
            <p:nvPr userDrawn="1"/>
          </p:nvSpPr>
          <p:spPr bwMode="auto">
            <a:xfrm>
              <a:off x="5754" y="353"/>
              <a:ext cx="49" cy="75"/>
            </a:xfrm>
            <a:custGeom>
              <a:avLst/>
              <a:gdLst>
                <a:gd name="T0" fmla="*/ 0 w 977"/>
                <a:gd name="T1" fmla="*/ 0 h 1500"/>
                <a:gd name="T2" fmla="*/ 0 w 977"/>
                <a:gd name="T3" fmla="*/ 0 h 1500"/>
                <a:gd name="T4" fmla="*/ 0 w 977"/>
                <a:gd name="T5" fmla="*/ 0 h 1500"/>
                <a:gd name="T6" fmla="*/ 0 w 977"/>
                <a:gd name="T7" fmla="*/ 0 h 1500"/>
                <a:gd name="T8" fmla="*/ 0 w 977"/>
                <a:gd name="T9" fmla="*/ 0 h 1500"/>
                <a:gd name="T10" fmla="*/ 0 w 977"/>
                <a:gd name="T11" fmla="*/ 0 h 1500"/>
                <a:gd name="T12" fmla="*/ 0 w 977"/>
                <a:gd name="T13" fmla="*/ 0 h 1500"/>
                <a:gd name="T14" fmla="*/ 0 w 977"/>
                <a:gd name="T15" fmla="*/ 0 h 1500"/>
                <a:gd name="T16" fmla="*/ 0 w 977"/>
                <a:gd name="T17" fmla="*/ 0 h 1500"/>
                <a:gd name="T18" fmla="*/ 0 w 977"/>
                <a:gd name="T19" fmla="*/ 0 h 1500"/>
                <a:gd name="T20" fmla="*/ 0 w 977"/>
                <a:gd name="T21" fmla="*/ 0 h 1500"/>
                <a:gd name="T22" fmla="*/ 0 w 977"/>
                <a:gd name="T23" fmla="*/ 0 h 1500"/>
                <a:gd name="T24" fmla="*/ 0 w 977"/>
                <a:gd name="T25" fmla="*/ 0 h 1500"/>
                <a:gd name="T26" fmla="*/ 0 w 977"/>
                <a:gd name="T27" fmla="*/ 0 h 1500"/>
                <a:gd name="T28" fmla="*/ 0 w 977"/>
                <a:gd name="T29" fmla="*/ 0 h 1500"/>
                <a:gd name="T30" fmla="*/ 0 w 977"/>
                <a:gd name="T31" fmla="*/ 0 h 1500"/>
                <a:gd name="T32" fmla="*/ 0 w 977"/>
                <a:gd name="T33" fmla="*/ 0 h 1500"/>
                <a:gd name="T34" fmla="*/ 0 w 977"/>
                <a:gd name="T35" fmla="*/ 0 h 1500"/>
                <a:gd name="T36" fmla="*/ 0 w 977"/>
                <a:gd name="T37" fmla="*/ 0 h 1500"/>
                <a:gd name="T38" fmla="*/ 0 w 977"/>
                <a:gd name="T39" fmla="*/ 0 h 1500"/>
                <a:gd name="T40" fmla="*/ 0 w 977"/>
                <a:gd name="T41" fmla="*/ 0 h 1500"/>
                <a:gd name="T42" fmla="*/ 0 w 977"/>
                <a:gd name="T43" fmla="*/ 0 h 1500"/>
                <a:gd name="T44" fmla="*/ 0 w 977"/>
                <a:gd name="T45" fmla="*/ 0 h 1500"/>
                <a:gd name="T46" fmla="*/ 0 w 977"/>
                <a:gd name="T47" fmla="*/ 0 h 1500"/>
                <a:gd name="T48" fmla="*/ 0 w 977"/>
                <a:gd name="T49" fmla="*/ 0 h 1500"/>
                <a:gd name="T50" fmla="*/ 0 w 977"/>
                <a:gd name="T51" fmla="*/ 0 h 1500"/>
                <a:gd name="T52" fmla="*/ 0 w 977"/>
                <a:gd name="T53" fmla="*/ 0 h 1500"/>
                <a:gd name="T54" fmla="*/ 0 w 977"/>
                <a:gd name="T55" fmla="*/ 0 h 1500"/>
                <a:gd name="T56" fmla="*/ 0 w 977"/>
                <a:gd name="T57" fmla="*/ 0 h 1500"/>
                <a:gd name="T58" fmla="*/ 0 w 977"/>
                <a:gd name="T59" fmla="*/ 0 h 1500"/>
                <a:gd name="T60" fmla="*/ 0 w 977"/>
                <a:gd name="T61" fmla="*/ 0 h 1500"/>
                <a:gd name="T62" fmla="*/ 0 w 977"/>
                <a:gd name="T63" fmla="*/ 0 h 1500"/>
                <a:gd name="T64" fmla="*/ 0 w 977"/>
                <a:gd name="T65" fmla="*/ 0 h 1500"/>
                <a:gd name="T66" fmla="*/ 0 w 977"/>
                <a:gd name="T67" fmla="*/ 0 h 1500"/>
                <a:gd name="T68" fmla="*/ 0 w 977"/>
                <a:gd name="T69" fmla="*/ 0 h 1500"/>
                <a:gd name="T70" fmla="*/ 0 w 977"/>
                <a:gd name="T71" fmla="*/ 0 h 1500"/>
                <a:gd name="T72" fmla="*/ 0 w 977"/>
                <a:gd name="T73" fmla="*/ 0 h 1500"/>
                <a:gd name="T74" fmla="*/ 0 w 977"/>
                <a:gd name="T75" fmla="*/ 0 h 1500"/>
                <a:gd name="T76" fmla="*/ 0 w 977"/>
                <a:gd name="T77" fmla="*/ 0 h 1500"/>
                <a:gd name="T78" fmla="*/ 0 w 977"/>
                <a:gd name="T79" fmla="*/ 0 h 1500"/>
                <a:gd name="T80" fmla="*/ 0 w 977"/>
                <a:gd name="T81" fmla="*/ 0 h 1500"/>
                <a:gd name="T82" fmla="*/ 0 w 977"/>
                <a:gd name="T83" fmla="*/ 0 h 1500"/>
                <a:gd name="T84" fmla="*/ 0 w 977"/>
                <a:gd name="T85" fmla="*/ 0 h 1500"/>
                <a:gd name="T86" fmla="*/ 0 w 977"/>
                <a:gd name="T87" fmla="*/ 0 h 1500"/>
                <a:gd name="T88" fmla="*/ 0 w 977"/>
                <a:gd name="T89" fmla="*/ 0 h 1500"/>
                <a:gd name="T90" fmla="*/ 0 w 977"/>
                <a:gd name="T91" fmla="*/ 0 h 1500"/>
                <a:gd name="T92" fmla="*/ 0 w 977"/>
                <a:gd name="T93" fmla="*/ 0 h 1500"/>
                <a:gd name="T94" fmla="*/ 0 w 977"/>
                <a:gd name="T95" fmla="*/ 0 h 1500"/>
                <a:gd name="T96" fmla="*/ 0 w 977"/>
                <a:gd name="T97" fmla="*/ 0 h 1500"/>
                <a:gd name="T98" fmla="*/ 0 w 977"/>
                <a:gd name="T99" fmla="*/ 0 h 1500"/>
                <a:gd name="T100" fmla="*/ 0 w 977"/>
                <a:gd name="T101" fmla="*/ 0 h 1500"/>
                <a:gd name="T102" fmla="*/ 0 w 977"/>
                <a:gd name="T103" fmla="*/ 0 h 1500"/>
                <a:gd name="T104" fmla="*/ 0 w 977"/>
                <a:gd name="T105" fmla="*/ 0 h 1500"/>
                <a:gd name="T106" fmla="*/ 0 w 977"/>
                <a:gd name="T107" fmla="*/ 0 h 1500"/>
                <a:gd name="T108" fmla="*/ 0 w 977"/>
                <a:gd name="T109" fmla="*/ 0 h 1500"/>
                <a:gd name="T110" fmla="*/ 0 w 977"/>
                <a:gd name="T111" fmla="*/ 0 h 1500"/>
                <a:gd name="T112" fmla="*/ 0 w 977"/>
                <a:gd name="T113" fmla="*/ 0 h 1500"/>
                <a:gd name="T114" fmla="*/ 0 w 977"/>
                <a:gd name="T115" fmla="*/ 0 h 1500"/>
                <a:gd name="T116" fmla="*/ 0 w 977"/>
                <a:gd name="T117" fmla="*/ 0 h 1500"/>
                <a:gd name="T118" fmla="*/ 0 w 977"/>
                <a:gd name="T119" fmla="*/ 0 h 1500"/>
                <a:gd name="T120" fmla="*/ 0 w 977"/>
                <a:gd name="T121" fmla="*/ 0 h 1500"/>
                <a:gd name="T122" fmla="*/ 0 w 977"/>
                <a:gd name="T123" fmla="*/ 0 h 15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77" h="1500">
                  <a:moveTo>
                    <a:pt x="977" y="1"/>
                  </a:moveTo>
                  <a:lnTo>
                    <a:pt x="933" y="0"/>
                  </a:lnTo>
                  <a:lnTo>
                    <a:pt x="894" y="1"/>
                  </a:lnTo>
                  <a:lnTo>
                    <a:pt x="861" y="3"/>
                  </a:lnTo>
                  <a:lnTo>
                    <a:pt x="834" y="7"/>
                  </a:lnTo>
                  <a:lnTo>
                    <a:pt x="821" y="9"/>
                  </a:lnTo>
                  <a:lnTo>
                    <a:pt x="809" y="12"/>
                  </a:lnTo>
                  <a:lnTo>
                    <a:pt x="798" y="16"/>
                  </a:lnTo>
                  <a:lnTo>
                    <a:pt x="788" y="21"/>
                  </a:lnTo>
                  <a:lnTo>
                    <a:pt x="778" y="25"/>
                  </a:lnTo>
                  <a:lnTo>
                    <a:pt x="769" y="30"/>
                  </a:lnTo>
                  <a:lnTo>
                    <a:pt x="759" y="36"/>
                  </a:lnTo>
                  <a:lnTo>
                    <a:pt x="750" y="42"/>
                  </a:lnTo>
                  <a:lnTo>
                    <a:pt x="740" y="50"/>
                  </a:lnTo>
                  <a:lnTo>
                    <a:pt x="732" y="58"/>
                  </a:lnTo>
                  <a:lnTo>
                    <a:pt x="724" y="66"/>
                  </a:lnTo>
                  <a:lnTo>
                    <a:pt x="717" y="75"/>
                  </a:lnTo>
                  <a:lnTo>
                    <a:pt x="710" y="83"/>
                  </a:lnTo>
                  <a:lnTo>
                    <a:pt x="704" y="92"/>
                  </a:lnTo>
                  <a:lnTo>
                    <a:pt x="699" y="101"/>
                  </a:lnTo>
                  <a:lnTo>
                    <a:pt x="694" y="109"/>
                  </a:lnTo>
                  <a:lnTo>
                    <a:pt x="685" y="128"/>
                  </a:lnTo>
                  <a:lnTo>
                    <a:pt x="678" y="149"/>
                  </a:lnTo>
                  <a:lnTo>
                    <a:pt x="671" y="170"/>
                  </a:lnTo>
                  <a:lnTo>
                    <a:pt x="664" y="193"/>
                  </a:lnTo>
                  <a:lnTo>
                    <a:pt x="638" y="187"/>
                  </a:lnTo>
                  <a:lnTo>
                    <a:pt x="616" y="182"/>
                  </a:lnTo>
                  <a:lnTo>
                    <a:pt x="593" y="178"/>
                  </a:lnTo>
                  <a:lnTo>
                    <a:pt x="572" y="174"/>
                  </a:lnTo>
                  <a:lnTo>
                    <a:pt x="550" y="171"/>
                  </a:lnTo>
                  <a:lnTo>
                    <a:pt x="528" y="169"/>
                  </a:lnTo>
                  <a:lnTo>
                    <a:pt x="503" y="168"/>
                  </a:lnTo>
                  <a:lnTo>
                    <a:pt x="478" y="168"/>
                  </a:lnTo>
                  <a:lnTo>
                    <a:pt x="438" y="168"/>
                  </a:lnTo>
                  <a:lnTo>
                    <a:pt x="399" y="171"/>
                  </a:lnTo>
                  <a:lnTo>
                    <a:pt x="380" y="173"/>
                  </a:lnTo>
                  <a:lnTo>
                    <a:pt x="361" y="175"/>
                  </a:lnTo>
                  <a:lnTo>
                    <a:pt x="341" y="179"/>
                  </a:lnTo>
                  <a:lnTo>
                    <a:pt x="322" y="182"/>
                  </a:lnTo>
                  <a:lnTo>
                    <a:pt x="302" y="188"/>
                  </a:lnTo>
                  <a:lnTo>
                    <a:pt x="284" y="193"/>
                  </a:lnTo>
                  <a:lnTo>
                    <a:pt x="266" y="199"/>
                  </a:lnTo>
                  <a:lnTo>
                    <a:pt x="247" y="206"/>
                  </a:lnTo>
                  <a:lnTo>
                    <a:pt x="230" y="214"/>
                  </a:lnTo>
                  <a:lnTo>
                    <a:pt x="214" y="222"/>
                  </a:lnTo>
                  <a:lnTo>
                    <a:pt x="196" y="232"/>
                  </a:lnTo>
                  <a:lnTo>
                    <a:pt x="181" y="243"/>
                  </a:lnTo>
                  <a:lnTo>
                    <a:pt x="168" y="253"/>
                  </a:lnTo>
                  <a:lnTo>
                    <a:pt x="157" y="264"/>
                  </a:lnTo>
                  <a:lnTo>
                    <a:pt x="145" y="275"/>
                  </a:lnTo>
                  <a:lnTo>
                    <a:pt x="134" y="287"/>
                  </a:lnTo>
                  <a:lnTo>
                    <a:pt x="125" y="300"/>
                  </a:lnTo>
                  <a:lnTo>
                    <a:pt x="116" y="312"/>
                  </a:lnTo>
                  <a:lnTo>
                    <a:pt x="108" y="325"/>
                  </a:lnTo>
                  <a:lnTo>
                    <a:pt x="100" y="339"/>
                  </a:lnTo>
                  <a:lnTo>
                    <a:pt x="94" y="352"/>
                  </a:lnTo>
                  <a:lnTo>
                    <a:pt x="88" y="368"/>
                  </a:lnTo>
                  <a:lnTo>
                    <a:pt x="83" y="382"/>
                  </a:lnTo>
                  <a:lnTo>
                    <a:pt x="79" y="397"/>
                  </a:lnTo>
                  <a:lnTo>
                    <a:pt x="76" y="413"/>
                  </a:lnTo>
                  <a:lnTo>
                    <a:pt x="74" y="428"/>
                  </a:lnTo>
                  <a:lnTo>
                    <a:pt x="73" y="444"/>
                  </a:lnTo>
                  <a:lnTo>
                    <a:pt x="72" y="460"/>
                  </a:lnTo>
                  <a:lnTo>
                    <a:pt x="72" y="473"/>
                  </a:lnTo>
                  <a:lnTo>
                    <a:pt x="73" y="485"/>
                  </a:lnTo>
                  <a:lnTo>
                    <a:pt x="75" y="497"/>
                  </a:lnTo>
                  <a:lnTo>
                    <a:pt x="76" y="508"/>
                  </a:lnTo>
                  <a:lnTo>
                    <a:pt x="81" y="530"/>
                  </a:lnTo>
                  <a:lnTo>
                    <a:pt x="88" y="550"/>
                  </a:lnTo>
                  <a:lnTo>
                    <a:pt x="95" y="568"/>
                  </a:lnTo>
                  <a:lnTo>
                    <a:pt x="105" y="585"/>
                  </a:lnTo>
                  <a:lnTo>
                    <a:pt x="115" y="601"/>
                  </a:lnTo>
                  <a:lnTo>
                    <a:pt x="125" y="615"/>
                  </a:lnTo>
                  <a:lnTo>
                    <a:pt x="136" y="628"/>
                  </a:lnTo>
                  <a:lnTo>
                    <a:pt x="147" y="640"/>
                  </a:lnTo>
                  <a:lnTo>
                    <a:pt x="159" y="651"/>
                  </a:lnTo>
                  <a:lnTo>
                    <a:pt x="170" y="660"/>
                  </a:lnTo>
                  <a:lnTo>
                    <a:pt x="189" y="675"/>
                  </a:lnTo>
                  <a:lnTo>
                    <a:pt x="206" y="687"/>
                  </a:lnTo>
                  <a:lnTo>
                    <a:pt x="186" y="699"/>
                  </a:lnTo>
                  <a:lnTo>
                    <a:pt x="167" y="711"/>
                  </a:lnTo>
                  <a:lnTo>
                    <a:pt x="148" y="724"/>
                  </a:lnTo>
                  <a:lnTo>
                    <a:pt x="130" y="737"/>
                  </a:lnTo>
                  <a:lnTo>
                    <a:pt x="114" y="752"/>
                  </a:lnTo>
                  <a:lnTo>
                    <a:pt x="98" y="767"/>
                  </a:lnTo>
                  <a:lnTo>
                    <a:pt x="91" y="776"/>
                  </a:lnTo>
                  <a:lnTo>
                    <a:pt x="84" y="784"/>
                  </a:lnTo>
                  <a:lnTo>
                    <a:pt x="78" y="793"/>
                  </a:lnTo>
                  <a:lnTo>
                    <a:pt x="72" y="803"/>
                  </a:lnTo>
                  <a:lnTo>
                    <a:pt x="69" y="808"/>
                  </a:lnTo>
                  <a:lnTo>
                    <a:pt x="66" y="815"/>
                  </a:lnTo>
                  <a:lnTo>
                    <a:pt x="62" y="823"/>
                  </a:lnTo>
                  <a:lnTo>
                    <a:pt x="58" y="832"/>
                  </a:lnTo>
                  <a:lnTo>
                    <a:pt x="55" y="842"/>
                  </a:lnTo>
                  <a:lnTo>
                    <a:pt x="53" y="853"/>
                  </a:lnTo>
                  <a:lnTo>
                    <a:pt x="51" y="867"/>
                  </a:lnTo>
                  <a:lnTo>
                    <a:pt x="49" y="880"/>
                  </a:lnTo>
                  <a:lnTo>
                    <a:pt x="51" y="893"/>
                  </a:lnTo>
                  <a:lnTo>
                    <a:pt x="52" y="905"/>
                  </a:lnTo>
                  <a:lnTo>
                    <a:pt x="54" y="918"/>
                  </a:lnTo>
                  <a:lnTo>
                    <a:pt x="57" y="929"/>
                  </a:lnTo>
                  <a:lnTo>
                    <a:pt x="60" y="939"/>
                  </a:lnTo>
                  <a:lnTo>
                    <a:pt x="65" y="950"/>
                  </a:lnTo>
                  <a:lnTo>
                    <a:pt x="70" y="960"/>
                  </a:lnTo>
                  <a:lnTo>
                    <a:pt x="75" y="970"/>
                  </a:lnTo>
                  <a:lnTo>
                    <a:pt x="87" y="989"/>
                  </a:lnTo>
                  <a:lnTo>
                    <a:pt x="102" y="1007"/>
                  </a:lnTo>
                  <a:lnTo>
                    <a:pt x="118" y="1026"/>
                  </a:lnTo>
                  <a:lnTo>
                    <a:pt x="134" y="1045"/>
                  </a:lnTo>
                  <a:lnTo>
                    <a:pt x="109" y="1061"/>
                  </a:lnTo>
                  <a:lnTo>
                    <a:pt x="87" y="1076"/>
                  </a:lnTo>
                  <a:lnTo>
                    <a:pt x="69" y="1091"/>
                  </a:lnTo>
                  <a:lnTo>
                    <a:pt x="55" y="1104"/>
                  </a:lnTo>
                  <a:lnTo>
                    <a:pt x="42" y="1117"/>
                  </a:lnTo>
                  <a:lnTo>
                    <a:pt x="32" y="1130"/>
                  </a:lnTo>
                  <a:lnTo>
                    <a:pt x="24" y="1145"/>
                  </a:lnTo>
                  <a:lnTo>
                    <a:pt x="16" y="1161"/>
                  </a:lnTo>
                  <a:lnTo>
                    <a:pt x="11" y="1174"/>
                  </a:lnTo>
                  <a:lnTo>
                    <a:pt x="6" y="1186"/>
                  </a:lnTo>
                  <a:lnTo>
                    <a:pt x="4" y="1198"/>
                  </a:lnTo>
                  <a:lnTo>
                    <a:pt x="2" y="1208"/>
                  </a:lnTo>
                  <a:lnTo>
                    <a:pt x="0" y="1218"/>
                  </a:lnTo>
                  <a:lnTo>
                    <a:pt x="0" y="1227"/>
                  </a:lnTo>
                  <a:lnTo>
                    <a:pt x="0" y="1234"/>
                  </a:lnTo>
                  <a:lnTo>
                    <a:pt x="0" y="1241"/>
                  </a:lnTo>
                  <a:lnTo>
                    <a:pt x="1" y="1263"/>
                  </a:lnTo>
                  <a:lnTo>
                    <a:pt x="3" y="1283"/>
                  </a:lnTo>
                  <a:lnTo>
                    <a:pt x="8" y="1302"/>
                  </a:lnTo>
                  <a:lnTo>
                    <a:pt x="14" y="1320"/>
                  </a:lnTo>
                  <a:lnTo>
                    <a:pt x="21" y="1336"/>
                  </a:lnTo>
                  <a:lnTo>
                    <a:pt x="29" y="1351"/>
                  </a:lnTo>
                  <a:lnTo>
                    <a:pt x="38" y="1366"/>
                  </a:lnTo>
                  <a:lnTo>
                    <a:pt x="48" y="1378"/>
                  </a:lnTo>
                  <a:lnTo>
                    <a:pt x="58" y="1389"/>
                  </a:lnTo>
                  <a:lnTo>
                    <a:pt x="69" y="1399"/>
                  </a:lnTo>
                  <a:lnTo>
                    <a:pt x="79" y="1409"/>
                  </a:lnTo>
                  <a:lnTo>
                    <a:pt x="88" y="1417"/>
                  </a:lnTo>
                  <a:lnTo>
                    <a:pt x="107" y="1430"/>
                  </a:lnTo>
                  <a:lnTo>
                    <a:pt x="121" y="1438"/>
                  </a:lnTo>
                  <a:lnTo>
                    <a:pt x="134" y="1445"/>
                  </a:lnTo>
                  <a:lnTo>
                    <a:pt x="147" y="1451"/>
                  </a:lnTo>
                  <a:lnTo>
                    <a:pt x="160" y="1457"/>
                  </a:lnTo>
                  <a:lnTo>
                    <a:pt x="171" y="1461"/>
                  </a:lnTo>
                  <a:lnTo>
                    <a:pt x="181" y="1465"/>
                  </a:lnTo>
                  <a:lnTo>
                    <a:pt x="190" y="1467"/>
                  </a:lnTo>
                  <a:lnTo>
                    <a:pt x="198" y="1470"/>
                  </a:lnTo>
                  <a:lnTo>
                    <a:pt x="206" y="1471"/>
                  </a:lnTo>
                  <a:lnTo>
                    <a:pt x="225" y="1477"/>
                  </a:lnTo>
                  <a:lnTo>
                    <a:pt x="249" y="1481"/>
                  </a:lnTo>
                  <a:lnTo>
                    <a:pt x="278" y="1486"/>
                  </a:lnTo>
                  <a:lnTo>
                    <a:pt x="310" y="1490"/>
                  </a:lnTo>
                  <a:lnTo>
                    <a:pt x="345" y="1494"/>
                  </a:lnTo>
                  <a:lnTo>
                    <a:pt x="384" y="1497"/>
                  </a:lnTo>
                  <a:lnTo>
                    <a:pt x="426" y="1499"/>
                  </a:lnTo>
                  <a:lnTo>
                    <a:pt x="470" y="1500"/>
                  </a:lnTo>
                  <a:lnTo>
                    <a:pt x="503" y="1500"/>
                  </a:lnTo>
                  <a:lnTo>
                    <a:pt x="535" y="1499"/>
                  </a:lnTo>
                  <a:lnTo>
                    <a:pt x="565" y="1497"/>
                  </a:lnTo>
                  <a:lnTo>
                    <a:pt x="592" y="1494"/>
                  </a:lnTo>
                  <a:lnTo>
                    <a:pt x="619" y="1492"/>
                  </a:lnTo>
                  <a:lnTo>
                    <a:pt x="643" y="1488"/>
                  </a:lnTo>
                  <a:lnTo>
                    <a:pt x="667" y="1484"/>
                  </a:lnTo>
                  <a:lnTo>
                    <a:pt x="688" y="1479"/>
                  </a:lnTo>
                  <a:lnTo>
                    <a:pt x="708" y="1474"/>
                  </a:lnTo>
                  <a:lnTo>
                    <a:pt x="729" y="1468"/>
                  </a:lnTo>
                  <a:lnTo>
                    <a:pt x="747" y="1462"/>
                  </a:lnTo>
                  <a:lnTo>
                    <a:pt x="765" y="1456"/>
                  </a:lnTo>
                  <a:lnTo>
                    <a:pt x="781" y="1449"/>
                  </a:lnTo>
                  <a:lnTo>
                    <a:pt x="796" y="1442"/>
                  </a:lnTo>
                  <a:lnTo>
                    <a:pt x="810" y="1435"/>
                  </a:lnTo>
                  <a:lnTo>
                    <a:pt x="825" y="1427"/>
                  </a:lnTo>
                  <a:lnTo>
                    <a:pt x="848" y="1412"/>
                  </a:lnTo>
                  <a:lnTo>
                    <a:pt x="869" y="1398"/>
                  </a:lnTo>
                  <a:lnTo>
                    <a:pt x="887" y="1383"/>
                  </a:lnTo>
                  <a:lnTo>
                    <a:pt x="903" y="1368"/>
                  </a:lnTo>
                  <a:lnTo>
                    <a:pt x="916" y="1352"/>
                  </a:lnTo>
                  <a:lnTo>
                    <a:pt x="929" y="1336"/>
                  </a:lnTo>
                  <a:lnTo>
                    <a:pt x="940" y="1321"/>
                  </a:lnTo>
                  <a:lnTo>
                    <a:pt x="948" y="1305"/>
                  </a:lnTo>
                  <a:lnTo>
                    <a:pt x="955" y="1288"/>
                  </a:lnTo>
                  <a:lnTo>
                    <a:pt x="961" y="1273"/>
                  </a:lnTo>
                  <a:lnTo>
                    <a:pt x="966" y="1258"/>
                  </a:lnTo>
                  <a:lnTo>
                    <a:pt x="970" y="1242"/>
                  </a:lnTo>
                  <a:lnTo>
                    <a:pt x="973" y="1228"/>
                  </a:lnTo>
                  <a:lnTo>
                    <a:pt x="974" y="1214"/>
                  </a:lnTo>
                  <a:lnTo>
                    <a:pt x="975" y="1201"/>
                  </a:lnTo>
                  <a:lnTo>
                    <a:pt x="975" y="1188"/>
                  </a:lnTo>
                  <a:lnTo>
                    <a:pt x="975" y="1170"/>
                  </a:lnTo>
                  <a:lnTo>
                    <a:pt x="972" y="1152"/>
                  </a:lnTo>
                  <a:lnTo>
                    <a:pt x="969" y="1133"/>
                  </a:lnTo>
                  <a:lnTo>
                    <a:pt x="963" y="1116"/>
                  </a:lnTo>
                  <a:lnTo>
                    <a:pt x="957" y="1100"/>
                  </a:lnTo>
                  <a:lnTo>
                    <a:pt x="950" y="1084"/>
                  </a:lnTo>
                  <a:lnTo>
                    <a:pt x="941" y="1068"/>
                  </a:lnTo>
                  <a:lnTo>
                    <a:pt x="932" y="1053"/>
                  </a:lnTo>
                  <a:lnTo>
                    <a:pt x="921" y="1039"/>
                  </a:lnTo>
                  <a:lnTo>
                    <a:pt x="909" y="1026"/>
                  </a:lnTo>
                  <a:lnTo>
                    <a:pt x="896" y="1013"/>
                  </a:lnTo>
                  <a:lnTo>
                    <a:pt x="882" y="1001"/>
                  </a:lnTo>
                  <a:lnTo>
                    <a:pt x="868" y="990"/>
                  </a:lnTo>
                  <a:lnTo>
                    <a:pt x="852" y="980"/>
                  </a:lnTo>
                  <a:lnTo>
                    <a:pt x="836" y="971"/>
                  </a:lnTo>
                  <a:lnTo>
                    <a:pt x="820" y="962"/>
                  </a:lnTo>
                  <a:lnTo>
                    <a:pt x="806" y="957"/>
                  </a:lnTo>
                  <a:lnTo>
                    <a:pt x="793" y="952"/>
                  </a:lnTo>
                  <a:lnTo>
                    <a:pt x="779" y="948"/>
                  </a:lnTo>
                  <a:lnTo>
                    <a:pt x="763" y="945"/>
                  </a:lnTo>
                  <a:lnTo>
                    <a:pt x="730" y="938"/>
                  </a:lnTo>
                  <a:lnTo>
                    <a:pt x="693" y="934"/>
                  </a:lnTo>
                  <a:lnTo>
                    <a:pt x="651" y="930"/>
                  </a:lnTo>
                  <a:lnTo>
                    <a:pt x="604" y="927"/>
                  </a:lnTo>
                  <a:lnTo>
                    <a:pt x="553" y="925"/>
                  </a:lnTo>
                  <a:lnTo>
                    <a:pt x="496" y="923"/>
                  </a:lnTo>
                  <a:lnTo>
                    <a:pt x="462" y="923"/>
                  </a:lnTo>
                  <a:lnTo>
                    <a:pt x="431" y="923"/>
                  </a:lnTo>
                  <a:lnTo>
                    <a:pt x="405" y="923"/>
                  </a:lnTo>
                  <a:lnTo>
                    <a:pt x="384" y="922"/>
                  </a:lnTo>
                  <a:lnTo>
                    <a:pt x="364" y="920"/>
                  </a:lnTo>
                  <a:lnTo>
                    <a:pt x="345" y="917"/>
                  </a:lnTo>
                  <a:lnTo>
                    <a:pt x="327" y="913"/>
                  </a:lnTo>
                  <a:lnTo>
                    <a:pt x="309" y="906"/>
                  </a:lnTo>
                  <a:lnTo>
                    <a:pt x="298" y="902"/>
                  </a:lnTo>
                  <a:lnTo>
                    <a:pt x="289" y="897"/>
                  </a:lnTo>
                  <a:lnTo>
                    <a:pt x="281" y="892"/>
                  </a:lnTo>
                  <a:lnTo>
                    <a:pt x="274" y="887"/>
                  </a:lnTo>
                  <a:lnTo>
                    <a:pt x="268" y="882"/>
                  </a:lnTo>
                  <a:lnTo>
                    <a:pt x="262" y="876"/>
                  </a:lnTo>
                  <a:lnTo>
                    <a:pt x="257" y="870"/>
                  </a:lnTo>
                  <a:lnTo>
                    <a:pt x="252" y="864"/>
                  </a:lnTo>
                  <a:lnTo>
                    <a:pt x="249" y="859"/>
                  </a:lnTo>
                  <a:lnTo>
                    <a:pt x="246" y="852"/>
                  </a:lnTo>
                  <a:lnTo>
                    <a:pt x="244" y="846"/>
                  </a:lnTo>
                  <a:lnTo>
                    <a:pt x="242" y="840"/>
                  </a:lnTo>
                  <a:lnTo>
                    <a:pt x="240" y="829"/>
                  </a:lnTo>
                  <a:lnTo>
                    <a:pt x="239" y="818"/>
                  </a:lnTo>
                  <a:lnTo>
                    <a:pt x="239" y="811"/>
                  </a:lnTo>
                  <a:lnTo>
                    <a:pt x="240" y="804"/>
                  </a:lnTo>
                  <a:lnTo>
                    <a:pt x="242" y="797"/>
                  </a:lnTo>
                  <a:lnTo>
                    <a:pt x="243" y="791"/>
                  </a:lnTo>
                  <a:lnTo>
                    <a:pt x="248" y="780"/>
                  </a:lnTo>
                  <a:lnTo>
                    <a:pt x="255" y="770"/>
                  </a:lnTo>
                  <a:lnTo>
                    <a:pt x="261" y="763"/>
                  </a:lnTo>
                  <a:lnTo>
                    <a:pt x="267" y="756"/>
                  </a:lnTo>
                  <a:lnTo>
                    <a:pt x="273" y="751"/>
                  </a:lnTo>
                  <a:lnTo>
                    <a:pt x="277" y="747"/>
                  </a:lnTo>
                  <a:lnTo>
                    <a:pt x="279" y="745"/>
                  </a:lnTo>
                  <a:lnTo>
                    <a:pt x="281" y="742"/>
                  </a:lnTo>
                  <a:lnTo>
                    <a:pt x="284" y="740"/>
                  </a:lnTo>
                  <a:lnTo>
                    <a:pt x="286" y="738"/>
                  </a:lnTo>
                  <a:lnTo>
                    <a:pt x="289" y="736"/>
                  </a:lnTo>
                  <a:lnTo>
                    <a:pt x="292" y="733"/>
                  </a:lnTo>
                  <a:lnTo>
                    <a:pt x="294" y="731"/>
                  </a:lnTo>
                  <a:lnTo>
                    <a:pt x="297" y="728"/>
                  </a:lnTo>
                  <a:lnTo>
                    <a:pt x="331" y="736"/>
                  </a:lnTo>
                  <a:lnTo>
                    <a:pt x="361" y="742"/>
                  </a:lnTo>
                  <a:lnTo>
                    <a:pt x="385" y="748"/>
                  </a:lnTo>
                  <a:lnTo>
                    <a:pt x="408" y="752"/>
                  </a:lnTo>
                  <a:lnTo>
                    <a:pt x="428" y="754"/>
                  </a:lnTo>
                  <a:lnTo>
                    <a:pt x="447" y="755"/>
                  </a:lnTo>
                  <a:lnTo>
                    <a:pt x="467" y="756"/>
                  </a:lnTo>
                  <a:lnTo>
                    <a:pt x="487" y="756"/>
                  </a:lnTo>
                  <a:lnTo>
                    <a:pt x="515" y="756"/>
                  </a:lnTo>
                  <a:lnTo>
                    <a:pt x="541" y="754"/>
                  </a:lnTo>
                  <a:lnTo>
                    <a:pt x="567" y="751"/>
                  </a:lnTo>
                  <a:lnTo>
                    <a:pt x="590" y="747"/>
                  </a:lnTo>
                  <a:lnTo>
                    <a:pt x="614" y="741"/>
                  </a:lnTo>
                  <a:lnTo>
                    <a:pt x="635" y="735"/>
                  </a:lnTo>
                  <a:lnTo>
                    <a:pt x="656" y="729"/>
                  </a:lnTo>
                  <a:lnTo>
                    <a:pt x="676" y="722"/>
                  </a:lnTo>
                  <a:lnTo>
                    <a:pt x="694" y="714"/>
                  </a:lnTo>
                  <a:lnTo>
                    <a:pt x="710" y="707"/>
                  </a:lnTo>
                  <a:lnTo>
                    <a:pt x="727" y="699"/>
                  </a:lnTo>
                  <a:lnTo>
                    <a:pt x="741" y="691"/>
                  </a:lnTo>
                  <a:lnTo>
                    <a:pt x="766" y="675"/>
                  </a:lnTo>
                  <a:lnTo>
                    <a:pt x="785" y="661"/>
                  </a:lnTo>
                  <a:lnTo>
                    <a:pt x="800" y="647"/>
                  </a:lnTo>
                  <a:lnTo>
                    <a:pt x="814" y="634"/>
                  </a:lnTo>
                  <a:lnTo>
                    <a:pt x="826" y="619"/>
                  </a:lnTo>
                  <a:lnTo>
                    <a:pt x="837" y="605"/>
                  </a:lnTo>
                  <a:lnTo>
                    <a:pt x="846" y="590"/>
                  </a:lnTo>
                  <a:lnTo>
                    <a:pt x="853" y="575"/>
                  </a:lnTo>
                  <a:lnTo>
                    <a:pt x="860" y="561"/>
                  </a:lnTo>
                  <a:lnTo>
                    <a:pt x="865" y="547"/>
                  </a:lnTo>
                  <a:lnTo>
                    <a:pt x="870" y="534"/>
                  </a:lnTo>
                  <a:lnTo>
                    <a:pt x="874" y="520"/>
                  </a:lnTo>
                  <a:lnTo>
                    <a:pt x="877" y="507"/>
                  </a:lnTo>
                  <a:lnTo>
                    <a:pt x="879" y="496"/>
                  </a:lnTo>
                  <a:lnTo>
                    <a:pt x="881" y="474"/>
                  </a:lnTo>
                  <a:lnTo>
                    <a:pt x="881" y="456"/>
                  </a:lnTo>
                  <a:lnTo>
                    <a:pt x="881" y="441"/>
                  </a:lnTo>
                  <a:lnTo>
                    <a:pt x="880" y="427"/>
                  </a:lnTo>
                  <a:lnTo>
                    <a:pt x="878" y="413"/>
                  </a:lnTo>
                  <a:lnTo>
                    <a:pt x="876" y="400"/>
                  </a:lnTo>
                  <a:lnTo>
                    <a:pt x="873" y="387"/>
                  </a:lnTo>
                  <a:lnTo>
                    <a:pt x="870" y="376"/>
                  </a:lnTo>
                  <a:lnTo>
                    <a:pt x="865" y="365"/>
                  </a:lnTo>
                  <a:lnTo>
                    <a:pt x="861" y="355"/>
                  </a:lnTo>
                  <a:lnTo>
                    <a:pt x="853" y="335"/>
                  </a:lnTo>
                  <a:lnTo>
                    <a:pt x="844" y="320"/>
                  </a:lnTo>
                  <a:lnTo>
                    <a:pt x="835" y="307"/>
                  </a:lnTo>
                  <a:lnTo>
                    <a:pt x="827" y="298"/>
                  </a:lnTo>
                  <a:lnTo>
                    <a:pt x="820" y="289"/>
                  </a:lnTo>
                  <a:lnTo>
                    <a:pt x="812" y="282"/>
                  </a:lnTo>
                  <a:lnTo>
                    <a:pt x="805" y="276"/>
                  </a:lnTo>
                  <a:lnTo>
                    <a:pt x="798" y="270"/>
                  </a:lnTo>
                  <a:lnTo>
                    <a:pt x="791" y="264"/>
                  </a:lnTo>
                  <a:lnTo>
                    <a:pt x="783" y="258"/>
                  </a:lnTo>
                  <a:lnTo>
                    <a:pt x="775" y="252"/>
                  </a:lnTo>
                  <a:lnTo>
                    <a:pt x="767" y="245"/>
                  </a:lnTo>
                  <a:lnTo>
                    <a:pt x="770" y="238"/>
                  </a:lnTo>
                  <a:lnTo>
                    <a:pt x="774" y="231"/>
                  </a:lnTo>
                  <a:lnTo>
                    <a:pt x="778" y="225"/>
                  </a:lnTo>
                  <a:lnTo>
                    <a:pt x="781" y="219"/>
                  </a:lnTo>
                  <a:lnTo>
                    <a:pt x="786" y="213"/>
                  </a:lnTo>
                  <a:lnTo>
                    <a:pt x="790" y="208"/>
                  </a:lnTo>
                  <a:lnTo>
                    <a:pt x="795" y="203"/>
                  </a:lnTo>
                  <a:lnTo>
                    <a:pt x="800" y="198"/>
                  </a:lnTo>
                  <a:lnTo>
                    <a:pt x="808" y="192"/>
                  </a:lnTo>
                  <a:lnTo>
                    <a:pt x="818" y="187"/>
                  </a:lnTo>
                  <a:lnTo>
                    <a:pt x="827" y="182"/>
                  </a:lnTo>
                  <a:lnTo>
                    <a:pt x="837" y="178"/>
                  </a:lnTo>
                  <a:lnTo>
                    <a:pt x="848" y="175"/>
                  </a:lnTo>
                  <a:lnTo>
                    <a:pt x="859" y="173"/>
                  </a:lnTo>
                  <a:lnTo>
                    <a:pt x="871" y="171"/>
                  </a:lnTo>
                  <a:lnTo>
                    <a:pt x="883" y="169"/>
                  </a:lnTo>
                  <a:lnTo>
                    <a:pt x="907" y="167"/>
                  </a:lnTo>
                  <a:lnTo>
                    <a:pt x="931" y="167"/>
                  </a:lnTo>
                  <a:lnTo>
                    <a:pt x="954" y="167"/>
                  </a:lnTo>
                  <a:lnTo>
                    <a:pt x="977" y="168"/>
                  </a:lnTo>
                  <a:lnTo>
                    <a:pt x="977" y="1"/>
                  </a:lnTo>
                  <a:close/>
                  <a:moveTo>
                    <a:pt x="232" y="1101"/>
                  </a:moveTo>
                  <a:lnTo>
                    <a:pt x="284" y="1110"/>
                  </a:lnTo>
                  <a:lnTo>
                    <a:pt x="330" y="1117"/>
                  </a:lnTo>
                  <a:lnTo>
                    <a:pt x="372" y="1121"/>
                  </a:lnTo>
                  <a:lnTo>
                    <a:pt x="411" y="1124"/>
                  </a:lnTo>
                  <a:lnTo>
                    <a:pt x="449" y="1125"/>
                  </a:lnTo>
                  <a:lnTo>
                    <a:pt x="491" y="1126"/>
                  </a:lnTo>
                  <a:lnTo>
                    <a:pt x="538" y="1126"/>
                  </a:lnTo>
                  <a:lnTo>
                    <a:pt x="592" y="1127"/>
                  </a:lnTo>
                  <a:lnTo>
                    <a:pt x="622" y="1128"/>
                  </a:lnTo>
                  <a:lnTo>
                    <a:pt x="647" y="1130"/>
                  </a:lnTo>
                  <a:lnTo>
                    <a:pt x="670" y="1134"/>
                  </a:lnTo>
                  <a:lnTo>
                    <a:pt x="688" y="1139"/>
                  </a:lnTo>
                  <a:lnTo>
                    <a:pt x="705" y="1145"/>
                  </a:lnTo>
                  <a:lnTo>
                    <a:pt x="720" y="1152"/>
                  </a:lnTo>
                  <a:lnTo>
                    <a:pt x="732" y="1160"/>
                  </a:lnTo>
                  <a:lnTo>
                    <a:pt x="744" y="1170"/>
                  </a:lnTo>
                  <a:lnTo>
                    <a:pt x="752" y="1179"/>
                  </a:lnTo>
                  <a:lnTo>
                    <a:pt x="758" y="1188"/>
                  </a:lnTo>
                  <a:lnTo>
                    <a:pt x="763" y="1197"/>
                  </a:lnTo>
                  <a:lnTo>
                    <a:pt x="767" y="1205"/>
                  </a:lnTo>
                  <a:lnTo>
                    <a:pt x="769" y="1212"/>
                  </a:lnTo>
                  <a:lnTo>
                    <a:pt x="770" y="1219"/>
                  </a:lnTo>
                  <a:lnTo>
                    <a:pt x="771" y="1225"/>
                  </a:lnTo>
                  <a:lnTo>
                    <a:pt x="771" y="1230"/>
                  </a:lnTo>
                  <a:lnTo>
                    <a:pt x="770" y="1240"/>
                  </a:lnTo>
                  <a:lnTo>
                    <a:pt x="769" y="1250"/>
                  </a:lnTo>
                  <a:lnTo>
                    <a:pt x="766" y="1259"/>
                  </a:lnTo>
                  <a:lnTo>
                    <a:pt x="762" y="1267"/>
                  </a:lnTo>
                  <a:lnTo>
                    <a:pt x="758" y="1275"/>
                  </a:lnTo>
                  <a:lnTo>
                    <a:pt x="753" y="1283"/>
                  </a:lnTo>
                  <a:lnTo>
                    <a:pt x="748" y="1290"/>
                  </a:lnTo>
                  <a:lnTo>
                    <a:pt x="742" y="1297"/>
                  </a:lnTo>
                  <a:lnTo>
                    <a:pt x="735" y="1303"/>
                  </a:lnTo>
                  <a:lnTo>
                    <a:pt x="728" y="1310"/>
                  </a:lnTo>
                  <a:lnTo>
                    <a:pt x="721" y="1316"/>
                  </a:lnTo>
                  <a:lnTo>
                    <a:pt x="712" y="1321"/>
                  </a:lnTo>
                  <a:lnTo>
                    <a:pt x="696" y="1330"/>
                  </a:lnTo>
                  <a:lnTo>
                    <a:pt x="678" y="1337"/>
                  </a:lnTo>
                  <a:lnTo>
                    <a:pt x="667" y="1341"/>
                  </a:lnTo>
                  <a:lnTo>
                    <a:pt x="655" y="1344"/>
                  </a:lnTo>
                  <a:lnTo>
                    <a:pt x="643" y="1346"/>
                  </a:lnTo>
                  <a:lnTo>
                    <a:pt x="631" y="1349"/>
                  </a:lnTo>
                  <a:lnTo>
                    <a:pt x="605" y="1352"/>
                  </a:lnTo>
                  <a:lnTo>
                    <a:pt x="582" y="1355"/>
                  </a:lnTo>
                  <a:lnTo>
                    <a:pt x="559" y="1356"/>
                  </a:lnTo>
                  <a:lnTo>
                    <a:pt x="541" y="1357"/>
                  </a:lnTo>
                  <a:lnTo>
                    <a:pt x="527" y="1357"/>
                  </a:lnTo>
                  <a:lnTo>
                    <a:pt x="519" y="1357"/>
                  </a:lnTo>
                  <a:lnTo>
                    <a:pt x="489" y="1357"/>
                  </a:lnTo>
                  <a:lnTo>
                    <a:pt x="461" y="1356"/>
                  </a:lnTo>
                  <a:lnTo>
                    <a:pt x="433" y="1354"/>
                  </a:lnTo>
                  <a:lnTo>
                    <a:pt x="408" y="1351"/>
                  </a:lnTo>
                  <a:lnTo>
                    <a:pt x="384" y="1348"/>
                  </a:lnTo>
                  <a:lnTo>
                    <a:pt x="362" y="1343"/>
                  </a:lnTo>
                  <a:lnTo>
                    <a:pt x="340" y="1339"/>
                  </a:lnTo>
                  <a:lnTo>
                    <a:pt x="321" y="1333"/>
                  </a:lnTo>
                  <a:lnTo>
                    <a:pt x="302" y="1327"/>
                  </a:lnTo>
                  <a:lnTo>
                    <a:pt x="286" y="1320"/>
                  </a:lnTo>
                  <a:lnTo>
                    <a:pt x="271" y="1312"/>
                  </a:lnTo>
                  <a:lnTo>
                    <a:pt x="258" y="1303"/>
                  </a:lnTo>
                  <a:lnTo>
                    <a:pt x="244" y="1294"/>
                  </a:lnTo>
                  <a:lnTo>
                    <a:pt x="233" y="1284"/>
                  </a:lnTo>
                  <a:lnTo>
                    <a:pt x="223" y="1273"/>
                  </a:lnTo>
                  <a:lnTo>
                    <a:pt x="215" y="1262"/>
                  </a:lnTo>
                  <a:lnTo>
                    <a:pt x="212" y="1258"/>
                  </a:lnTo>
                  <a:lnTo>
                    <a:pt x="208" y="1252"/>
                  </a:lnTo>
                  <a:lnTo>
                    <a:pt x="204" y="1244"/>
                  </a:lnTo>
                  <a:lnTo>
                    <a:pt x="199" y="1235"/>
                  </a:lnTo>
                  <a:lnTo>
                    <a:pt x="196" y="1225"/>
                  </a:lnTo>
                  <a:lnTo>
                    <a:pt x="193" y="1213"/>
                  </a:lnTo>
                  <a:lnTo>
                    <a:pt x="191" y="1201"/>
                  </a:lnTo>
                  <a:lnTo>
                    <a:pt x="190" y="1187"/>
                  </a:lnTo>
                  <a:lnTo>
                    <a:pt x="191" y="1173"/>
                  </a:lnTo>
                  <a:lnTo>
                    <a:pt x="193" y="1161"/>
                  </a:lnTo>
                  <a:lnTo>
                    <a:pt x="196" y="1150"/>
                  </a:lnTo>
                  <a:lnTo>
                    <a:pt x="201" y="1140"/>
                  </a:lnTo>
                  <a:lnTo>
                    <a:pt x="208" y="1130"/>
                  </a:lnTo>
                  <a:lnTo>
                    <a:pt x="215" y="1121"/>
                  </a:lnTo>
                  <a:lnTo>
                    <a:pt x="223" y="1111"/>
                  </a:lnTo>
                  <a:lnTo>
                    <a:pt x="232" y="1101"/>
                  </a:lnTo>
                  <a:close/>
                  <a:moveTo>
                    <a:pt x="299" y="443"/>
                  </a:moveTo>
                  <a:lnTo>
                    <a:pt x="301" y="434"/>
                  </a:lnTo>
                  <a:lnTo>
                    <a:pt x="303" y="424"/>
                  </a:lnTo>
                  <a:lnTo>
                    <a:pt x="307" y="413"/>
                  </a:lnTo>
                  <a:lnTo>
                    <a:pt x="311" y="401"/>
                  </a:lnTo>
                  <a:lnTo>
                    <a:pt x="316" y="389"/>
                  </a:lnTo>
                  <a:lnTo>
                    <a:pt x="323" y="378"/>
                  </a:lnTo>
                  <a:lnTo>
                    <a:pt x="330" y="366"/>
                  </a:lnTo>
                  <a:lnTo>
                    <a:pt x="339" y="355"/>
                  </a:lnTo>
                  <a:lnTo>
                    <a:pt x="350" y="343"/>
                  </a:lnTo>
                  <a:lnTo>
                    <a:pt x="363" y="334"/>
                  </a:lnTo>
                  <a:lnTo>
                    <a:pt x="376" y="325"/>
                  </a:lnTo>
                  <a:lnTo>
                    <a:pt x="392" y="317"/>
                  </a:lnTo>
                  <a:lnTo>
                    <a:pt x="400" y="313"/>
                  </a:lnTo>
                  <a:lnTo>
                    <a:pt x="410" y="310"/>
                  </a:lnTo>
                  <a:lnTo>
                    <a:pt x="420" y="308"/>
                  </a:lnTo>
                  <a:lnTo>
                    <a:pt x="430" y="306"/>
                  </a:lnTo>
                  <a:lnTo>
                    <a:pt x="440" y="304"/>
                  </a:lnTo>
                  <a:lnTo>
                    <a:pt x="451" y="302"/>
                  </a:lnTo>
                  <a:lnTo>
                    <a:pt x="464" y="302"/>
                  </a:lnTo>
                  <a:lnTo>
                    <a:pt x="476" y="301"/>
                  </a:lnTo>
                  <a:lnTo>
                    <a:pt x="488" y="302"/>
                  </a:lnTo>
                  <a:lnTo>
                    <a:pt x="501" y="302"/>
                  </a:lnTo>
                  <a:lnTo>
                    <a:pt x="513" y="304"/>
                  </a:lnTo>
                  <a:lnTo>
                    <a:pt x="524" y="305"/>
                  </a:lnTo>
                  <a:lnTo>
                    <a:pt x="543" y="310"/>
                  </a:lnTo>
                  <a:lnTo>
                    <a:pt x="561" y="315"/>
                  </a:lnTo>
                  <a:lnTo>
                    <a:pt x="575" y="322"/>
                  </a:lnTo>
                  <a:lnTo>
                    <a:pt x="587" y="328"/>
                  </a:lnTo>
                  <a:lnTo>
                    <a:pt x="597" y="335"/>
                  </a:lnTo>
                  <a:lnTo>
                    <a:pt x="605" y="342"/>
                  </a:lnTo>
                  <a:lnTo>
                    <a:pt x="614" y="349"/>
                  </a:lnTo>
                  <a:lnTo>
                    <a:pt x="621" y="358"/>
                  </a:lnTo>
                  <a:lnTo>
                    <a:pt x="627" y="366"/>
                  </a:lnTo>
                  <a:lnTo>
                    <a:pt x="633" y="375"/>
                  </a:lnTo>
                  <a:lnTo>
                    <a:pt x="638" y="383"/>
                  </a:lnTo>
                  <a:lnTo>
                    <a:pt x="642" y="392"/>
                  </a:lnTo>
                  <a:lnTo>
                    <a:pt x="645" y="401"/>
                  </a:lnTo>
                  <a:lnTo>
                    <a:pt x="648" y="410"/>
                  </a:lnTo>
                  <a:lnTo>
                    <a:pt x="652" y="426"/>
                  </a:lnTo>
                  <a:lnTo>
                    <a:pt x="654" y="441"/>
                  </a:lnTo>
                  <a:lnTo>
                    <a:pt x="655" y="454"/>
                  </a:lnTo>
                  <a:lnTo>
                    <a:pt x="655" y="464"/>
                  </a:lnTo>
                  <a:lnTo>
                    <a:pt x="655" y="476"/>
                  </a:lnTo>
                  <a:lnTo>
                    <a:pt x="654" y="489"/>
                  </a:lnTo>
                  <a:lnTo>
                    <a:pt x="651" y="502"/>
                  </a:lnTo>
                  <a:lnTo>
                    <a:pt x="648" y="515"/>
                  </a:lnTo>
                  <a:lnTo>
                    <a:pt x="644" y="530"/>
                  </a:lnTo>
                  <a:lnTo>
                    <a:pt x="638" y="543"/>
                  </a:lnTo>
                  <a:lnTo>
                    <a:pt x="631" y="556"/>
                  </a:lnTo>
                  <a:lnTo>
                    <a:pt x="622" y="568"/>
                  </a:lnTo>
                  <a:lnTo>
                    <a:pt x="610" y="581"/>
                  </a:lnTo>
                  <a:lnTo>
                    <a:pt x="598" y="592"/>
                  </a:lnTo>
                  <a:lnTo>
                    <a:pt x="591" y="597"/>
                  </a:lnTo>
                  <a:lnTo>
                    <a:pt x="584" y="602"/>
                  </a:lnTo>
                  <a:lnTo>
                    <a:pt x="576" y="606"/>
                  </a:lnTo>
                  <a:lnTo>
                    <a:pt x="567" y="610"/>
                  </a:lnTo>
                  <a:lnTo>
                    <a:pt x="557" y="614"/>
                  </a:lnTo>
                  <a:lnTo>
                    <a:pt x="548" y="617"/>
                  </a:lnTo>
                  <a:lnTo>
                    <a:pt x="538" y="620"/>
                  </a:lnTo>
                  <a:lnTo>
                    <a:pt x="527" y="622"/>
                  </a:lnTo>
                  <a:lnTo>
                    <a:pt x="516" y="624"/>
                  </a:lnTo>
                  <a:lnTo>
                    <a:pt x="503" y="626"/>
                  </a:lnTo>
                  <a:lnTo>
                    <a:pt x="491" y="626"/>
                  </a:lnTo>
                  <a:lnTo>
                    <a:pt x="478" y="627"/>
                  </a:lnTo>
                  <a:lnTo>
                    <a:pt x="463" y="626"/>
                  </a:lnTo>
                  <a:lnTo>
                    <a:pt x="447" y="625"/>
                  </a:lnTo>
                  <a:lnTo>
                    <a:pt x="433" y="623"/>
                  </a:lnTo>
                  <a:lnTo>
                    <a:pt x="420" y="620"/>
                  </a:lnTo>
                  <a:lnTo>
                    <a:pt x="406" y="616"/>
                  </a:lnTo>
                  <a:lnTo>
                    <a:pt x="393" y="611"/>
                  </a:lnTo>
                  <a:lnTo>
                    <a:pt x="381" y="606"/>
                  </a:lnTo>
                  <a:lnTo>
                    <a:pt x="370" y="599"/>
                  </a:lnTo>
                  <a:lnTo>
                    <a:pt x="359" y="592"/>
                  </a:lnTo>
                  <a:lnTo>
                    <a:pt x="348" y="584"/>
                  </a:lnTo>
                  <a:lnTo>
                    <a:pt x="338" y="574"/>
                  </a:lnTo>
                  <a:lnTo>
                    <a:pt x="330" y="564"/>
                  </a:lnTo>
                  <a:lnTo>
                    <a:pt x="322" y="554"/>
                  </a:lnTo>
                  <a:lnTo>
                    <a:pt x="316" y="542"/>
                  </a:lnTo>
                  <a:lnTo>
                    <a:pt x="310" y="530"/>
                  </a:lnTo>
                  <a:lnTo>
                    <a:pt x="304" y="516"/>
                  </a:lnTo>
                  <a:lnTo>
                    <a:pt x="301" y="504"/>
                  </a:lnTo>
                  <a:lnTo>
                    <a:pt x="299" y="494"/>
                  </a:lnTo>
                  <a:lnTo>
                    <a:pt x="298" y="483"/>
                  </a:lnTo>
                  <a:lnTo>
                    <a:pt x="298" y="474"/>
                  </a:lnTo>
                  <a:lnTo>
                    <a:pt x="297" y="464"/>
                  </a:lnTo>
                  <a:lnTo>
                    <a:pt x="298" y="456"/>
                  </a:lnTo>
                  <a:lnTo>
                    <a:pt x="298" y="449"/>
                  </a:lnTo>
                  <a:lnTo>
                    <a:pt x="299" y="443"/>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7" name="Freeform 27"/>
            <p:cNvSpPr>
              <a:spLocks noEditPoints="1"/>
            </p:cNvSpPr>
            <p:nvPr userDrawn="1"/>
          </p:nvSpPr>
          <p:spPr bwMode="auto">
            <a:xfrm>
              <a:off x="5808" y="362"/>
              <a:ext cx="43" cy="50"/>
            </a:xfrm>
            <a:custGeom>
              <a:avLst/>
              <a:gdLst>
                <a:gd name="T0" fmla="*/ 0 w 873"/>
                <a:gd name="T1" fmla="*/ 0 h 1017"/>
                <a:gd name="T2" fmla="*/ 0 w 873"/>
                <a:gd name="T3" fmla="*/ 0 h 1017"/>
                <a:gd name="T4" fmla="*/ 0 w 873"/>
                <a:gd name="T5" fmla="*/ 0 h 1017"/>
                <a:gd name="T6" fmla="*/ 0 w 873"/>
                <a:gd name="T7" fmla="*/ 0 h 1017"/>
                <a:gd name="T8" fmla="*/ 0 w 873"/>
                <a:gd name="T9" fmla="*/ 0 h 1017"/>
                <a:gd name="T10" fmla="*/ 0 w 873"/>
                <a:gd name="T11" fmla="*/ 0 h 1017"/>
                <a:gd name="T12" fmla="*/ 0 w 873"/>
                <a:gd name="T13" fmla="*/ 0 h 1017"/>
                <a:gd name="T14" fmla="*/ 0 w 873"/>
                <a:gd name="T15" fmla="*/ 0 h 1017"/>
                <a:gd name="T16" fmla="*/ 0 w 873"/>
                <a:gd name="T17" fmla="*/ 0 h 1017"/>
                <a:gd name="T18" fmla="*/ 0 w 873"/>
                <a:gd name="T19" fmla="*/ 0 h 1017"/>
                <a:gd name="T20" fmla="*/ 0 w 873"/>
                <a:gd name="T21" fmla="*/ 0 h 1017"/>
                <a:gd name="T22" fmla="*/ 0 w 873"/>
                <a:gd name="T23" fmla="*/ 0 h 1017"/>
                <a:gd name="T24" fmla="*/ 0 w 873"/>
                <a:gd name="T25" fmla="*/ 0 h 1017"/>
                <a:gd name="T26" fmla="*/ 0 w 873"/>
                <a:gd name="T27" fmla="*/ 0 h 1017"/>
                <a:gd name="T28" fmla="*/ 0 w 873"/>
                <a:gd name="T29" fmla="*/ 0 h 1017"/>
                <a:gd name="T30" fmla="*/ 0 w 873"/>
                <a:gd name="T31" fmla="*/ 0 h 1017"/>
                <a:gd name="T32" fmla="*/ 0 w 873"/>
                <a:gd name="T33" fmla="*/ 0 h 1017"/>
                <a:gd name="T34" fmla="*/ 0 w 873"/>
                <a:gd name="T35" fmla="*/ 0 h 1017"/>
                <a:gd name="T36" fmla="*/ 0 w 873"/>
                <a:gd name="T37" fmla="*/ 0 h 1017"/>
                <a:gd name="T38" fmla="*/ 0 w 873"/>
                <a:gd name="T39" fmla="*/ 0 h 1017"/>
                <a:gd name="T40" fmla="*/ 0 w 873"/>
                <a:gd name="T41" fmla="*/ 0 h 1017"/>
                <a:gd name="T42" fmla="*/ 0 w 873"/>
                <a:gd name="T43" fmla="*/ 0 h 1017"/>
                <a:gd name="T44" fmla="*/ 0 w 873"/>
                <a:gd name="T45" fmla="*/ 0 h 1017"/>
                <a:gd name="T46" fmla="*/ 0 w 873"/>
                <a:gd name="T47" fmla="*/ 0 h 1017"/>
                <a:gd name="T48" fmla="*/ 0 w 873"/>
                <a:gd name="T49" fmla="*/ 0 h 1017"/>
                <a:gd name="T50" fmla="*/ 0 w 873"/>
                <a:gd name="T51" fmla="*/ 0 h 1017"/>
                <a:gd name="T52" fmla="*/ 0 w 873"/>
                <a:gd name="T53" fmla="*/ 0 h 1017"/>
                <a:gd name="T54" fmla="*/ 0 w 873"/>
                <a:gd name="T55" fmla="*/ 0 h 1017"/>
                <a:gd name="T56" fmla="*/ 0 w 873"/>
                <a:gd name="T57" fmla="*/ 0 h 1017"/>
                <a:gd name="T58" fmla="*/ 0 w 873"/>
                <a:gd name="T59" fmla="*/ 0 h 1017"/>
                <a:gd name="T60" fmla="*/ 0 w 873"/>
                <a:gd name="T61" fmla="*/ 0 h 1017"/>
                <a:gd name="T62" fmla="*/ 0 w 873"/>
                <a:gd name="T63" fmla="*/ 0 h 1017"/>
                <a:gd name="T64" fmla="*/ 0 w 873"/>
                <a:gd name="T65" fmla="*/ 0 h 1017"/>
                <a:gd name="T66" fmla="*/ 0 w 873"/>
                <a:gd name="T67" fmla="*/ 0 h 1017"/>
                <a:gd name="T68" fmla="*/ 0 w 873"/>
                <a:gd name="T69" fmla="*/ 0 h 1017"/>
                <a:gd name="T70" fmla="*/ 0 w 873"/>
                <a:gd name="T71" fmla="*/ 0 h 1017"/>
                <a:gd name="T72" fmla="*/ 0 w 873"/>
                <a:gd name="T73" fmla="*/ 0 h 1017"/>
                <a:gd name="T74" fmla="*/ 0 w 873"/>
                <a:gd name="T75" fmla="*/ 0 h 1017"/>
                <a:gd name="T76" fmla="*/ 0 w 873"/>
                <a:gd name="T77" fmla="*/ 0 h 1017"/>
                <a:gd name="T78" fmla="*/ 0 w 873"/>
                <a:gd name="T79" fmla="*/ 0 h 1017"/>
                <a:gd name="T80" fmla="*/ 0 w 873"/>
                <a:gd name="T81" fmla="*/ 0 h 1017"/>
                <a:gd name="T82" fmla="*/ 0 w 873"/>
                <a:gd name="T83" fmla="*/ 0 h 1017"/>
                <a:gd name="T84" fmla="*/ 0 w 873"/>
                <a:gd name="T85" fmla="*/ 0 h 1017"/>
                <a:gd name="T86" fmla="*/ 0 w 873"/>
                <a:gd name="T87" fmla="*/ 0 h 1017"/>
                <a:gd name="T88" fmla="*/ 0 w 873"/>
                <a:gd name="T89" fmla="*/ 0 h 1017"/>
                <a:gd name="T90" fmla="*/ 0 w 873"/>
                <a:gd name="T91" fmla="*/ 0 h 1017"/>
                <a:gd name="T92" fmla="*/ 0 w 873"/>
                <a:gd name="T93" fmla="*/ 0 h 1017"/>
                <a:gd name="T94" fmla="*/ 0 w 873"/>
                <a:gd name="T95" fmla="*/ 0 h 1017"/>
                <a:gd name="T96" fmla="*/ 0 w 873"/>
                <a:gd name="T97" fmla="*/ 0 h 1017"/>
                <a:gd name="T98" fmla="*/ 0 w 873"/>
                <a:gd name="T99" fmla="*/ 0 h 1017"/>
                <a:gd name="T100" fmla="*/ 0 w 873"/>
                <a:gd name="T101" fmla="*/ 0 h 1017"/>
                <a:gd name="T102" fmla="*/ 0 w 873"/>
                <a:gd name="T103" fmla="*/ 0 h 1017"/>
                <a:gd name="T104" fmla="*/ 0 w 873"/>
                <a:gd name="T105" fmla="*/ 0 h 1017"/>
                <a:gd name="T106" fmla="*/ 0 w 873"/>
                <a:gd name="T107" fmla="*/ 0 h 1017"/>
                <a:gd name="T108" fmla="*/ 0 w 873"/>
                <a:gd name="T109" fmla="*/ 0 h 1017"/>
                <a:gd name="T110" fmla="*/ 0 w 873"/>
                <a:gd name="T111" fmla="*/ 0 h 1017"/>
                <a:gd name="T112" fmla="*/ 0 w 873"/>
                <a:gd name="T113" fmla="*/ 0 h 1017"/>
                <a:gd name="T114" fmla="*/ 0 w 873"/>
                <a:gd name="T115" fmla="*/ 0 h 1017"/>
                <a:gd name="T116" fmla="*/ 0 w 873"/>
                <a:gd name="T117" fmla="*/ 0 h 1017"/>
                <a:gd name="T118" fmla="*/ 0 w 873"/>
                <a:gd name="T119" fmla="*/ 0 h 1017"/>
                <a:gd name="T120" fmla="*/ 0 w 873"/>
                <a:gd name="T121" fmla="*/ 0 h 1017"/>
                <a:gd name="T122" fmla="*/ 0 w 873"/>
                <a:gd name="T123" fmla="*/ 0 h 1017"/>
                <a:gd name="T124" fmla="*/ 0 w 873"/>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3" h="1017">
                  <a:moveTo>
                    <a:pt x="873" y="537"/>
                  </a:moveTo>
                  <a:lnTo>
                    <a:pt x="873" y="509"/>
                  </a:lnTo>
                  <a:lnTo>
                    <a:pt x="872" y="481"/>
                  </a:lnTo>
                  <a:lnTo>
                    <a:pt x="871" y="451"/>
                  </a:lnTo>
                  <a:lnTo>
                    <a:pt x="869" y="423"/>
                  </a:lnTo>
                  <a:lnTo>
                    <a:pt x="867" y="394"/>
                  </a:lnTo>
                  <a:lnTo>
                    <a:pt x="863" y="366"/>
                  </a:lnTo>
                  <a:lnTo>
                    <a:pt x="857" y="338"/>
                  </a:lnTo>
                  <a:lnTo>
                    <a:pt x="851" y="311"/>
                  </a:lnTo>
                  <a:lnTo>
                    <a:pt x="848" y="301"/>
                  </a:lnTo>
                  <a:lnTo>
                    <a:pt x="844" y="287"/>
                  </a:lnTo>
                  <a:lnTo>
                    <a:pt x="839" y="273"/>
                  </a:lnTo>
                  <a:lnTo>
                    <a:pt x="833" y="256"/>
                  </a:lnTo>
                  <a:lnTo>
                    <a:pt x="825" y="238"/>
                  </a:lnTo>
                  <a:lnTo>
                    <a:pt x="815" y="219"/>
                  </a:lnTo>
                  <a:lnTo>
                    <a:pt x="803" y="199"/>
                  </a:lnTo>
                  <a:lnTo>
                    <a:pt x="790" y="178"/>
                  </a:lnTo>
                  <a:lnTo>
                    <a:pt x="779" y="163"/>
                  </a:lnTo>
                  <a:lnTo>
                    <a:pt x="769" y="150"/>
                  </a:lnTo>
                  <a:lnTo>
                    <a:pt x="757" y="137"/>
                  </a:lnTo>
                  <a:lnTo>
                    <a:pt x="746" y="124"/>
                  </a:lnTo>
                  <a:lnTo>
                    <a:pt x="734" y="112"/>
                  </a:lnTo>
                  <a:lnTo>
                    <a:pt x="723" y="102"/>
                  </a:lnTo>
                  <a:lnTo>
                    <a:pt x="711" y="92"/>
                  </a:lnTo>
                  <a:lnTo>
                    <a:pt x="699" y="82"/>
                  </a:lnTo>
                  <a:lnTo>
                    <a:pt x="687" y="74"/>
                  </a:lnTo>
                  <a:lnTo>
                    <a:pt x="675" y="65"/>
                  </a:lnTo>
                  <a:lnTo>
                    <a:pt x="663" y="57"/>
                  </a:lnTo>
                  <a:lnTo>
                    <a:pt x="650" y="51"/>
                  </a:lnTo>
                  <a:lnTo>
                    <a:pt x="626" y="39"/>
                  </a:lnTo>
                  <a:lnTo>
                    <a:pt x="601" y="29"/>
                  </a:lnTo>
                  <a:lnTo>
                    <a:pt x="578" y="21"/>
                  </a:lnTo>
                  <a:lnTo>
                    <a:pt x="555" y="13"/>
                  </a:lnTo>
                  <a:lnTo>
                    <a:pt x="533" y="8"/>
                  </a:lnTo>
                  <a:lnTo>
                    <a:pt x="512" y="5"/>
                  </a:lnTo>
                  <a:lnTo>
                    <a:pt x="492" y="2"/>
                  </a:lnTo>
                  <a:lnTo>
                    <a:pt x="475" y="1"/>
                  </a:lnTo>
                  <a:lnTo>
                    <a:pt x="459" y="0"/>
                  </a:lnTo>
                  <a:lnTo>
                    <a:pt x="444" y="0"/>
                  </a:lnTo>
                  <a:lnTo>
                    <a:pt x="426" y="0"/>
                  </a:lnTo>
                  <a:lnTo>
                    <a:pt x="408" y="1"/>
                  </a:lnTo>
                  <a:lnTo>
                    <a:pt x="389" y="3"/>
                  </a:lnTo>
                  <a:lnTo>
                    <a:pt x="371" y="5"/>
                  </a:lnTo>
                  <a:lnTo>
                    <a:pt x="354" y="8"/>
                  </a:lnTo>
                  <a:lnTo>
                    <a:pt x="336" y="12"/>
                  </a:lnTo>
                  <a:lnTo>
                    <a:pt x="320" y="17"/>
                  </a:lnTo>
                  <a:lnTo>
                    <a:pt x="304" y="22"/>
                  </a:lnTo>
                  <a:lnTo>
                    <a:pt x="287" y="28"/>
                  </a:lnTo>
                  <a:lnTo>
                    <a:pt x="271" y="34"/>
                  </a:lnTo>
                  <a:lnTo>
                    <a:pt x="256" y="41"/>
                  </a:lnTo>
                  <a:lnTo>
                    <a:pt x="240" y="48"/>
                  </a:lnTo>
                  <a:lnTo>
                    <a:pt x="225" y="56"/>
                  </a:lnTo>
                  <a:lnTo>
                    <a:pt x="211" y="65"/>
                  </a:lnTo>
                  <a:lnTo>
                    <a:pt x="196" y="75"/>
                  </a:lnTo>
                  <a:lnTo>
                    <a:pt x="183" y="84"/>
                  </a:lnTo>
                  <a:lnTo>
                    <a:pt x="170" y="95"/>
                  </a:lnTo>
                  <a:lnTo>
                    <a:pt x="158" y="105"/>
                  </a:lnTo>
                  <a:lnTo>
                    <a:pt x="144" y="117"/>
                  </a:lnTo>
                  <a:lnTo>
                    <a:pt x="133" y="129"/>
                  </a:lnTo>
                  <a:lnTo>
                    <a:pt x="122" y="142"/>
                  </a:lnTo>
                  <a:lnTo>
                    <a:pt x="111" y="154"/>
                  </a:lnTo>
                  <a:lnTo>
                    <a:pt x="100" y="168"/>
                  </a:lnTo>
                  <a:lnTo>
                    <a:pt x="90" y="181"/>
                  </a:lnTo>
                  <a:lnTo>
                    <a:pt x="80" y="196"/>
                  </a:lnTo>
                  <a:lnTo>
                    <a:pt x="71" y="211"/>
                  </a:lnTo>
                  <a:lnTo>
                    <a:pt x="63" y="226"/>
                  </a:lnTo>
                  <a:lnTo>
                    <a:pt x="55" y="242"/>
                  </a:lnTo>
                  <a:lnTo>
                    <a:pt x="48" y="258"/>
                  </a:lnTo>
                  <a:lnTo>
                    <a:pt x="40" y="275"/>
                  </a:lnTo>
                  <a:lnTo>
                    <a:pt x="33" y="291"/>
                  </a:lnTo>
                  <a:lnTo>
                    <a:pt x="28" y="309"/>
                  </a:lnTo>
                  <a:lnTo>
                    <a:pt x="19" y="341"/>
                  </a:lnTo>
                  <a:lnTo>
                    <a:pt x="12" y="373"/>
                  </a:lnTo>
                  <a:lnTo>
                    <a:pt x="7" y="402"/>
                  </a:lnTo>
                  <a:lnTo>
                    <a:pt x="4" y="431"/>
                  </a:lnTo>
                  <a:lnTo>
                    <a:pt x="2" y="456"/>
                  </a:lnTo>
                  <a:lnTo>
                    <a:pt x="1" y="478"/>
                  </a:lnTo>
                  <a:lnTo>
                    <a:pt x="0" y="497"/>
                  </a:lnTo>
                  <a:lnTo>
                    <a:pt x="0" y="511"/>
                  </a:lnTo>
                  <a:lnTo>
                    <a:pt x="0" y="536"/>
                  </a:lnTo>
                  <a:lnTo>
                    <a:pt x="1" y="560"/>
                  </a:lnTo>
                  <a:lnTo>
                    <a:pt x="3" y="584"/>
                  </a:lnTo>
                  <a:lnTo>
                    <a:pt x="5" y="606"/>
                  </a:lnTo>
                  <a:lnTo>
                    <a:pt x="7" y="627"/>
                  </a:lnTo>
                  <a:lnTo>
                    <a:pt x="11" y="648"/>
                  </a:lnTo>
                  <a:lnTo>
                    <a:pt x="14" y="668"/>
                  </a:lnTo>
                  <a:lnTo>
                    <a:pt x="18" y="688"/>
                  </a:lnTo>
                  <a:lnTo>
                    <a:pt x="23" y="706"/>
                  </a:lnTo>
                  <a:lnTo>
                    <a:pt x="28" y="723"/>
                  </a:lnTo>
                  <a:lnTo>
                    <a:pt x="33" y="739"/>
                  </a:lnTo>
                  <a:lnTo>
                    <a:pt x="39" y="756"/>
                  </a:lnTo>
                  <a:lnTo>
                    <a:pt x="45" y="771"/>
                  </a:lnTo>
                  <a:lnTo>
                    <a:pt x="53" y="786"/>
                  </a:lnTo>
                  <a:lnTo>
                    <a:pt x="60" y="801"/>
                  </a:lnTo>
                  <a:lnTo>
                    <a:pt x="67" y="814"/>
                  </a:lnTo>
                  <a:lnTo>
                    <a:pt x="75" y="827"/>
                  </a:lnTo>
                  <a:lnTo>
                    <a:pt x="82" y="839"/>
                  </a:lnTo>
                  <a:lnTo>
                    <a:pt x="90" y="850"/>
                  </a:lnTo>
                  <a:lnTo>
                    <a:pt x="100" y="862"/>
                  </a:lnTo>
                  <a:lnTo>
                    <a:pt x="117" y="882"/>
                  </a:lnTo>
                  <a:lnTo>
                    <a:pt x="135" y="900"/>
                  </a:lnTo>
                  <a:lnTo>
                    <a:pt x="154" y="918"/>
                  </a:lnTo>
                  <a:lnTo>
                    <a:pt x="173" y="932"/>
                  </a:lnTo>
                  <a:lnTo>
                    <a:pt x="192" y="945"/>
                  </a:lnTo>
                  <a:lnTo>
                    <a:pt x="212" y="957"/>
                  </a:lnTo>
                  <a:lnTo>
                    <a:pt x="229" y="967"/>
                  </a:lnTo>
                  <a:lnTo>
                    <a:pt x="246" y="976"/>
                  </a:lnTo>
                  <a:lnTo>
                    <a:pt x="264" y="983"/>
                  </a:lnTo>
                  <a:lnTo>
                    <a:pt x="281" y="990"/>
                  </a:lnTo>
                  <a:lnTo>
                    <a:pt x="297" y="995"/>
                  </a:lnTo>
                  <a:lnTo>
                    <a:pt x="314" y="1000"/>
                  </a:lnTo>
                  <a:lnTo>
                    <a:pt x="329" y="1004"/>
                  </a:lnTo>
                  <a:lnTo>
                    <a:pt x="344" y="1007"/>
                  </a:lnTo>
                  <a:lnTo>
                    <a:pt x="372" y="1012"/>
                  </a:lnTo>
                  <a:lnTo>
                    <a:pt x="397" y="1015"/>
                  </a:lnTo>
                  <a:lnTo>
                    <a:pt x="419" y="1016"/>
                  </a:lnTo>
                  <a:lnTo>
                    <a:pt x="437" y="1017"/>
                  </a:lnTo>
                  <a:lnTo>
                    <a:pt x="464" y="1016"/>
                  </a:lnTo>
                  <a:lnTo>
                    <a:pt x="490" y="1014"/>
                  </a:lnTo>
                  <a:lnTo>
                    <a:pt x="516" y="1010"/>
                  </a:lnTo>
                  <a:lnTo>
                    <a:pt x="542" y="1005"/>
                  </a:lnTo>
                  <a:lnTo>
                    <a:pt x="568" y="999"/>
                  </a:lnTo>
                  <a:lnTo>
                    <a:pt x="592" y="991"/>
                  </a:lnTo>
                  <a:lnTo>
                    <a:pt x="617" y="982"/>
                  </a:lnTo>
                  <a:lnTo>
                    <a:pt x="640" y="972"/>
                  </a:lnTo>
                  <a:lnTo>
                    <a:pt x="664" y="959"/>
                  </a:lnTo>
                  <a:lnTo>
                    <a:pt x="685" y="946"/>
                  </a:lnTo>
                  <a:lnTo>
                    <a:pt x="706" y="932"/>
                  </a:lnTo>
                  <a:lnTo>
                    <a:pt x="727" y="916"/>
                  </a:lnTo>
                  <a:lnTo>
                    <a:pt x="746" y="898"/>
                  </a:lnTo>
                  <a:lnTo>
                    <a:pt x="765" y="880"/>
                  </a:lnTo>
                  <a:lnTo>
                    <a:pt x="782" y="861"/>
                  </a:lnTo>
                  <a:lnTo>
                    <a:pt x="797" y="839"/>
                  </a:lnTo>
                  <a:lnTo>
                    <a:pt x="808" y="821"/>
                  </a:lnTo>
                  <a:lnTo>
                    <a:pt x="820" y="802"/>
                  </a:lnTo>
                  <a:lnTo>
                    <a:pt x="830" y="783"/>
                  </a:lnTo>
                  <a:lnTo>
                    <a:pt x="839" y="765"/>
                  </a:lnTo>
                  <a:lnTo>
                    <a:pt x="847" y="748"/>
                  </a:lnTo>
                  <a:lnTo>
                    <a:pt x="853" y="733"/>
                  </a:lnTo>
                  <a:lnTo>
                    <a:pt x="858" y="722"/>
                  </a:lnTo>
                  <a:lnTo>
                    <a:pt x="861" y="715"/>
                  </a:lnTo>
                  <a:lnTo>
                    <a:pt x="661" y="683"/>
                  </a:lnTo>
                  <a:lnTo>
                    <a:pt x="657" y="692"/>
                  </a:lnTo>
                  <a:lnTo>
                    <a:pt x="654" y="700"/>
                  </a:lnTo>
                  <a:lnTo>
                    <a:pt x="651" y="708"/>
                  </a:lnTo>
                  <a:lnTo>
                    <a:pt x="648" y="715"/>
                  </a:lnTo>
                  <a:lnTo>
                    <a:pt x="645" y="723"/>
                  </a:lnTo>
                  <a:lnTo>
                    <a:pt x="641" y="730"/>
                  </a:lnTo>
                  <a:lnTo>
                    <a:pt x="637" y="737"/>
                  </a:lnTo>
                  <a:lnTo>
                    <a:pt x="632" y="746"/>
                  </a:lnTo>
                  <a:lnTo>
                    <a:pt x="624" y="757"/>
                  </a:lnTo>
                  <a:lnTo>
                    <a:pt x="616" y="767"/>
                  </a:lnTo>
                  <a:lnTo>
                    <a:pt x="606" y="776"/>
                  </a:lnTo>
                  <a:lnTo>
                    <a:pt x="596" y="786"/>
                  </a:lnTo>
                  <a:lnTo>
                    <a:pt x="586" y="794"/>
                  </a:lnTo>
                  <a:lnTo>
                    <a:pt x="575" y="803"/>
                  </a:lnTo>
                  <a:lnTo>
                    <a:pt x="564" y="810"/>
                  </a:lnTo>
                  <a:lnTo>
                    <a:pt x="552" y="817"/>
                  </a:lnTo>
                  <a:lnTo>
                    <a:pt x="540" y="823"/>
                  </a:lnTo>
                  <a:lnTo>
                    <a:pt x="528" y="828"/>
                  </a:lnTo>
                  <a:lnTo>
                    <a:pt x="516" y="832"/>
                  </a:lnTo>
                  <a:lnTo>
                    <a:pt x="502" y="836"/>
                  </a:lnTo>
                  <a:lnTo>
                    <a:pt x="490" y="839"/>
                  </a:lnTo>
                  <a:lnTo>
                    <a:pt x="477" y="841"/>
                  </a:lnTo>
                  <a:lnTo>
                    <a:pt x="464" y="842"/>
                  </a:lnTo>
                  <a:lnTo>
                    <a:pt x="450" y="842"/>
                  </a:lnTo>
                  <a:lnTo>
                    <a:pt x="439" y="842"/>
                  </a:lnTo>
                  <a:lnTo>
                    <a:pt x="426" y="841"/>
                  </a:lnTo>
                  <a:lnTo>
                    <a:pt x="412" y="839"/>
                  </a:lnTo>
                  <a:lnTo>
                    <a:pt x="395" y="835"/>
                  </a:lnTo>
                  <a:lnTo>
                    <a:pt x="387" y="833"/>
                  </a:lnTo>
                  <a:lnTo>
                    <a:pt x="379" y="829"/>
                  </a:lnTo>
                  <a:lnTo>
                    <a:pt x="370" y="826"/>
                  </a:lnTo>
                  <a:lnTo>
                    <a:pt x="362" y="821"/>
                  </a:lnTo>
                  <a:lnTo>
                    <a:pt x="353" y="816"/>
                  </a:lnTo>
                  <a:lnTo>
                    <a:pt x="343" y="810"/>
                  </a:lnTo>
                  <a:lnTo>
                    <a:pt x="334" y="803"/>
                  </a:lnTo>
                  <a:lnTo>
                    <a:pt x="325" y="794"/>
                  </a:lnTo>
                  <a:lnTo>
                    <a:pt x="311" y="781"/>
                  </a:lnTo>
                  <a:lnTo>
                    <a:pt x="297" y="767"/>
                  </a:lnTo>
                  <a:lnTo>
                    <a:pt x="286" y="753"/>
                  </a:lnTo>
                  <a:lnTo>
                    <a:pt x="277" y="737"/>
                  </a:lnTo>
                  <a:lnTo>
                    <a:pt x="269" y="723"/>
                  </a:lnTo>
                  <a:lnTo>
                    <a:pt x="262" y="708"/>
                  </a:lnTo>
                  <a:lnTo>
                    <a:pt x="256" y="694"/>
                  </a:lnTo>
                  <a:lnTo>
                    <a:pt x="251" y="679"/>
                  </a:lnTo>
                  <a:lnTo>
                    <a:pt x="246" y="666"/>
                  </a:lnTo>
                  <a:lnTo>
                    <a:pt x="243" y="653"/>
                  </a:lnTo>
                  <a:lnTo>
                    <a:pt x="240" y="641"/>
                  </a:lnTo>
                  <a:lnTo>
                    <a:pt x="238" y="629"/>
                  </a:lnTo>
                  <a:lnTo>
                    <a:pt x="236" y="609"/>
                  </a:lnTo>
                  <a:lnTo>
                    <a:pt x="234" y="594"/>
                  </a:lnTo>
                  <a:lnTo>
                    <a:pt x="233" y="587"/>
                  </a:lnTo>
                  <a:lnTo>
                    <a:pt x="233" y="580"/>
                  </a:lnTo>
                  <a:lnTo>
                    <a:pt x="232" y="572"/>
                  </a:lnTo>
                  <a:lnTo>
                    <a:pt x="232" y="565"/>
                  </a:lnTo>
                  <a:lnTo>
                    <a:pt x="231" y="559"/>
                  </a:lnTo>
                  <a:lnTo>
                    <a:pt x="231" y="552"/>
                  </a:lnTo>
                  <a:lnTo>
                    <a:pt x="230" y="546"/>
                  </a:lnTo>
                  <a:lnTo>
                    <a:pt x="230" y="540"/>
                  </a:lnTo>
                  <a:lnTo>
                    <a:pt x="873" y="537"/>
                  </a:lnTo>
                  <a:close/>
                  <a:moveTo>
                    <a:pt x="225" y="397"/>
                  </a:moveTo>
                  <a:lnTo>
                    <a:pt x="227" y="380"/>
                  </a:lnTo>
                  <a:lnTo>
                    <a:pt x="229" y="365"/>
                  </a:lnTo>
                  <a:lnTo>
                    <a:pt x="231" y="353"/>
                  </a:lnTo>
                  <a:lnTo>
                    <a:pt x="233" y="342"/>
                  </a:lnTo>
                  <a:lnTo>
                    <a:pt x="235" y="332"/>
                  </a:lnTo>
                  <a:lnTo>
                    <a:pt x="238" y="323"/>
                  </a:lnTo>
                  <a:lnTo>
                    <a:pt x="241" y="315"/>
                  </a:lnTo>
                  <a:lnTo>
                    <a:pt x="245" y="306"/>
                  </a:lnTo>
                  <a:lnTo>
                    <a:pt x="252" y="290"/>
                  </a:lnTo>
                  <a:lnTo>
                    <a:pt x="258" y="277"/>
                  </a:lnTo>
                  <a:lnTo>
                    <a:pt x="265" y="265"/>
                  </a:lnTo>
                  <a:lnTo>
                    <a:pt x="272" y="253"/>
                  </a:lnTo>
                  <a:lnTo>
                    <a:pt x="280" y="243"/>
                  </a:lnTo>
                  <a:lnTo>
                    <a:pt x="288" y="232"/>
                  </a:lnTo>
                  <a:lnTo>
                    <a:pt x="296" y="223"/>
                  </a:lnTo>
                  <a:lnTo>
                    <a:pt x="305" y="215"/>
                  </a:lnTo>
                  <a:lnTo>
                    <a:pt x="321" y="201"/>
                  </a:lnTo>
                  <a:lnTo>
                    <a:pt x="337" y="190"/>
                  </a:lnTo>
                  <a:lnTo>
                    <a:pt x="351" y="180"/>
                  </a:lnTo>
                  <a:lnTo>
                    <a:pt x="364" y="174"/>
                  </a:lnTo>
                  <a:lnTo>
                    <a:pt x="369" y="171"/>
                  </a:lnTo>
                  <a:lnTo>
                    <a:pt x="376" y="168"/>
                  </a:lnTo>
                  <a:lnTo>
                    <a:pt x="384" y="165"/>
                  </a:lnTo>
                  <a:lnTo>
                    <a:pt x="393" y="162"/>
                  </a:lnTo>
                  <a:lnTo>
                    <a:pt x="404" y="160"/>
                  </a:lnTo>
                  <a:lnTo>
                    <a:pt x="415" y="157"/>
                  </a:lnTo>
                  <a:lnTo>
                    <a:pt x="428" y="156"/>
                  </a:lnTo>
                  <a:lnTo>
                    <a:pt x="441" y="155"/>
                  </a:lnTo>
                  <a:lnTo>
                    <a:pt x="450" y="155"/>
                  </a:lnTo>
                  <a:lnTo>
                    <a:pt x="462" y="156"/>
                  </a:lnTo>
                  <a:lnTo>
                    <a:pt x="474" y="158"/>
                  </a:lnTo>
                  <a:lnTo>
                    <a:pt x="488" y="162"/>
                  </a:lnTo>
                  <a:lnTo>
                    <a:pt x="503" y="167"/>
                  </a:lnTo>
                  <a:lnTo>
                    <a:pt x="520" y="174"/>
                  </a:lnTo>
                  <a:lnTo>
                    <a:pt x="537" y="185"/>
                  </a:lnTo>
                  <a:lnTo>
                    <a:pt x="555" y="197"/>
                  </a:lnTo>
                  <a:lnTo>
                    <a:pt x="568" y="207"/>
                  </a:lnTo>
                  <a:lnTo>
                    <a:pt x="579" y="217"/>
                  </a:lnTo>
                  <a:lnTo>
                    <a:pt x="589" y="227"/>
                  </a:lnTo>
                  <a:lnTo>
                    <a:pt x="598" y="238"/>
                  </a:lnTo>
                  <a:lnTo>
                    <a:pt x="606" y="250"/>
                  </a:lnTo>
                  <a:lnTo>
                    <a:pt x="614" y="261"/>
                  </a:lnTo>
                  <a:lnTo>
                    <a:pt x="620" y="273"/>
                  </a:lnTo>
                  <a:lnTo>
                    <a:pt x="626" y="285"/>
                  </a:lnTo>
                  <a:lnTo>
                    <a:pt x="631" y="299"/>
                  </a:lnTo>
                  <a:lnTo>
                    <a:pt x="635" y="311"/>
                  </a:lnTo>
                  <a:lnTo>
                    <a:pt x="639" y="324"/>
                  </a:lnTo>
                  <a:lnTo>
                    <a:pt x="642" y="338"/>
                  </a:lnTo>
                  <a:lnTo>
                    <a:pt x="647" y="367"/>
                  </a:lnTo>
                  <a:lnTo>
                    <a:pt x="652" y="397"/>
                  </a:lnTo>
                  <a:lnTo>
                    <a:pt x="225" y="397"/>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8" name="Freeform 28"/>
            <p:cNvSpPr>
              <a:spLocks/>
            </p:cNvSpPr>
            <p:nvPr userDrawn="1"/>
          </p:nvSpPr>
          <p:spPr bwMode="auto">
            <a:xfrm>
              <a:off x="5861" y="361"/>
              <a:ext cx="40" cy="50"/>
            </a:xfrm>
            <a:custGeom>
              <a:avLst/>
              <a:gdLst>
                <a:gd name="T0" fmla="*/ 0 w 798"/>
                <a:gd name="T1" fmla="*/ 0 h 1000"/>
                <a:gd name="T2" fmla="*/ 0 w 798"/>
                <a:gd name="T3" fmla="*/ 0 h 1000"/>
                <a:gd name="T4" fmla="*/ 0 w 798"/>
                <a:gd name="T5" fmla="*/ 0 h 1000"/>
                <a:gd name="T6" fmla="*/ 0 w 798"/>
                <a:gd name="T7" fmla="*/ 0 h 1000"/>
                <a:gd name="T8" fmla="*/ 0 w 798"/>
                <a:gd name="T9" fmla="*/ 0 h 1000"/>
                <a:gd name="T10" fmla="*/ 0 w 798"/>
                <a:gd name="T11" fmla="*/ 0 h 1000"/>
                <a:gd name="T12" fmla="*/ 0 w 798"/>
                <a:gd name="T13" fmla="*/ 0 h 1000"/>
                <a:gd name="T14" fmla="*/ 0 w 798"/>
                <a:gd name="T15" fmla="*/ 0 h 1000"/>
                <a:gd name="T16" fmla="*/ 0 w 798"/>
                <a:gd name="T17" fmla="*/ 0 h 1000"/>
                <a:gd name="T18" fmla="*/ 0 w 798"/>
                <a:gd name="T19" fmla="*/ 0 h 1000"/>
                <a:gd name="T20" fmla="*/ 0 w 798"/>
                <a:gd name="T21" fmla="*/ 0 h 1000"/>
                <a:gd name="T22" fmla="*/ 0 w 798"/>
                <a:gd name="T23" fmla="*/ 0 h 1000"/>
                <a:gd name="T24" fmla="*/ 0 w 798"/>
                <a:gd name="T25" fmla="*/ 0 h 1000"/>
                <a:gd name="T26" fmla="*/ 0 w 798"/>
                <a:gd name="T27" fmla="*/ 0 h 1000"/>
                <a:gd name="T28" fmla="*/ 0 w 798"/>
                <a:gd name="T29" fmla="*/ 0 h 1000"/>
                <a:gd name="T30" fmla="*/ 0 w 798"/>
                <a:gd name="T31" fmla="*/ 0 h 1000"/>
                <a:gd name="T32" fmla="*/ 0 w 798"/>
                <a:gd name="T33" fmla="*/ 0 h 1000"/>
                <a:gd name="T34" fmla="*/ 0 w 798"/>
                <a:gd name="T35" fmla="*/ 0 h 1000"/>
                <a:gd name="T36" fmla="*/ 0 w 798"/>
                <a:gd name="T37" fmla="*/ 0 h 1000"/>
                <a:gd name="T38" fmla="*/ 0 w 798"/>
                <a:gd name="T39" fmla="*/ 0 h 1000"/>
                <a:gd name="T40" fmla="*/ 0 w 798"/>
                <a:gd name="T41" fmla="*/ 0 h 1000"/>
                <a:gd name="T42" fmla="*/ 0 w 798"/>
                <a:gd name="T43" fmla="*/ 0 h 1000"/>
                <a:gd name="T44" fmla="*/ 0 w 798"/>
                <a:gd name="T45" fmla="*/ 0 h 1000"/>
                <a:gd name="T46" fmla="*/ 0 w 798"/>
                <a:gd name="T47" fmla="*/ 0 h 1000"/>
                <a:gd name="T48" fmla="*/ 0 w 798"/>
                <a:gd name="T49" fmla="*/ 0 h 1000"/>
                <a:gd name="T50" fmla="*/ 0 w 798"/>
                <a:gd name="T51" fmla="*/ 0 h 1000"/>
                <a:gd name="T52" fmla="*/ 0 w 798"/>
                <a:gd name="T53" fmla="*/ 0 h 1000"/>
                <a:gd name="T54" fmla="*/ 0 w 798"/>
                <a:gd name="T55" fmla="*/ 0 h 1000"/>
                <a:gd name="T56" fmla="*/ 0 w 798"/>
                <a:gd name="T57" fmla="*/ 0 h 1000"/>
                <a:gd name="T58" fmla="*/ 0 w 798"/>
                <a:gd name="T59" fmla="*/ 0 h 1000"/>
                <a:gd name="T60" fmla="*/ 0 w 798"/>
                <a:gd name="T61" fmla="*/ 0 h 1000"/>
                <a:gd name="T62" fmla="*/ 0 w 798"/>
                <a:gd name="T63" fmla="*/ 0 h 1000"/>
                <a:gd name="T64" fmla="*/ 0 w 798"/>
                <a:gd name="T65" fmla="*/ 0 h 1000"/>
                <a:gd name="T66" fmla="*/ 0 w 798"/>
                <a:gd name="T67" fmla="*/ 0 h 1000"/>
                <a:gd name="T68" fmla="*/ 0 w 798"/>
                <a:gd name="T69" fmla="*/ 0 h 1000"/>
                <a:gd name="T70" fmla="*/ 0 w 798"/>
                <a:gd name="T71" fmla="*/ 0 h 1000"/>
                <a:gd name="T72" fmla="*/ 0 w 798"/>
                <a:gd name="T73" fmla="*/ 0 h 1000"/>
                <a:gd name="T74" fmla="*/ 0 w 798"/>
                <a:gd name="T75" fmla="*/ 0 h 1000"/>
                <a:gd name="T76" fmla="*/ 0 w 798"/>
                <a:gd name="T77" fmla="*/ 0 h 1000"/>
                <a:gd name="T78" fmla="*/ 0 w 798"/>
                <a:gd name="T79" fmla="*/ 0 h 1000"/>
                <a:gd name="T80" fmla="*/ 0 w 798"/>
                <a:gd name="T81" fmla="*/ 0 h 1000"/>
                <a:gd name="T82" fmla="*/ 0 w 798"/>
                <a:gd name="T83" fmla="*/ 0 h 1000"/>
                <a:gd name="T84" fmla="*/ 0 w 798"/>
                <a:gd name="T85" fmla="*/ 0 h 1000"/>
                <a:gd name="T86" fmla="*/ 0 w 798"/>
                <a:gd name="T87" fmla="*/ 0 h 1000"/>
                <a:gd name="T88" fmla="*/ 0 w 798"/>
                <a:gd name="T89" fmla="*/ 0 h 1000"/>
                <a:gd name="T90" fmla="*/ 0 w 798"/>
                <a:gd name="T91" fmla="*/ 0 h 1000"/>
                <a:gd name="T92" fmla="*/ 0 w 798"/>
                <a:gd name="T93" fmla="*/ 0 h 1000"/>
                <a:gd name="T94" fmla="*/ 0 w 798"/>
                <a:gd name="T95" fmla="*/ 0 h 1000"/>
                <a:gd name="T96" fmla="*/ 0 w 798"/>
                <a:gd name="T97" fmla="*/ 0 h 1000"/>
                <a:gd name="T98" fmla="*/ 0 w 798"/>
                <a:gd name="T99" fmla="*/ 0 h 1000"/>
                <a:gd name="T100" fmla="*/ 0 w 798"/>
                <a:gd name="T101" fmla="*/ 0 h 1000"/>
                <a:gd name="T102" fmla="*/ 0 w 798"/>
                <a:gd name="T103" fmla="*/ 0 h 1000"/>
                <a:gd name="T104" fmla="*/ 0 w 798"/>
                <a:gd name="T105" fmla="*/ 0 h 1000"/>
                <a:gd name="T106" fmla="*/ 0 w 798"/>
                <a:gd name="T107" fmla="*/ 0 h 1000"/>
                <a:gd name="T108" fmla="*/ 0 w 798"/>
                <a:gd name="T109" fmla="*/ 0 h 10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98" h="1000">
                  <a:moveTo>
                    <a:pt x="0" y="23"/>
                  </a:moveTo>
                  <a:lnTo>
                    <a:pt x="0" y="993"/>
                  </a:lnTo>
                  <a:lnTo>
                    <a:pt x="220" y="1000"/>
                  </a:lnTo>
                  <a:lnTo>
                    <a:pt x="220" y="483"/>
                  </a:lnTo>
                  <a:lnTo>
                    <a:pt x="222" y="446"/>
                  </a:lnTo>
                  <a:lnTo>
                    <a:pt x="225" y="410"/>
                  </a:lnTo>
                  <a:lnTo>
                    <a:pt x="228" y="391"/>
                  </a:lnTo>
                  <a:lnTo>
                    <a:pt x="231" y="374"/>
                  </a:lnTo>
                  <a:lnTo>
                    <a:pt x="234" y="358"/>
                  </a:lnTo>
                  <a:lnTo>
                    <a:pt x="239" y="340"/>
                  </a:lnTo>
                  <a:lnTo>
                    <a:pt x="244" y="324"/>
                  </a:lnTo>
                  <a:lnTo>
                    <a:pt x="251" y="309"/>
                  </a:lnTo>
                  <a:lnTo>
                    <a:pt x="259" y="293"/>
                  </a:lnTo>
                  <a:lnTo>
                    <a:pt x="268" y="278"/>
                  </a:lnTo>
                  <a:lnTo>
                    <a:pt x="278" y="264"/>
                  </a:lnTo>
                  <a:lnTo>
                    <a:pt x="290" y="251"/>
                  </a:lnTo>
                  <a:lnTo>
                    <a:pt x="303" y="237"/>
                  </a:lnTo>
                  <a:lnTo>
                    <a:pt x="319" y="225"/>
                  </a:lnTo>
                  <a:lnTo>
                    <a:pt x="328" y="218"/>
                  </a:lnTo>
                  <a:lnTo>
                    <a:pt x="336" y="212"/>
                  </a:lnTo>
                  <a:lnTo>
                    <a:pt x="344" y="207"/>
                  </a:lnTo>
                  <a:lnTo>
                    <a:pt x="352" y="202"/>
                  </a:lnTo>
                  <a:lnTo>
                    <a:pt x="369" y="195"/>
                  </a:lnTo>
                  <a:lnTo>
                    <a:pt x="384" y="190"/>
                  </a:lnTo>
                  <a:lnTo>
                    <a:pt x="397" y="186"/>
                  </a:lnTo>
                  <a:lnTo>
                    <a:pt x="411" y="183"/>
                  </a:lnTo>
                  <a:lnTo>
                    <a:pt x="421" y="182"/>
                  </a:lnTo>
                  <a:lnTo>
                    <a:pt x="430" y="181"/>
                  </a:lnTo>
                  <a:lnTo>
                    <a:pt x="448" y="182"/>
                  </a:lnTo>
                  <a:lnTo>
                    <a:pt x="465" y="186"/>
                  </a:lnTo>
                  <a:lnTo>
                    <a:pt x="479" y="190"/>
                  </a:lnTo>
                  <a:lnTo>
                    <a:pt x="492" y="195"/>
                  </a:lnTo>
                  <a:lnTo>
                    <a:pt x="503" y="201"/>
                  </a:lnTo>
                  <a:lnTo>
                    <a:pt x="514" y="206"/>
                  </a:lnTo>
                  <a:lnTo>
                    <a:pt x="521" y="212"/>
                  </a:lnTo>
                  <a:lnTo>
                    <a:pt x="528" y="217"/>
                  </a:lnTo>
                  <a:lnTo>
                    <a:pt x="538" y="227"/>
                  </a:lnTo>
                  <a:lnTo>
                    <a:pt x="546" y="237"/>
                  </a:lnTo>
                  <a:lnTo>
                    <a:pt x="554" y="248"/>
                  </a:lnTo>
                  <a:lnTo>
                    <a:pt x="561" y="259"/>
                  </a:lnTo>
                  <a:lnTo>
                    <a:pt x="567" y="270"/>
                  </a:lnTo>
                  <a:lnTo>
                    <a:pt x="572" y="281"/>
                  </a:lnTo>
                  <a:lnTo>
                    <a:pt x="576" y="293"/>
                  </a:lnTo>
                  <a:lnTo>
                    <a:pt x="579" y="306"/>
                  </a:lnTo>
                  <a:lnTo>
                    <a:pt x="583" y="331"/>
                  </a:lnTo>
                  <a:lnTo>
                    <a:pt x="585" y="358"/>
                  </a:lnTo>
                  <a:lnTo>
                    <a:pt x="587" y="384"/>
                  </a:lnTo>
                  <a:lnTo>
                    <a:pt x="587" y="412"/>
                  </a:lnTo>
                  <a:lnTo>
                    <a:pt x="587" y="1000"/>
                  </a:lnTo>
                  <a:lnTo>
                    <a:pt x="798" y="1000"/>
                  </a:lnTo>
                  <a:lnTo>
                    <a:pt x="798" y="339"/>
                  </a:lnTo>
                  <a:lnTo>
                    <a:pt x="797" y="333"/>
                  </a:lnTo>
                  <a:lnTo>
                    <a:pt x="796" y="323"/>
                  </a:lnTo>
                  <a:lnTo>
                    <a:pt x="796" y="311"/>
                  </a:lnTo>
                  <a:lnTo>
                    <a:pt x="795" y="296"/>
                  </a:lnTo>
                  <a:lnTo>
                    <a:pt x="793" y="281"/>
                  </a:lnTo>
                  <a:lnTo>
                    <a:pt x="791" y="264"/>
                  </a:lnTo>
                  <a:lnTo>
                    <a:pt x="788" y="247"/>
                  </a:lnTo>
                  <a:lnTo>
                    <a:pt x="785" y="230"/>
                  </a:lnTo>
                  <a:lnTo>
                    <a:pt x="780" y="213"/>
                  </a:lnTo>
                  <a:lnTo>
                    <a:pt x="776" y="198"/>
                  </a:lnTo>
                  <a:lnTo>
                    <a:pt x="771" y="184"/>
                  </a:lnTo>
                  <a:lnTo>
                    <a:pt x="765" y="171"/>
                  </a:lnTo>
                  <a:lnTo>
                    <a:pt x="760" y="161"/>
                  </a:lnTo>
                  <a:lnTo>
                    <a:pt x="756" y="151"/>
                  </a:lnTo>
                  <a:lnTo>
                    <a:pt x="752" y="143"/>
                  </a:lnTo>
                  <a:lnTo>
                    <a:pt x="749" y="137"/>
                  </a:lnTo>
                  <a:lnTo>
                    <a:pt x="742" y="125"/>
                  </a:lnTo>
                  <a:lnTo>
                    <a:pt x="734" y="113"/>
                  </a:lnTo>
                  <a:lnTo>
                    <a:pt x="726" y="102"/>
                  </a:lnTo>
                  <a:lnTo>
                    <a:pt x="717" y="91"/>
                  </a:lnTo>
                  <a:lnTo>
                    <a:pt x="707" y="81"/>
                  </a:lnTo>
                  <a:lnTo>
                    <a:pt x="698" y="71"/>
                  </a:lnTo>
                  <a:lnTo>
                    <a:pt x="688" y="62"/>
                  </a:lnTo>
                  <a:lnTo>
                    <a:pt x="678" y="54"/>
                  </a:lnTo>
                  <a:lnTo>
                    <a:pt x="667" y="47"/>
                  </a:lnTo>
                  <a:lnTo>
                    <a:pt x="652" y="38"/>
                  </a:lnTo>
                  <a:lnTo>
                    <a:pt x="635" y="30"/>
                  </a:lnTo>
                  <a:lnTo>
                    <a:pt x="615" y="21"/>
                  </a:lnTo>
                  <a:lnTo>
                    <a:pt x="591" y="13"/>
                  </a:lnTo>
                  <a:lnTo>
                    <a:pt x="565" y="6"/>
                  </a:lnTo>
                  <a:lnTo>
                    <a:pt x="550" y="4"/>
                  </a:lnTo>
                  <a:lnTo>
                    <a:pt x="535" y="2"/>
                  </a:lnTo>
                  <a:lnTo>
                    <a:pt x="520" y="0"/>
                  </a:lnTo>
                  <a:lnTo>
                    <a:pt x="503" y="0"/>
                  </a:lnTo>
                  <a:lnTo>
                    <a:pt x="489" y="0"/>
                  </a:lnTo>
                  <a:lnTo>
                    <a:pt x="475" y="1"/>
                  </a:lnTo>
                  <a:lnTo>
                    <a:pt x="462" y="2"/>
                  </a:lnTo>
                  <a:lnTo>
                    <a:pt x="449" y="4"/>
                  </a:lnTo>
                  <a:lnTo>
                    <a:pt x="425" y="9"/>
                  </a:lnTo>
                  <a:lnTo>
                    <a:pt x="402" y="15"/>
                  </a:lnTo>
                  <a:lnTo>
                    <a:pt x="382" y="24"/>
                  </a:lnTo>
                  <a:lnTo>
                    <a:pt x="363" y="33"/>
                  </a:lnTo>
                  <a:lnTo>
                    <a:pt x="345" y="43"/>
                  </a:lnTo>
                  <a:lnTo>
                    <a:pt x="329" y="54"/>
                  </a:lnTo>
                  <a:lnTo>
                    <a:pt x="315" y="65"/>
                  </a:lnTo>
                  <a:lnTo>
                    <a:pt x="301" y="78"/>
                  </a:lnTo>
                  <a:lnTo>
                    <a:pt x="289" y="89"/>
                  </a:lnTo>
                  <a:lnTo>
                    <a:pt x="279" y="101"/>
                  </a:lnTo>
                  <a:lnTo>
                    <a:pt x="261" y="124"/>
                  </a:lnTo>
                  <a:lnTo>
                    <a:pt x="247" y="144"/>
                  </a:lnTo>
                  <a:lnTo>
                    <a:pt x="241" y="154"/>
                  </a:lnTo>
                  <a:lnTo>
                    <a:pt x="235" y="165"/>
                  </a:lnTo>
                  <a:lnTo>
                    <a:pt x="228" y="176"/>
                  </a:lnTo>
                  <a:lnTo>
                    <a:pt x="222" y="189"/>
                  </a:lnTo>
                  <a:lnTo>
                    <a:pt x="217" y="200"/>
                  </a:lnTo>
                  <a:lnTo>
                    <a:pt x="211" y="211"/>
                  </a:lnTo>
                  <a:lnTo>
                    <a:pt x="205" y="222"/>
                  </a:lnTo>
                  <a:lnTo>
                    <a:pt x="201" y="232"/>
                  </a:lnTo>
                  <a:lnTo>
                    <a:pt x="201" y="23"/>
                  </a:lnTo>
                  <a:lnTo>
                    <a:pt x="0" y="23"/>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9" name="Freeform 29"/>
            <p:cNvSpPr>
              <a:spLocks/>
            </p:cNvSpPr>
            <p:nvPr userDrawn="1"/>
          </p:nvSpPr>
          <p:spPr bwMode="auto">
            <a:xfrm>
              <a:off x="5911" y="362"/>
              <a:ext cx="41" cy="50"/>
            </a:xfrm>
            <a:custGeom>
              <a:avLst/>
              <a:gdLst>
                <a:gd name="T0" fmla="*/ 0 w 817"/>
                <a:gd name="T1" fmla="*/ 0 h 1014"/>
                <a:gd name="T2" fmla="*/ 0 w 817"/>
                <a:gd name="T3" fmla="*/ 0 h 1014"/>
                <a:gd name="T4" fmla="*/ 0 w 817"/>
                <a:gd name="T5" fmla="*/ 0 h 1014"/>
                <a:gd name="T6" fmla="*/ 0 w 817"/>
                <a:gd name="T7" fmla="*/ 0 h 1014"/>
                <a:gd name="T8" fmla="*/ 0 w 817"/>
                <a:gd name="T9" fmla="*/ 0 h 1014"/>
                <a:gd name="T10" fmla="*/ 0 w 817"/>
                <a:gd name="T11" fmla="*/ 0 h 1014"/>
                <a:gd name="T12" fmla="*/ 0 w 817"/>
                <a:gd name="T13" fmla="*/ 0 h 1014"/>
                <a:gd name="T14" fmla="*/ 0 w 817"/>
                <a:gd name="T15" fmla="*/ 0 h 1014"/>
                <a:gd name="T16" fmla="*/ 0 w 817"/>
                <a:gd name="T17" fmla="*/ 0 h 1014"/>
                <a:gd name="T18" fmla="*/ 0 w 817"/>
                <a:gd name="T19" fmla="*/ 0 h 1014"/>
                <a:gd name="T20" fmla="*/ 0 w 817"/>
                <a:gd name="T21" fmla="*/ 0 h 1014"/>
                <a:gd name="T22" fmla="*/ 0 w 817"/>
                <a:gd name="T23" fmla="*/ 0 h 1014"/>
                <a:gd name="T24" fmla="*/ 0 w 817"/>
                <a:gd name="T25" fmla="*/ 0 h 1014"/>
                <a:gd name="T26" fmla="*/ 0 w 817"/>
                <a:gd name="T27" fmla="*/ 0 h 1014"/>
                <a:gd name="T28" fmla="*/ 0 w 817"/>
                <a:gd name="T29" fmla="*/ 0 h 1014"/>
                <a:gd name="T30" fmla="*/ 0 w 817"/>
                <a:gd name="T31" fmla="*/ 0 h 1014"/>
                <a:gd name="T32" fmla="*/ 0 w 817"/>
                <a:gd name="T33" fmla="*/ 0 h 1014"/>
                <a:gd name="T34" fmla="*/ 0 w 817"/>
                <a:gd name="T35" fmla="*/ 0 h 1014"/>
                <a:gd name="T36" fmla="*/ 0 w 817"/>
                <a:gd name="T37" fmla="*/ 0 h 1014"/>
                <a:gd name="T38" fmla="*/ 0 w 817"/>
                <a:gd name="T39" fmla="*/ 0 h 1014"/>
                <a:gd name="T40" fmla="*/ 0 w 817"/>
                <a:gd name="T41" fmla="*/ 0 h 1014"/>
                <a:gd name="T42" fmla="*/ 0 w 817"/>
                <a:gd name="T43" fmla="*/ 0 h 1014"/>
                <a:gd name="T44" fmla="*/ 0 w 817"/>
                <a:gd name="T45" fmla="*/ 0 h 1014"/>
                <a:gd name="T46" fmla="*/ 0 w 817"/>
                <a:gd name="T47" fmla="*/ 0 h 1014"/>
                <a:gd name="T48" fmla="*/ 0 w 817"/>
                <a:gd name="T49" fmla="*/ 0 h 1014"/>
                <a:gd name="T50" fmla="*/ 0 w 817"/>
                <a:gd name="T51" fmla="*/ 0 h 1014"/>
                <a:gd name="T52" fmla="*/ 0 w 817"/>
                <a:gd name="T53" fmla="*/ 0 h 1014"/>
                <a:gd name="T54" fmla="*/ 0 w 817"/>
                <a:gd name="T55" fmla="*/ 0 h 1014"/>
                <a:gd name="T56" fmla="*/ 0 w 817"/>
                <a:gd name="T57" fmla="*/ 0 h 1014"/>
                <a:gd name="T58" fmla="*/ 0 w 817"/>
                <a:gd name="T59" fmla="*/ 0 h 1014"/>
                <a:gd name="T60" fmla="*/ 0 w 817"/>
                <a:gd name="T61" fmla="*/ 0 h 1014"/>
                <a:gd name="T62" fmla="*/ 0 w 817"/>
                <a:gd name="T63" fmla="*/ 0 h 1014"/>
                <a:gd name="T64" fmla="*/ 0 w 817"/>
                <a:gd name="T65" fmla="*/ 0 h 1014"/>
                <a:gd name="T66" fmla="*/ 0 w 817"/>
                <a:gd name="T67" fmla="*/ 0 h 1014"/>
                <a:gd name="T68" fmla="*/ 0 w 817"/>
                <a:gd name="T69" fmla="*/ 0 h 1014"/>
                <a:gd name="T70" fmla="*/ 0 w 817"/>
                <a:gd name="T71" fmla="*/ 0 h 1014"/>
                <a:gd name="T72" fmla="*/ 0 w 817"/>
                <a:gd name="T73" fmla="*/ 0 h 1014"/>
                <a:gd name="T74" fmla="*/ 0 w 817"/>
                <a:gd name="T75" fmla="*/ 0 h 1014"/>
                <a:gd name="T76" fmla="*/ 0 w 817"/>
                <a:gd name="T77" fmla="*/ 0 h 1014"/>
                <a:gd name="T78" fmla="*/ 0 w 817"/>
                <a:gd name="T79" fmla="*/ 0 h 1014"/>
                <a:gd name="T80" fmla="*/ 0 w 817"/>
                <a:gd name="T81" fmla="*/ 0 h 1014"/>
                <a:gd name="T82" fmla="*/ 0 w 817"/>
                <a:gd name="T83" fmla="*/ 0 h 1014"/>
                <a:gd name="T84" fmla="*/ 0 w 817"/>
                <a:gd name="T85" fmla="*/ 0 h 1014"/>
                <a:gd name="T86" fmla="*/ 0 w 817"/>
                <a:gd name="T87" fmla="*/ 0 h 1014"/>
                <a:gd name="T88" fmla="*/ 0 w 817"/>
                <a:gd name="T89" fmla="*/ 0 h 1014"/>
                <a:gd name="T90" fmla="*/ 0 w 817"/>
                <a:gd name="T91" fmla="*/ 0 h 1014"/>
                <a:gd name="T92" fmla="*/ 0 w 817"/>
                <a:gd name="T93" fmla="*/ 0 h 1014"/>
                <a:gd name="T94" fmla="*/ 0 w 817"/>
                <a:gd name="T95" fmla="*/ 0 h 1014"/>
                <a:gd name="T96" fmla="*/ 0 w 817"/>
                <a:gd name="T97" fmla="*/ 0 h 1014"/>
                <a:gd name="T98" fmla="*/ 0 w 817"/>
                <a:gd name="T99" fmla="*/ 0 h 1014"/>
                <a:gd name="T100" fmla="*/ 0 w 817"/>
                <a:gd name="T101" fmla="*/ 0 h 1014"/>
                <a:gd name="T102" fmla="*/ 0 w 817"/>
                <a:gd name="T103" fmla="*/ 0 h 1014"/>
                <a:gd name="T104" fmla="*/ 0 w 817"/>
                <a:gd name="T105" fmla="*/ 0 h 1014"/>
                <a:gd name="T106" fmla="*/ 0 w 817"/>
                <a:gd name="T107" fmla="*/ 0 h 1014"/>
                <a:gd name="T108" fmla="*/ 0 w 817"/>
                <a:gd name="T109" fmla="*/ 0 h 1014"/>
                <a:gd name="T110" fmla="*/ 0 w 817"/>
                <a:gd name="T111" fmla="*/ 0 h 1014"/>
                <a:gd name="T112" fmla="*/ 0 w 817"/>
                <a:gd name="T113" fmla="*/ 0 h 1014"/>
                <a:gd name="T114" fmla="*/ 0 w 817"/>
                <a:gd name="T115" fmla="*/ 0 h 10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17" h="1014">
                  <a:moveTo>
                    <a:pt x="817" y="341"/>
                  </a:moveTo>
                  <a:lnTo>
                    <a:pt x="815" y="332"/>
                  </a:lnTo>
                  <a:lnTo>
                    <a:pt x="812" y="320"/>
                  </a:lnTo>
                  <a:lnTo>
                    <a:pt x="808" y="305"/>
                  </a:lnTo>
                  <a:lnTo>
                    <a:pt x="803" y="286"/>
                  </a:lnTo>
                  <a:lnTo>
                    <a:pt x="797" y="267"/>
                  </a:lnTo>
                  <a:lnTo>
                    <a:pt x="789" y="246"/>
                  </a:lnTo>
                  <a:lnTo>
                    <a:pt x="781" y="224"/>
                  </a:lnTo>
                  <a:lnTo>
                    <a:pt x="771" y="203"/>
                  </a:lnTo>
                  <a:lnTo>
                    <a:pt x="763" y="186"/>
                  </a:lnTo>
                  <a:lnTo>
                    <a:pt x="754" y="170"/>
                  </a:lnTo>
                  <a:lnTo>
                    <a:pt x="744" y="155"/>
                  </a:lnTo>
                  <a:lnTo>
                    <a:pt x="733" y="141"/>
                  </a:lnTo>
                  <a:lnTo>
                    <a:pt x="723" y="128"/>
                  </a:lnTo>
                  <a:lnTo>
                    <a:pt x="712" y="115"/>
                  </a:lnTo>
                  <a:lnTo>
                    <a:pt x="701" y="104"/>
                  </a:lnTo>
                  <a:lnTo>
                    <a:pt x="689" y="93"/>
                  </a:lnTo>
                  <a:lnTo>
                    <a:pt x="677" y="83"/>
                  </a:lnTo>
                  <a:lnTo>
                    <a:pt x="666" y="74"/>
                  </a:lnTo>
                  <a:lnTo>
                    <a:pt x="654" y="65"/>
                  </a:lnTo>
                  <a:lnTo>
                    <a:pt x="642" y="57"/>
                  </a:lnTo>
                  <a:lnTo>
                    <a:pt x="629" y="50"/>
                  </a:lnTo>
                  <a:lnTo>
                    <a:pt x="617" y="44"/>
                  </a:lnTo>
                  <a:lnTo>
                    <a:pt x="604" y="38"/>
                  </a:lnTo>
                  <a:lnTo>
                    <a:pt x="592" y="32"/>
                  </a:lnTo>
                  <a:lnTo>
                    <a:pt x="567" y="23"/>
                  </a:lnTo>
                  <a:lnTo>
                    <a:pt x="544" y="16"/>
                  </a:lnTo>
                  <a:lnTo>
                    <a:pt x="520" y="10"/>
                  </a:lnTo>
                  <a:lnTo>
                    <a:pt x="498" y="6"/>
                  </a:lnTo>
                  <a:lnTo>
                    <a:pt x="477" y="3"/>
                  </a:lnTo>
                  <a:lnTo>
                    <a:pt x="459" y="1"/>
                  </a:lnTo>
                  <a:lnTo>
                    <a:pt x="443" y="1"/>
                  </a:lnTo>
                  <a:lnTo>
                    <a:pt x="428" y="0"/>
                  </a:lnTo>
                  <a:lnTo>
                    <a:pt x="410" y="1"/>
                  </a:lnTo>
                  <a:lnTo>
                    <a:pt x="394" y="2"/>
                  </a:lnTo>
                  <a:lnTo>
                    <a:pt x="377" y="3"/>
                  </a:lnTo>
                  <a:lnTo>
                    <a:pt x="361" y="5"/>
                  </a:lnTo>
                  <a:lnTo>
                    <a:pt x="346" y="8"/>
                  </a:lnTo>
                  <a:lnTo>
                    <a:pt x="330" y="11"/>
                  </a:lnTo>
                  <a:lnTo>
                    <a:pt x="316" y="16"/>
                  </a:lnTo>
                  <a:lnTo>
                    <a:pt x="302" y="20"/>
                  </a:lnTo>
                  <a:lnTo>
                    <a:pt x="275" y="29"/>
                  </a:lnTo>
                  <a:lnTo>
                    <a:pt x="251" y="39"/>
                  </a:lnTo>
                  <a:lnTo>
                    <a:pt x="227" y="51"/>
                  </a:lnTo>
                  <a:lnTo>
                    <a:pt x="206" y="64"/>
                  </a:lnTo>
                  <a:lnTo>
                    <a:pt x="187" y="78"/>
                  </a:lnTo>
                  <a:lnTo>
                    <a:pt x="169" y="91"/>
                  </a:lnTo>
                  <a:lnTo>
                    <a:pt x="153" y="105"/>
                  </a:lnTo>
                  <a:lnTo>
                    <a:pt x="139" y="119"/>
                  </a:lnTo>
                  <a:lnTo>
                    <a:pt x="126" y="133"/>
                  </a:lnTo>
                  <a:lnTo>
                    <a:pt x="115" y="146"/>
                  </a:lnTo>
                  <a:lnTo>
                    <a:pt x="106" y="158"/>
                  </a:lnTo>
                  <a:lnTo>
                    <a:pt x="98" y="169"/>
                  </a:lnTo>
                  <a:lnTo>
                    <a:pt x="81" y="194"/>
                  </a:lnTo>
                  <a:lnTo>
                    <a:pt x="66" y="218"/>
                  </a:lnTo>
                  <a:lnTo>
                    <a:pt x="54" y="244"/>
                  </a:lnTo>
                  <a:lnTo>
                    <a:pt x="43" y="269"/>
                  </a:lnTo>
                  <a:lnTo>
                    <a:pt x="34" y="295"/>
                  </a:lnTo>
                  <a:lnTo>
                    <a:pt x="25" y="319"/>
                  </a:lnTo>
                  <a:lnTo>
                    <a:pt x="19" y="343"/>
                  </a:lnTo>
                  <a:lnTo>
                    <a:pt x="13" y="367"/>
                  </a:lnTo>
                  <a:lnTo>
                    <a:pt x="9" y="389"/>
                  </a:lnTo>
                  <a:lnTo>
                    <a:pt x="6" y="411"/>
                  </a:lnTo>
                  <a:lnTo>
                    <a:pt x="4" y="431"/>
                  </a:lnTo>
                  <a:lnTo>
                    <a:pt x="2" y="450"/>
                  </a:lnTo>
                  <a:lnTo>
                    <a:pt x="0" y="482"/>
                  </a:lnTo>
                  <a:lnTo>
                    <a:pt x="0" y="506"/>
                  </a:lnTo>
                  <a:lnTo>
                    <a:pt x="1" y="539"/>
                  </a:lnTo>
                  <a:lnTo>
                    <a:pt x="3" y="570"/>
                  </a:lnTo>
                  <a:lnTo>
                    <a:pt x="6" y="600"/>
                  </a:lnTo>
                  <a:lnTo>
                    <a:pt x="10" y="628"/>
                  </a:lnTo>
                  <a:lnTo>
                    <a:pt x="15" y="655"/>
                  </a:lnTo>
                  <a:lnTo>
                    <a:pt x="21" y="680"/>
                  </a:lnTo>
                  <a:lnTo>
                    <a:pt x="28" y="704"/>
                  </a:lnTo>
                  <a:lnTo>
                    <a:pt x="36" y="726"/>
                  </a:lnTo>
                  <a:lnTo>
                    <a:pt x="43" y="748"/>
                  </a:lnTo>
                  <a:lnTo>
                    <a:pt x="51" y="767"/>
                  </a:lnTo>
                  <a:lnTo>
                    <a:pt x="59" y="785"/>
                  </a:lnTo>
                  <a:lnTo>
                    <a:pt x="68" y="803"/>
                  </a:lnTo>
                  <a:lnTo>
                    <a:pt x="76" y="818"/>
                  </a:lnTo>
                  <a:lnTo>
                    <a:pt x="86" y="832"/>
                  </a:lnTo>
                  <a:lnTo>
                    <a:pt x="94" y="845"/>
                  </a:lnTo>
                  <a:lnTo>
                    <a:pt x="102" y="857"/>
                  </a:lnTo>
                  <a:lnTo>
                    <a:pt x="111" y="870"/>
                  </a:lnTo>
                  <a:lnTo>
                    <a:pt x="120" y="882"/>
                  </a:lnTo>
                  <a:lnTo>
                    <a:pt x="130" y="893"/>
                  </a:lnTo>
                  <a:lnTo>
                    <a:pt x="139" y="902"/>
                  </a:lnTo>
                  <a:lnTo>
                    <a:pt x="146" y="911"/>
                  </a:lnTo>
                  <a:lnTo>
                    <a:pt x="153" y="918"/>
                  </a:lnTo>
                  <a:lnTo>
                    <a:pt x="160" y="924"/>
                  </a:lnTo>
                  <a:lnTo>
                    <a:pt x="165" y="928"/>
                  </a:lnTo>
                  <a:lnTo>
                    <a:pt x="184" y="942"/>
                  </a:lnTo>
                  <a:lnTo>
                    <a:pt x="202" y="954"/>
                  </a:lnTo>
                  <a:lnTo>
                    <a:pt x="220" y="966"/>
                  </a:lnTo>
                  <a:lnTo>
                    <a:pt x="240" y="975"/>
                  </a:lnTo>
                  <a:lnTo>
                    <a:pt x="258" y="983"/>
                  </a:lnTo>
                  <a:lnTo>
                    <a:pt x="277" y="990"/>
                  </a:lnTo>
                  <a:lnTo>
                    <a:pt x="296" y="996"/>
                  </a:lnTo>
                  <a:lnTo>
                    <a:pt x="313" y="1000"/>
                  </a:lnTo>
                  <a:lnTo>
                    <a:pt x="330" y="1004"/>
                  </a:lnTo>
                  <a:lnTo>
                    <a:pt x="347" y="1007"/>
                  </a:lnTo>
                  <a:lnTo>
                    <a:pt x="362" y="1010"/>
                  </a:lnTo>
                  <a:lnTo>
                    <a:pt x="376" y="1011"/>
                  </a:lnTo>
                  <a:lnTo>
                    <a:pt x="402" y="1013"/>
                  </a:lnTo>
                  <a:lnTo>
                    <a:pt x="420" y="1014"/>
                  </a:lnTo>
                  <a:lnTo>
                    <a:pt x="442" y="1013"/>
                  </a:lnTo>
                  <a:lnTo>
                    <a:pt x="461" y="1012"/>
                  </a:lnTo>
                  <a:lnTo>
                    <a:pt x="480" y="1010"/>
                  </a:lnTo>
                  <a:lnTo>
                    <a:pt x="499" y="1007"/>
                  </a:lnTo>
                  <a:lnTo>
                    <a:pt x="516" y="1004"/>
                  </a:lnTo>
                  <a:lnTo>
                    <a:pt x="532" y="1000"/>
                  </a:lnTo>
                  <a:lnTo>
                    <a:pt x="548" y="996"/>
                  </a:lnTo>
                  <a:lnTo>
                    <a:pt x="563" y="991"/>
                  </a:lnTo>
                  <a:lnTo>
                    <a:pt x="589" y="981"/>
                  </a:lnTo>
                  <a:lnTo>
                    <a:pt x="611" y="970"/>
                  </a:lnTo>
                  <a:lnTo>
                    <a:pt x="630" y="959"/>
                  </a:lnTo>
                  <a:lnTo>
                    <a:pt x="646" y="950"/>
                  </a:lnTo>
                  <a:lnTo>
                    <a:pt x="651" y="946"/>
                  </a:lnTo>
                  <a:lnTo>
                    <a:pt x="658" y="941"/>
                  </a:lnTo>
                  <a:lnTo>
                    <a:pt x="667" y="934"/>
                  </a:lnTo>
                  <a:lnTo>
                    <a:pt x="676" y="927"/>
                  </a:lnTo>
                  <a:lnTo>
                    <a:pt x="686" y="917"/>
                  </a:lnTo>
                  <a:lnTo>
                    <a:pt x="698" y="906"/>
                  </a:lnTo>
                  <a:lnTo>
                    <a:pt x="709" y="894"/>
                  </a:lnTo>
                  <a:lnTo>
                    <a:pt x="721" y="881"/>
                  </a:lnTo>
                  <a:lnTo>
                    <a:pt x="733" y="865"/>
                  </a:lnTo>
                  <a:lnTo>
                    <a:pt x="745" y="848"/>
                  </a:lnTo>
                  <a:lnTo>
                    <a:pt x="755" y="832"/>
                  </a:lnTo>
                  <a:lnTo>
                    <a:pt x="764" y="816"/>
                  </a:lnTo>
                  <a:lnTo>
                    <a:pt x="772" y="801"/>
                  </a:lnTo>
                  <a:lnTo>
                    <a:pt x="779" y="784"/>
                  </a:lnTo>
                  <a:lnTo>
                    <a:pt x="786" y="770"/>
                  </a:lnTo>
                  <a:lnTo>
                    <a:pt x="791" y="755"/>
                  </a:lnTo>
                  <a:lnTo>
                    <a:pt x="801" y="727"/>
                  </a:lnTo>
                  <a:lnTo>
                    <a:pt x="807" y="703"/>
                  </a:lnTo>
                  <a:lnTo>
                    <a:pt x="811" y="681"/>
                  </a:lnTo>
                  <a:lnTo>
                    <a:pt x="815" y="664"/>
                  </a:lnTo>
                  <a:lnTo>
                    <a:pt x="640" y="647"/>
                  </a:lnTo>
                  <a:lnTo>
                    <a:pt x="630" y="670"/>
                  </a:lnTo>
                  <a:lnTo>
                    <a:pt x="620" y="692"/>
                  </a:lnTo>
                  <a:lnTo>
                    <a:pt x="610" y="713"/>
                  </a:lnTo>
                  <a:lnTo>
                    <a:pt x="598" y="733"/>
                  </a:lnTo>
                  <a:lnTo>
                    <a:pt x="592" y="743"/>
                  </a:lnTo>
                  <a:lnTo>
                    <a:pt x="584" y="752"/>
                  </a:lnTo>
                  <a:lnTo>
                    <a:pt x="577" y="761"/>
                  </a:lnTo>
                  <a:lnTo>
                    <a:pt x="570" y="770"/>
                  </a:lnTo>
                  <a:lnTo>
                    <a:pt x="562" y="778"/>
                  </a:lnTo>
                  <a:lnTo>
                    <a:pt x="553" y="786"/>
                  </a:lnTo>
                  <a:lnTo>
                    <a:pt x="544" y="793"/>
                  </a:lnTo>
                  <a:lnTo>
                    <a:pt x="533" y="801"/>
                  </a:lnTo>
                  <a:lnTo>
                    <a:pt x="519" y="809"/>
                  </a:lnTo>
                  <a:lnTo>
                    <a:pt x="506" y="815"/>
                  </a:lnTo>
                  <a:lnTo>
                    <a:pt x="493" y="820"/>
                  </a:lnTo>
                  <a:lnTo>
                    <a:pt x="479" y="823"/>
                  </a:lnTo>
                  <a:lnTo>
                    <a:pt x="468" y="825"/>
                  </a:lnTo>
                  <a:lnTo>
                    <a:pt x="457" y="826"/>
                  </a:lnTo>
                  <a:lnTo>
                    <a:pt x="448" y="827"/>
                  </a:lnTo>
                  <a:lnTo>
                    <a:pt x="439" y="827"/>
                  </a:lnTo>
                  <a:lnTo>
                    <a:pt x="427" y="827"/>
                  </a:lnTo>
                  <a:lnTo>
                    <a:pt x="417" y="826"/>
                  </a:lnTo>
                  <a:lnTo>
                    <a:pt x="407" y="825"/>
                  </a:lnTo>
                  <a:lnTo>
                    <a:pt x="397" y="823"/>
                  </a:lnTo>
                  <a:lnTo>
                    <a:pt x="379" y="818"/>
                  </a:lnTo>
                  <a:lnTo>
                    <a:pt x="363" y="812"/>
                  </a:lnTo>
                  <a:lnTo>
                    <a:pt x="350" y="806"/>
                  </a:lnTo>
                  <a:lnTo>
                    <a:pt x="338" y="799"/>
                  </a:lnTo>
                  <a:lnTo>
                    <a:pt x="328" y="791"/>
                  </a:lnTo>
                  <a:lnTo>
                    <a:pt x="321" y="785"/>
                  </a:lnTo>
                  <a:lnTo>
                    <a:pt x="308" y="774"/>
                  </a:lnTo>
                  <a:lnTo>
                    <a:pt x="297" y="762"/>
                  </a:lnTo>
                  <a:lnTo>
                    <a:pt x="287" y="748"/>
                  </a:lnTo>
                  <a:lnTo>
                    <a:pt x="276" y="733"/>
                  </a:lnTo>
                  <a:lnTo>
                    <a:pt x="268" y="718"/>
                  </a:lnTo>
                  <a:lnTo>
                    <a:pt x="261" y="702"/>
                  </a:lnTo>
                  <a:lnTo>
                    <a:pt x="255" y="684"/>
                  </a:lnTo>
                  <a:lnTo>
                    <a:pt x="249" y="667"/>
                  </a:lnTo>
                  <a:lnTo>
                    <a:pt x="245" y="650"/>
                  </a:lnTo>
                  <a:lnTo>
                    <a:pt x="241" y="632"/>
                  </a:lnTo>
                  <a:lnTo>
                    <a:pt x="238" y="614"/>
                  </a:lnTo>
                  <a:lnTo>
                    <a:pt x="235" y="596"/>
                  </a:lnTo>
                  <a:lnTo>
                    <a:pt x="234" y="578"/>
                  </a:lnTo>
                  <a:lnTo>
                    <a:pt x="232" y="560"/>
                  </a:lnTo>
                  <a:lnTo>
                    <a:pt x="232" y="542"/>
                  </a:lnTo>
                  <a:lnTo>
                    <a:pt x="232" y="525"/>
                  </a:lnTo>
                  <a:lnTo>
                    <a:pt x="232" y="501"/>
                  </a:lnTo>
                  <a:lnTo>
                    <a:pt x="233" y="479"/>
                  </a:lnTo>
                  <a:lnTo>
                    <a:pt x="234" y="457"/>
                  </a:lnTo>
                  <a:lnTo>
                    <a:pt x="235" y="437"/>
                  </a:lnTo>
                  <a:lnTo>
                    <a:pt x="238" y="419"/>
                  </a:lnTo>
                  <a:lnTo>
                    <a:pt x="240" y="401"/>
                  </a:lnTo>
                  <a:lnTo>
                    <a:pt x="243" y="384"/>
                  </a:lnTo>
                  <a:lnTo>
                    <a:pt x="246" y="369"/>
                  </a:lnTo>
                  <a:lnTo>
                    <a:pt x="250" y="355"/>
                  </a:lnTo>
                  <a:lnTo>
                    <a:pt x="254" y="340"/>
                  </a:lnTo>
                  <a:lnTo>
                    <a:pt x="258" y="327"/>
                  </a:lnTo>
                  <a:lnTo>
                    <a:pt x="262" y="316"/>
                  </a:lnTo>
                  <a:lnTo>
                    <a:pt x="272" y="293"/>
                  </a:lnTo>
                  <a:lnTo>
                    <a:pt x="284" y="274"/>
                  </a:lnTo>
                  <a:lnTo>
                    <a:pt x="293" y="261"/>
                  </a:lnTo>
                  <a:lnTo>
                    <a:pt x="303" y="249"/>
                  </a:lnTo>
                  <a:lnTo>
                    <a:pt x="313" y="237"/>
                  </a:lnTo>
                  <a:lnTo>
                    <a:pt x="323" y="228"/>
                  </a:lnTo>
                  <a:lnTo>
                    <a:pt x="334" y="220"/>
                  </a:lnTo>
                  <a:lnTo>
                    <a:pt x="345" y="213"/>
                  </a:lnTo>
                  <a:lnTo>
                    <a:pt x="355" y="207"/>
                  </a:lnTo>
                  <a:lnTo>
                    <a:pt x="365" y="201"/>
                  </a:lnTo>
                  <a:lnTo>
                    <a:pt x="375" y="197"/>
                  </a:lnTo>
                  <a:lnTo>
                    <a:pt x="386" y="194"/>
                  </a:lnTo>
                  <a:lnTo>
                    <a:pt x="395" y="191"/>
                  </a:lnTo>
                  <a:lnTo>
                    <a:pt x="405" y="189"/>
                  </a:lnTo>
                  <a:lnTo>
                    <a:pt x="422" y="187"/>
                  </a:lnTo>
                  <a:lnTo>
                    <a:pt x="438" y="186"/>
                  </a:lnTo>
                  <a:lnTo>
                    <a:pt x="453" y="187"/>
                  </a:lnTo>
                  <a:lnTo>
                    <a:pt x="471" y="190"/>
                  </a:lnTo>
                  <a:lnTo>
                    <a:pt x="481" y="192"/>
                  </a:lnTo>
                  <a:lnTo>
                    <a:pt x="493" y="195"/>
                  </a:lnTo>
                  <a:lnTo>
                    <a:pt x="503" y="198"/>
                  </a:lnTo>
                  <a:lnTo>
                    <a:pt x="514" y="203"/>
                  </a:lnTo>
                  <a:lnTo>
                    <a:pt x="526" y="208"/>
                  </a:lnTo>
                  <a:lnTo>
                    <a:pt x="538" y="215"/>
                  </a:lnTo>
                  <a:lnTo>
                    <a:pt x="549" y="223"/>
                  </a:lnTo>
                  <a:lnTo>
                    <a:pt x="560" y="232"/>
                  </a:lnTo>
                  <a:lnTo>
                    <a:pt x="570" y="244"/>
                  </a:lnTo>
                  <a:lnTo>
                    <a:pt x="580" y="256"/>
                  </a:lnTo>
                  <a:lnTo>
                    <a:pt x="590" y="270"/>
                  </a:lnTo>
                  <a:lnTo>
                    <a:pt x="599" y="285"/>
                  </a:lnTo>
                  <a:lnTo>
                    <a:pt x="604" y="296"/>
                  </a:lnTo>
                  <a:lnTo>
                    <a:pt x="608" y="306"/>
                  </a:lnTo>
                  <a:lnTo>
                    <a:pt x="611" y="316"/>
                  </a:lnTo>
                  <a:lnTo>
                    <a:pt x="615" y="326"/>
                  </a:lnTo>
                  <a:lnTo>
                    <a:pt x="618" y="337"/>
                  </a:lnTo>
                  <a:lnTo>
                    <a:pt x="620" y="347"/>
                  </a:lnTo>
                  <a:lnTo>
                    <a:pt x="623" y="359"/>
                  </a:lnTo>
                  <a:lnTo>
                    <a:pt x="625" y="370"/>
                  </a:lnTo>
                  <a:lnTo>
                    <a:pt x="817" y="341"/>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30" name="Freeform 30"/>
            <p:cNvSpPr>
              <a:spLocks noEditPoints="1"/>
            </p:cNvSpPr>
            <p:nvPr userDrawn="1"/>
          </p:nvSpPr>
          <p:spPr bwMode="auto">
            <a:xfrm>
              <a:off x="5957" y="362"/>
              <a:ext cx="44" cy="50"/>
            </a:xfrm>
            <a:custGeom>
              <a:avLst/>
              <a:gdLst>
                <a:gd name="T0" fmla="*/ 0 w 872"/>
                <a:gd name="T1" fmla="*/ 0 h 1017"/>
                <a:gd name="T2" fmla="*/ 0 w 872"/>
                <a:gd name="T3" fmla="*/ 0 h 1017"/>
                <a:gd name="T4" fmla="*/ 0 w 872"/>
                <a:gd name="T5" fmla="*/ 0 h 1017"/>
                <a:gd name="T6" fmla="*/ 0 w 872"/>
                <a:gd name="T7" fmla="*/ 0 h 1017"/>
                <a:gd name="T8" fmla="*/ 0 w 872"/>
                <a:gd name="T9" fmla="*/ 0 h 1017"/>
                <a:gd name="T10" fmla="*/ 0 w 872"/>
                <a:gd name="T11" fmla="*/ 0 h 1017"/>
                <a:gd name="T12" fmla="*/ 0 w 872"/>
                <a:gd name="T13" fmla="*/ 0 h 1017"/>
                <a:gd name="T14" fmla="*/ 0 w 872"/>
                <a:gd name="T15" fmla="*/ 0 h 1017"/>
                <a:gd name="T16" fmla="*/ 0 w 872"/>
                <a:gd name="T17" fmla="*/ 0 h 1017"/>
                <a:gd name="T18" fmla="*/ 0 w 872"/>
                <a:gd name="T19" fmla="*/ 0 h 1017"/>
                <a:gd name="T20" fmla="*/ 0 w 872"/>
                <a:gd name="T21" fmla="*/ 0 h 1017"/>
                <a:gd name="T22" fmla="*/ 0 w 872"/>
                <a:gd name="T23" fmla="*/ 0 h 1017"/>
                <a:gd name="T24" fmla="*/ 0 w 872"/>
                <a:gd name="T25" fmla="*/ 0 h 1017"/>
                <a:gd name="T26" fmla="*/ 0 w 872"/>
                <a:gd name="T27" fmla="*/ 0 h 1017"/>
                <a:gd name="T28" fmla="*/ 0 w 872"/>
                <a:gd name="T29" fmla="*/ 0 h 1017"/>
                <a:gd name="T30" fmla="*/ 0 w 872"/>
                <a:gd name="T31" fmla="*/ 0 h 1017"/>
                <a:gd name="T32" fmla="*/ 0 w 872"/>
                <a:gd name="T33" fmla="*/ 0 h 1017"/>
                <a:gd name="T34" fmla="*/ 0 w 872"/>
                <a:gd name="T35" fmla="*/ 0 h 1017"/>
                <a:gd name="T36" fmla="*/ 0 w 872"/>
                <a:gd name="T37" fmla="*/ 0 h 1017"/>
                <a:gd name="T38" fmla="*/ 0 w 872"/>
                <a:gd name="T39" fmla="*/ 0 h 1017"/>
                <a:gd name="T40" fmla="*/ 0 w 872"/>
                <a:gd name="T41" fmla="*/ 0 h 1017"/>
                <a:gd name="T42" fmla="*/ 0 w 872"/>
                <a:gd name="T43" fmla="*/ 0 h 1017"/>
                <a:gd name="T44" fmla="*/ 0 w 872"/>
                <a:gd name="T45" fmla="*/ 0 h 1017"/>
                <a:gd name="T46" fmla="*/ 0 w 872"/>
                <a:gd name="T47" fmla="*/ 0 h 1017"/>
                <a:gd name="T48" fmla="*/ 0 w 872"/>
                <a:gd name="T49" fmla="*/ 0 h 1017"/>
                <a:gd name="T50" fmla="*/ 0 w 872"/>
                <a:gd name="T51" fmla="*/ 0 h 1017"/>
                <a:gd name="T52" fmla="*/ 0 w 872"/>
                <a:gd name="T53" fmla="*/ 0 h 1017"/>
                <a:gd name="T54" fmla="*/ 0 w 872"/>
                <a:gd name="T55" fmla="*/ 0 h 1017"/>
                <a:gd name="T56" fmla="*/ 0 w 872"/>
                <a:gd name="T57" fmla="*/ 0 h 1017"/>
                <a:gd name="T58" fmla="*/ 0 w 872"/>
                <a:gd name="T59" fmla="*/ 0 h 1017"/>
                <a:gd name="T60" fmla="*/ 0 w 872"/>
                <a:gd name="T61" fmla="*/ 0 h 1017"/>
                <a:gd name="T62" fmla="*/ 0 w 872"/>
                <a:gd name="T63" fmla="*/ 0 h 1017"/>
                <a:gd name="T64" fmla="*/ 0 w 872"/>
                <a:gd name="T65" fmla="*/ 0 h 1017"/>
                <a:gd name="T66" fmla="*/ 0 w 872"/>
                <a:gd name="T67" fmla="*/ 0 h 1017"/>
                <a:gd name="T68" fmla="*/ 0 w 872"/>
                <a:gd name="T69" fmla="*/ 0 h 1017"/>
                <a:gd name="T70" fmla="*/ 0 w 872"/>
                <a:gd name="T71" fmla="*/ 0 h 1017"/>
                <a:gd name="T72" fmla="*/ 0 w 872"/>
                <a:gd name="T73" fmla="*/ 0 h 1017"/>
                <a:gd name="T74" fmla="*/ 0 w 872"/>
                <a:gd name="T75" fmla="*/ 0 h 1017"/>
                <a:gd name="T76" fmla="*/ 0 w 872"/>
                <a:gd name="T77" fmla="*/ 0 h 1017"/>
                <a:gd name="T78" fmla="*/ 0 w 872"/>
                <a:gd name="T79" fmla="*/ 0 h 1017"/>
                <a:gd name="T80" fmla="*/ 0 w 872"/>
                <a:gd name="T81" fmla="*/ 0 h 1017"/>
                <a:gd name="T82" fmla="*/ 0 w 872"/>
                <a:gd name="T83" fmla="*/ 0 h 1017"/>
                <a:gd name="T84" fmla="*/ 0 w 872"/>
                <a:gd name="T85" fmla="*/ 0 h 1017"/>
                <a:gd name="T86" fmla="*/ 0 w 872"/>
                <a:gd name="T87" fmla="*/ 0 h 1017"/>
                <a:gd name="T88" fmla="*/ 0 w 872"/>
                <a:gd name="T89" fmla="*/ 0 h 1017"/>
                <a:gd name="T90" fmla="*/ 0 w 872"/>
                <a:gd name="T91" fmla="*/ 0 h 1017"/>
                <a:gd name="T92" fmla="*/ 0 w 872"/>
                <a:gd name="T93" fmla="*/ 0 h 1017"/>
                <a:gd name="T94" fmla="*/ 0 w 872"/>
                <a:gd name="T95" fmla="*/ 0 h 1017"/>
                <a:gd name="T96" fmla="*/ 0 w 872"/>
                <a:gd name="T97" fmla="*/ 0 h 1017"/>
                <a:gd name="T98" fmla="*/ 0 w 872"/>
                <a:gd name="T99" fmla="*/ 0 h 1017"/>
                <a:gd name="T100" fmla="*/ 0 w 872"/>
                <a:gd name="T101" fmla="*/ 0 h 1017"/>
                <a:gd name="T102" fmla="*/ 0 w 872"/>
                <a:gd name="T103" fmla="*/ 0 h 1017"/>
                <a:gd name="T104" fmla="*/ 0 w 872"/>
                <a:gd name="T105" fmla="*/ 0 h 1017"/>
                <a:gd name="T106" fmla="*/ 0 w 872"/>
                <a:gd name="T107" fmla="*/ 0 h 1017"/>
                <a:gd name="T108" fmla="*/ 0 w 872"/>
                <a:gd name="T109" fmla="*/ 0 h 1017"/>
                <a:gd name="T110" fmla="*/ 0 w 872"/>
                <a:gd name="T111" fmla="*/ 0 h 1017"/>
                <a:gd name="T112" fmla="*/ 0 w 872"/>
                <a:gd name="T113" fmla="*/ 0 h 1017"/>
                <a:gd name="T114" fmla="*/ 0 w 872"/>
                <a:gd name="T115" fmla="*/ 0 h 1017"/>
                <a:gd name="T116" fmla="*/ 0 w 872"/>
                <a:gd name="T117" fmla="*/ 0 h 1017"/>
                <a:gd name="T118" fmla="*/ 0 w 872"/>
                <a:gd name="T119" fmla="*/ 0 h 1017"/>
                <a:gd name="T120" fmla="*/ 0 w 872"/>
                <a:gd name="T121" fmla="*/ 0 h 1017"/>
                <a:gd name="T122" fmla="*/ 0 w 872"/>
                <a:gd name="T123" fmla="*/ 0 h 1017"/>
                <a:gd name="T124" fmla="*/ 0 w 872"/>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2" h="1017">
                  <a:moveTo>
                    <a:pt x="872" y="537"/>
                  </a:moveTo>
                  <a:lnTo>
                    <a:pt x="872" y="509"/>
                  </a:lnTo>
                  <a:lnTo>
                    <a:pt x="872" y="481"/>
                  </a:lnTo>
                  <a:lnTo>
                    <a:pt x="871" y="451"/>
                  </a:lnTo>
                  <a:lnTo>
                    <a:pt x="869" y="423"/>
                  </a:lnTo>
                  <a:lnTo>
                    <a:pt x="867" y="394"/>
                  </a:lnTo>
                  <a:lnTo>
                    <a:pt x="863" y="366"/>
                  </a:lnTo>
                  <a:lnTo>
                    <a:pt x="858" y="338"/>
                  </a:lnTo>
                  <a:lnTo>
                    <a:pt x="852" y="311"/>
                  </a:lnTo>
                  <a:lnTo>
                    <a:pt x="849" y="301"/>
                  </a:lnTo>
                  <a:lnTo>
                    <a:pt x="845" y="287"/>
                  </a:lnTo>
                  <a:lnTo>
                    <a:pt x="840" y="273"/>
                  </a:lnTo>
                  <a:lnTo>
                    <a:pt x="833" y="256"/>
                  </a:lnTo>
                  <a:lnTo>
                    <a:pt x="825" y="238"/>
                  </a:lnTo>
                  <a:lnTo>
                    <a:pt x="815" y="219"/>
                  </a:lnTo>
                  <a:lnTo>
                    <a:pt x="804" y="199"/>
                  </a:lnTo>
                  <a:lnTo>
                    <a:pt x="790" y="178"/>
                  </a:lnTo>
                  <a:lnTo>
                    <a:pt x="780" y="163"/>
                  </a:lnTo>
                  <a:lnTo>
                    <a:pt x="768" y="150"/>
                  </a:lnTo>
                  <a:lnTo>
                    <a:pt x="757" y="137"/>
                  </a:lnTo>
                  <a:lnTo>
                    <a:pt x="746" y="124"/>
                  </a:lnTo>
                  <a:lnTo>
                    <a:pt x="735" y="112"/>
                  </a:lnTo>
                  <a:lnTo>
                    <a:pt x="723" y="102"/>
                  </a:lnTo>
                  <a:lnTo>
                    <a:pt x="711" y="92"/>
                  </a:lnTo>
                  <a:lnTo>
                    <a:pt x="699" y="82"/>
                  </a:lnTo>
                  <a:lnTo>
                    <a:pt x="687" y="74"/>
                  </a:lnTo>
                  <a:lnTo>
                    <a:pt x="674" y="65"/>
                  </a:lnTo>
                  <a:lnTo>
                    <a:pt x="662" y="57"/>
                  </a:lnTo>
                  <a:lnTo>
                    <a:pt x="650" y="51"/>
                  </a:lnTo>
                  <a:lnTo>
                    <a:pt x="627" y="39"/>
                  </a:lnTo>
                  <a:lnTo>
                    <a:pt x="602" y="29"/>
                  </a:lnTo>
                  <a:lnTo>
                    <a:pt x="579" y="21"/>
                  </a:lnTo>
                  <a:lnTo>
                    <a:pt x="555" y="13"/>
                  </a:lnTo>
                  <a:lnTo>
                    <a:pt x="534" y="8"/>
                  </a:lnTo>
                  <a:lnTo>
                    <a:pt x="512" y="5"/>
                  </a:lnTo>
                  <a:lnTo>
                    <a:pt x="493" y="2"/>
                  </a:lnTo>
                  <a:lnTo>
                    <a:pt x="475" y="1"/>
                  </a:lnTo>
                  <a:lnTo>
                    <a:pt x="459" y="0"/>
                  </a:lnTo>
                  <a:lnTo>
                    <a:pt x="445" y="0"/>
                  </a:lnTo>
                  <a:lnTo>
                    <a:pt x="426" y="0"/>
                  </a:lnTo>
                  <a:lnTo>
                    <a:pt x="407" y="1"/>
                  </a:lnTo>
                  <a:lnTo>
                    <a:pt x="390" y="3"/>
                  </a:lnTo>
                  <a:lnTo>
                    <a:pt x="372" y="5"/>
                  </a:lnTo>
                  <a:lnTo>
                    <a:pt x="354" y="8"/>
                  </a:lnTo>
                  <a:lnTo>
                    <a:pt x="337" y="12"/>
                  </a:lnTo>
                  <a:lnTo>
                    <a:pt x="320" y="17"/>
                  </a:lnTo>
                  <a:lnTo>
                    <a:pt x="303" y="22"/>
                  </a:lnTo>
                  <a:lnTo>
                    <a:pt x="287" y="28"/>
                  </a:lnTo>
                  <a:lnTo>
                    <a:pt x="272" y="34"/>
                  </a:lnTo>
                  <a:lnTo>
                    <a:pt x="255" y="41"/>
                  </a:lnTo>
                  <a:lnTo>
                    <a:pt x="241" y="48"/>
                  </a:lnTo>
                  <a:lnTo>
                    <a:pt x="226" y="56"/>
                  </a:lnTo>
                  <a:lnTo>
                    <a:pt x="211" y="65"/>
                  </a:lnTo>
                  <a:lnTo>
                    <a:pt x="197" y="75"/>
                  </a:lnTo>
                  <a:lnTo>
                    <a:pt x="184" y="84"/>
                  </a:lnTo>
                  <a:lnTo>
                    <a:pt x="171" y="95"/>
                  </a:lnTo>
                  <a:lnTo>
                    <a:pt x="157" y="105"/>
                  </a:lnTo>
                  <a:lnTo>
                    <a:pt x="145" y="117"/>
                  </a:lnTo>
                  <a:lnTo>
                    <a:pt x="134" y="129"/>
                  </a:lnTo>
                  <a:lnTo>
                    <a:pt x="122" y="142"/>
                  </a:lnTo>
                  <a:lnTo>
                    <a:pt x="111" y="154"/>
                  </a:lnTo>
                  <a:lnTo>
                    <a:pt x="100" y="168"/>
                  </a:lnTo>
                  <a:lnTo>
                    <a:pt x="90" y="181"/>
                  </a:lnTo>
                  <a:lnTo>
                    <a:pt x="81" y="196"/>
                  </a:lnTo>
                  <a:lnTo>
                    <a:pt x="72" y="211"/>
                  </a:lnTo>
                  <a:lnTo>
                    <a:pt x="63" y="226"/>
                  </a:lnTo>
                  <a:lnTo>
                    <a:pt x="55" y="242"/>
                  </a:lnTo>
                  <a:lnTo>
                    <a:pt x="47" y="258"/>
                  </a:lnTo>
                  <a:lnTo>
                    <a:pt x="41" y="275"/>
                  </a:lnTo>
                  <a:lnTo>
                    <a:pt x="34" y="291"/>
                  </a:lnTo>
                  <a:lnTo>
                    <a:pt x="28" y="309"/>
                  </a:lnTo>
                  <a:lnTo>
                    <a:pt x="20" y="341"/>
                  </a:lnTo>
                  <a:lnTo>
                    <a:pt x="12" y="373"/>
                  </a:lnTo>
                  <a:lnTo>
                    <a:pt x="7" y="402"/>
                  </a:lnTo>
                  <a:lnTo>
                    <a:pt x="4" y="431"/>
                  </a:lnTo>
                  <a:lnTo>
                    <a:pt x="2" y="456"/>
                  </a:lnTo>
                  <a:lnTo>
                    <a:pt x="1" y="478"/>
                  </a:lnTo>
                  <a:lnTo>
                    <a:pt x="0" y="497"/>
                  </a:lnTo>
                  <a:lnTo>
                    <a:pt x="0" y="511"/>
                  </a:lnTo>
                  <a:lnTo>
                    <a:pt x="0" y="536"/>
                  </a:lnTo>
                  <a:lnTo>
                    <a:pt x="1" y="560"/>
                  </a:lnTo>
                  <a:lnTo>
                    <a:pt x="3" y="584"/>
                  </a:lnTo>
                  <a:lnTo>
                    <a:pt x="5" y="606"/>
                  </a:lnTo>
                  <a:lnTo>
                    <a:pt x="7" y="627"/>
                  </a:lnTo>
                  <a:lnTo>
                    <a:pt x="10" y="648"/>
                  </a:lnTo>
                  <a:lnTo>
                    <a:pt x="15" y="668"/>
                  </a:lnTo>
                  <a:lnTo>
                    <a:pt x="19" y="688"/>
                  </a:lnTo>
                  <a:lnTo>
                    <a:pt x="24" y="706"/>
                  </a:lnTo>
                  <a:lnTo>
                    <a:pt x="29" y="723"/>
                  </a:lnTo>
                  <a:lnTo>
                    <a:pt x="34" y="739"/>
                  </a:lnTo>
                  <a:lnTo>
                    <a:pt x="40" y="756"/>
                  </a:lnTo>
                  <a:lnTo>
                    <a:pt x="46" y="771"/>
                  </a:lnTo>
                  <a:lnTo>
                    <a:pt x="53" y="786"/>
                  </a:lnTo>
                  <a:lnTo>
                    <a:pt x="60" y="801"/>
                  </a:lnTo>
                  <a:lnTo>
                    <a:pt x="68" y="814"/>
                  </a:lnTo>
                  <a:lnTo>
                    <a:pt x="75" y="827"/>
                  </a:lnTo>
                  <a:lnTo>
                    <a:pt x="83" y="839"/>
                  </a:lnTo>
                  <a:lnTo>
                    <a:pt x="91" y="850"/>
                  </a:lnTo>
                  <a:lnTo>
                    <a:pt x="99" y="862"/>
                  </a:lnTo>
                  <a:lnTo>
                    <a:pt x="118" y="882"/>
                  </a:lnTo>
                  <a:lnTo>
                    <a:pt x="135" y="900"/>
                  </a:lnTo>
                  <a:lnTo>
                    <a:pt x="154" y="918"/>
                  </a:lnTo>
                  <a:lnTo>
                    <a:pt x="174" y="932"/>
                  </a:lnTo>
                  <a:lnTo>
                    <a:pt x="193" y="945"/>
                  </a:lnTo>
                  <a:lnTo>
                    <a:pt x="212" y="957"/>
                  </a:lnTo>
                  <a:lnTo>
                    <a:pt x="230" y="967"/>
                  </a:lnTo>
                  <a:lnTo>
                    <a:pt x="247" y="976"/>
                  </a:lnTo>
                  <a:lnTo>
                    <a:pt x="264" y="983"/>
                  </a:lnTo>
                  <a:lnTo>
                    <a:pt x="281" y="990"/>
                  </a:lnTo>
                  <a:lnTo>
                    <a:pt x="297" y="995"/>
                  </a:lnTo>
                  <a:lnTo>
                    <a:pt x="313" y="1000"/>
                  </a:lnTo>
                  <a:lnTo>
                    <a:pt x="329" y="1004"/>
                  </a:lnTo>
                  <a:lnTo>
                    <a:pt x="344" y="1007"/>
                  </a:lnTo>
                  <a:lnTo>
                    <a:pt x="373" y="1012"/>
                  </a:lnTo>
                  <a:lnTo>
                    <a:pt x="398" y="1015"/>
                  </a:lnTo>
                  <a:lnTo>
                    <a:pt x="419" y="1016"/>
                  </a:lnTo>
                  <a:lnTo>
                    <a:pt x="437" y="1017"/>
                  </a:lnTo>
                  <a:lnTo>
                    <a:pt x="463" y="1016"/>
                  </a:lnTo>
                  <a:lnTo>
                    <a:pt x="490" y="1014"/>
                  </a:lnTo>
                  <a:lnTo>
                    <a:pt x="516" y="1010"/>
                  </a:lnTo>
                  <a:lnTo>
                    <a:pt x="542" y="1005"/>
                  </a:lnTo>
                  <a:lnTo>
                    <a:pt x="567" y="999"/>
                  </a:lnTo>
                  <a:lnTo>
                    <a:pt x="593" y="991"/>
                  </a:lnTo>
                  <a:lnTo>
                    <a:pt x="617" y="982"/>
                  </a:lnTo>
                  <a:lnTo>
                    <a:pt x="641" y="972"/>
                  </a:lnTo>
                  <a:lnTo>
                    <a:pt x="663" y="959"/>
                  </a:lnTo>
                  <a:lnTo>
                    <a:pt x="686" y="946"/>
                  </a:lnTo>
                  <a:lnTo>
                    <a:pt x="707" y="932"/>
                  </a:lnTo>
                  <a:lnTo>
                    <a:pt x="728" y="916"/>
                  </a:lnTo>
                  <a:lnTo>
                    <a:pt x="747" y="898"/>
                  </a:lnTo>
                  <a:lnTo>
                    <a:pt x="764" y="880"/>
                  </a:lnTo>
                  <a:lnTo>
                    <a:pt x="782" y="861"/>
                  </a:lnTo>
                  <a:lnTo>
                    <a:pt x="798" y="839"/>
                  </a:lnTo>
                  <a:lnTo>
                    <a:pt x="809" y="821"/>
                  </a:lnTo>
                  <a:lnTo>
                    <a:pt x="820" y="802"/>
                  </a:lnTo>
                  <a:lnTo>
                    <a:pt x="831" y="783"/>
                  </a:lnTo>
                  <a:lnTo>
                    <a:pt x="840" y="765"/>
                  </a:lnTo>
                  <a:lnTo>
                    <a:pt x="847" y="748"/>
                  </a:lnTo>
                  <a:lnTo>
                    <a:pt x="854" y="733"/>
                  </a:lnTo>
                  <a:lnTo>
                    <a:pt x="858" y="722"/>
                  </a:lnTo>
                  <a:lnTo>
                    <a:pt x="861" y="715"/>
                  </a:lnTo>
                  <a:lnTo>
                    <a:pt x="660" y="683"/>
                  </a:lnTo>
                  <a:lnTo>
                    <a:pt x="658" y="692"/>
                  </a:lnTo>
                  <a:lnTo>
                    <a:pt x="655" y="700"/>
                  </a:lnTo>
                  <a:lnTo>
                    <a:pt x="652" y="708"/>
                  </a:lnTo>
                  <a:lnTo>
                    <a:pt x="649" y="715"/>
                  </a:lnTo>
                  <a:lnTo>
                    <a:pt x="645" y="723"/>
                  </a:lnTo>
                  <a:lnTo>
                    <a:pt x="642" y="730"/>
                  </a:lnTo>
                  <a:lnTo>
                    <a:pt x="637" y="737"/>
                  </a:lnTo>
                  <a:lnTo>
                    <a:pt x="633" y="746"/>
                  </a:lnTo>
                  <a:lnTo>
                    <a:pt x="624" y="757"/>
                  </a:lnTo>
                  <a:lnTo>
                    <a:pt x="615" y="767"/>
                  </a:lnTo>
                  <a:lnTo>
                    <a:pt x="606" y="776"/>
                  </a:lnTo>
                  <a:lnTo>
                    <a:pt x="597" y="786"/>
                  </a:lnTo>
                  <a:lnTo>
                    <a:pt x="587" y="794"/>
                  </a:lnTo>
                  <a:lnTo>
                    <a:pt x="576" y="803"/>
                  </a:lnTo>
                  <a:lnTo>
                    <a:pt x="564" y="810"/>
                  </a:lnTo>
                  <a:lnTo>
                    <a:pt x="553" y="817"/>
                  </a:lnTo>
                  <a:lnTo>
                    <a:pt x="541" y="823"/>
                  </a:lnTo>
                  <a:lnTo>
                    <a:pt x="529" y="828"/>
                  </a:lnTo>
                  <a:lnTo>
                    <a:pt x="516" y="832"/>
                  </a:lnTo>
                  <a:lnTo>
                    <a:pt x="503" y="836"/>
                  </a:lnTo>
                  <a:lnTo>
                    <a:pt x="490" y="839"/>
                  </a:lnTo>
                  <a:lnTo>
                    <a:pt x="477" y="841"/>
                  </a:lnTo>
                  <a:lnTo>
                    <a:pt x="463" y="842"/>
                  </a:lnTo>
                  <a:lnTo>
                    <a:pt x="450" y="842"/>
                  </a:lnTo>
                  <a:lnTo>
                    <a:pt x="439" y="842"/>
                  </a:lnTo>
                  <a:lnTo>
                    <a:pt x="426" y="841"/>
                  </a:lnTo>
                  <a:lnTo>
                    <a:pt x="411" y="839"/>
                  </a:lnTo>
                  <a:lnTo>
                    <a:pt x="396" y="835"/>
                  </a:lnTo>
                  <a:lnTo>
                    <a:pt x="388" y="833"/>
                  </a:lnTo>
                  <a:lnTo>
                    <a:pt x="380" y="829"/>
                  </a:lnTo>
                  <a:lnTo>
                    <a:pt x="371" y="826"/>
                  </a:lnTo>
                  <a:lnTo>
                    <a:pt x="361" y="821"/>
                  </a:lnTo>
                  <a:lnTo>
                    <a:pt x="352" y="816"/>
                  </a:lnTo>
                  <a:lnTo>
                    <a:pt x="343" y="810"/>
                  </a:lnTo>
                  <a:lnTo>
                    <a:pt x="334" y="803"/>
                  </a:lnTo>
                  <a:lnTo>
                    <a:pt x="325" y="794"/>
                  </a:lnTo>
                  <a:lnTo>
                    <a:pt x="310" y="781"/>
                  </a:lnTo>
                  <a:lnTo>
                    <a:pt x="298" y="767"/>
                  </a:lnTo>
                  <a:lnTo>
                    <a:pt x="287" y="753"/>
                  </a:lnTo>
                  <a:lnTo>
                    <a:pt x="277" y="737"/>
                  </a:lnTo>
                  <a:lnTo>
                    <a:pt x="269" y="723"/>
                  </a:lnTo>
                  <a:lnTo>
                    <a:pt x="261" y="708"/>
                  </a:lnTo>
                  <a:lnTo>
                    <a:pt x="255" y="694"/>
                  </a:lnTo>
                  <a:lnTo>
                    <a:pt x="251" y="679"/>
                  </a:lnTo>
                  <a:lnTo>
                    <a:pt x="247" y="666"/>
                  </a:lnTo>
                  <a:lnTo>
                    <a:pt x="243" y="653"/>
                  </a:lnTo>
                  <a:lnTo>
                    <a:pt x="241" y="641"/>
                  </a:lnTo>
                  <a:lnTo>
                    <a:pt x="239" y="629"/>
                  </a:lnTo>
                  <a:lnTo>
                    <a:pt x="236" y="609"/>
                  </a:lnTo>
                  <a:lnTo>
                    <a:pt x="235" y="594"/>
                  </a:lnTo>
                  <a:lnTo>
                    <a:pt x="234" y="587"/>
                  </a:lnTo>
                  <a:lnTo>
                    <a:pt x="233" y="580"/>
                  </a:lnTo>
                  <a:lnTo>
                    <a:pt x="233" y="572"/>
                  </a:lnTo>
                  <a:lnTo>
                    <a:pt x="232" y="565"/>
                  </a:lnTo>
                  <a:lnTo>
                    <a:pt x="232" y="559"/>
                  </a:lnTo>
                  <a:lnTo>
                    <a:pt x="231" y="552"/>
                  </a:lnTo>
                  <a:lnTo>
                    <a:pt x="231" y="546"/>
                  </a:lnTo>
                  <a:lnTo>
                    <a:pt x="231" y="540"/>
                  </a:lnTo>
                  <a:lnTo>
                    <a:pt x="872" y="537"/>
                  </a:lnTo>
                  <a:close/>
                  <a:moveTo>
                    <a:pt x="226" y="397"/>
                  </a:moveTo>
                  <a:lnTo>
                    <a:pt x="228" y="380"/>
                  </a:lnTo>
                  <a:lnTo>
                    <a:pt x="229" y="365"/>
                  </a:lnTo>
                  <a:lnTo>
                    <a:pt x="231" y="353"/>
                  </a:lnTo>
                  <a:lnTo>
                    <a:pt x="234" y="342"/>
                  </a:lnTo>
                  <a:lnTo>
                    <a:pt x="236" y="332"/>
                  </a:lnTo>
                  <a:lnTo>
                    <a:pt x="239" y="323"/>
                  </a:lnTo>
                  <a:lnTo>
                    <a:pt x="242" y="315"/>
                  </a:lnTo>
                  <a:lnTo>
                    <a:pt x="246" y="306"/>
                  </a:lnTo>
                  <a:lnTo>
                    <a:pt x="252" y="290"/>
                  </a:lnTo>
                  <a:lnTo>
                    <a:pt x="258" y="277"/>
                  </a:lnTo>
                  <a:lnTo>
                    <a:pt x="265" y="265"/>
                  </a:lnTo>
                  <a:lnTo>
                    <a:pt x="273" y="253"/>
                  </a:lnTo>
                  <a:lnTo>
                    <a:pt x="281" y="243"/>
                  </a:lnTo>
                  <a:lnTo>
                    <a:pt x="289" y="232"/>
                  </a:lnTo>
                  <a:lnTo>
                    <a:pt x="297" y="223"/>
                  </a:lnTo>
                  <a:lnTo>
                    <a:pt x="305" y="215"/>
                  </a:lnTo>
                  <a:lnTo>
                    <a:pt x="322" y="201"/>
                  </a:lnTo>
                  <a:lnTo>
                    <a:pt x="337" y="190"/>
                  </a:lnTo>
                  <a:lnTo>
                    <a:pt x="351" y="180"/>
                  </a:lnTo>
                  <a:lnTo>
                    <a:pt x="364" y="174"/>
                  </a:lnTo>
                  <a:lnTo>
                    <a:pt x="369" y="171"/>
                  </a:lnTo>
                  <a:lnTo>
                    <a:pt x="376" y="168"/>
                  </a:lnTo>
                  <a:lnTo>
                    <a:pt x="384" y="165"/>
                  </a:lnTo>
                  <a:lnTo>
                    <a:pt x="393" y="162"/>
                  </a:lnTo>
                  <a:lnTo>
                    <a:pt x="404" y="160"/>
                  </a:lnTo>
                  <a:lnTo>
                    <a:pt x="415" y="157"/>
                  </a:lnTo>
                  <a:lnTo>
                    <a:pt x="428" y="156"/>
                  </a:lnTo>
                  <a:lnTo>
                    <a:pt x="441" y="155"/>
                  </a:lnTo>
                  <a:lnTo>
                    <a:pt x="450" y="155"/>
                  </a:lnTo>
                  <a:lnTo>
                    <a:pt x="461" y="156"/>
                  </a:lnTo>
                  <a:lnTo>
                    <a:pt x="475" y="158"/>
                  </a:lnTo>
                  <a:lnTo>
                    <a:pt x="488" y="162"/>
                  </a:lnTo>
                  <a:lnTo>
                    <a:pt x="504" y="167"/>
                  </a:lnTo>
                  <a:lnTo>
                    <a:pt x="520" y="174"/>
                  </a:lnTo>
                  <a:lnTo>
                    <a:pt x="538" y="185"/>
                  </a:lnTo>
                  <a:lnTo>
                    <a:pt x="555" y="197"/>
                  </a:lnTo>
                  <a:lnTo>
                    <a:pt x="568" y="207"/>
                  </a:lnTo>
                  <a:lnTo>
                    <a:pt x="580" y="217"/>
                  </a:lnTo>
                  <a:lnTo>
                    <a:pt x="590" y="227"/>
                  </a:lnTo>
                  <a:lnTo>
                    <a:pt x="599" y="238"/>
                  </a:lnTo>
                  <a:lnTo>
                    <a:pt x="607" y="250"/>
                  </a:lnTo>
                  <a:lnTo>
                    <a:pt x="614" y="261"/>
                  </a:lnTo>
                  <a:lnTo>
                    <a:pt x="620" y="273"/>
                  </a:lnTo>
                  <a:lnTo>
                    <a:pt x="627" y="285"/>
                  </a:lnTo>
                  <a:lnTo>
                    <a:pt x="631" y="299"/>
                  </a:lnTo>
                  <a:lnTo>
                    <a:pt x="636" y="311"/>
                  </a:lnTo>
                  <a:lnTo>
                    <a:pt x="639" y="324"/>
                  </a:lnTo>
                  <a:lnTo>
                    <a:pt x="642" y="338"/>
                  </a:lnTo>
                  <a:lnTo>
                    <a:pt x="648" y="367"/>
                  </a:lnTo>
                  <a:lnTo>
                    <a:pt x="653" y="397"/>
                  </a:lnTo>
                  <a:lnTo>
                    <a:pt x="226" y="397"/>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31" name="Rectangle 31"/>
            <p:cNvSpPr>
              <a:spLocks noChangeArrowheads="1"/>
            </p:cNvSpPr>
            <p:nvPr userDrawn="1"/>
          </p:nvSpPr>
          <p:spPr bwMode="auto">
            <a:xfrm>
              <a:off x="6011" y="399"/>
              <a:ext cx="12" cy="12"/>
            </a:xfrm>
            <a:prstGeom prst="rect">
              <a:avLst/>
            </a:prstGeom>
            <a:solidFill>
              <a:srgbClr val="5E737D"/>
            </a:solidFill>
            <a:ln>
              <a:noFill/>
            </a:ln>
            <a:extLst/>
          </p:spPr>
          <p:txBody>
            <a:bodyP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algn="ctr" eaLnBrk="1" fontAlgn="base" hangingPunct="1">
                <a:spcBef>
                  <a:spcPct val="20000"/>
                </a:spcBef>
                <a:spcAft>
                  <a:spcPct val="0"/>
                </a:spcAft>
                <a:buClr>
                  <a:srgbClr val="0084C2"/>
                </a:buClr>
                <a:buSzPct val="130000"/>
                <a:buFont typeface="Times New Roman" pitchFamily="18" charset="0"/>
                <a:buNone/>
                <a:defRPr/>
              </a:pPr>
              <a:endParaRPr lang="ru-RU" altLang="en-US" smtClean="0">
                <a:solidFill>
                  <a:srgbClr val="000000"/>
                </a:solidFill>
              </a:endParaRPr>
            </a:p>
          </p:txBody>
        </p:sp>
      </p:grpSp>
      <p:sp>
        <p:nvSpPr>
          <p:cNvPr id="305157" name="Rectangle 5"/>
          <p:cNvSpPr>
            <a:spLocks noGrp="1" noChangeArrowheads="1"/>
          </p:cNvSpPr>
          <p:nvPr>
            <p:ph type="subTitle" idx="1"/>
          </p:nvPr>
        </p:nvSpPr>
        <p:spPr>
          <a:xfrm>
            <a:off x="593725" y="4652963"/>
            <a:ext cx="7645400" cy="979487"/>
          </a:xfrm>
        </p:spPr>
        <p:txBody>
          <a:bodyPr tIns="0"/>
          <a:lstStyle>
            <a:lvl1pPr marL="265113" indent="0">
              <a:buFont typeface="Arial" charset="0"/>
              <a:buNone/>
              <a:defRPr/>
            </a:lvl1pPr>
          </a:lstStyle>
          <a:p>
            <a:r>
              <a:rPr lang="de-DE"/>
              <a:t>Formatvorlage des Untertitelmasters durch Klicken bearbeiten</a:t>
            </a:r>
          </a:p>
        </p:txBody>
      </p:sp>
      <p:sp>
        <p:nvSpPr>
          <p:cNvPr id="305158" name="Rectangle 6"/>
          <p:cNvSpPr>
            <a:spLocks noGrp="1" noChangeArrowheads="1"/>
          </p:cNvSpPr>
          <p:nvPr>
            <p:ph type="ctrTitle"/>
          </p:nvPr>
        </p:nvSpPr>
        <p:spPr>
          <a:xfrm>
            <a:off x="593725" y="4122738"/>
            <a:ext cx="7646988" cy="487362"/>
          </a:xfrm>
        </p:spPr>
        <p:txBody>
          <a:bodyPr tIns="45720"/>
          <a:lstStyle>
            <a:lvl1pPr marL="265113" indent="-265113">
              <a:buClr>
                <a:srgbClr val="0084C2"/>
              </a:buClr>
              <a:buSzPct val="130000"/>
              <a:buFont typeface="Arial" charset="0"/>
              <a:buChar char=":"/>
              <a:defRPr>
                <a:solidFill>
                  <a:schemeClr val="tx1"/>
                </a:solidFill>
              </a:defRPr>
            </a:lvl1pPr>
          </a:lstStyle>
          <a:p>
            <a:r>
              <a:rPr lang="de-DE"/>
              <a:t>Titelmasterformat durch Klicken bearbeiten</a:t>
            </a:r>
          </a:p>
        </p:txBody>
      </p:sp>
    </p:spTree>
    <p:extLst>
      <p:ext uri="{BB962C8B-B14F-4D97-AF65-F5344CB8AC3E}">
        <p14:creationId xmlns:p14="http://schemas.microsoft.com/office/powerpoint/2010/main" val="331635987"/>
      </p:ext>
    </p:extLst>
  </p:cSld>
  <p:clrMapOvr>
    <a:masterClrMapping/>
  </p:clrMapOvr>
  <p:transition>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left content right">
    <p:spTree>
      <p:nvGrpSpPr>
        <p:cNvPr id="1" name=""/>
        <p:cNvGrpSpPr/>
        <p:nvPr/>
      </p:nvGrpSpPr>
      <p:grpSpPr>
        <a:xfrm>
          <a:off x="0" y="0"/>
          <a:ext cx="0" cy="0"/>
          <a:chOff x="0" y="0"/>
          <a:chExt cx="0" cy="0"/>
        </a:xfrm>
      </p:grpSpPr>
      <p:sp>
        <p:nvSpPr>
          <p:cNvPr id="6"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5" name="Fußzeilenplatzhalter"/>
          <p:cNvSpPr>
            <a:spLocks noGrp="1"/>
          </p:cNvSpPr>
          <p:nvPr>
            <p:ph type="ftr" sz="quarter" idx="11"/>
          </p:nvPr>
        </p:nvSpPr>
        <p:spPr/>
        <p:txBody>
          <a:bodyPr/>
          <a:lstStyle/>
          <a:p>
            <a:endParaRPr lang="en-US" noProof="0" dirty="0"/>
          </a:p>
        </p:txBody>
      </p:sp>
      <p:sp>
        <p:nvSpPr>
          <p:cNvPr id="4" name="Datumsplatzhalter"/>
          <p:cNvSpPr>
            <a:spLocks noGrp="1"/>
          </p:cNvSpPr>
          <p:nvPr>
            <p:ph type="dt" sz="half" idx="10"/>
          </p:nvPr>
        </p:nvSpPr>
        <p:spPr/>
        <p:txBody>
          <a:bodyPr/>
          <a:lstStyle/>
          <a:p>
            <a:endParaRPr lang="en-US" noProof="0" dirty="0"/>
          </a:p>
        </p:txBody>
      </p:sp>
      <p:sp>
        <p:nvSpPr>
          <p:cNvPr id="3" name="Inhaltsplatzhalter"/>
          <p:cNvSpPr>
            <a:spLocks noGrp="1"/>
          </p:cNvSpPr>
          <p:nvPr>
            <p:ph idx="1"/>
          </p:nvPr>
        </p:nvSpPr>
        <p:spPr>
          <a:xfrm>
            <a:off x="5030999" y="944563"/>
            <a:ext cx="4350493" cy="5653087"/>
          </a:xfrm>
        </p:spPr>
        <p:txBody>
          <a:bodyPr bIns="72000"/>
          <a:lstStyle/>
          <a:p>
            <a:pPr lvl="0"/>
            <a:r>
              <a:rPr lang="de-DE" noProof="0" smtClean="0"/>
              <a:t>Textmasterformat bearbeiten</a:t>
            </a:r>
          </a:p>
          <a:p>
            <a:pPr lvl="1"/>
            <a:r>
              <a:rPr lang="de-DE" noProof="0" smtClean="0"/>
              <a:t>Zweite Ebene</a:t>
            </a:r>
          </a:p>
          <a:p>
            <a:pPr lvl="2"/>
            <a:r>
              <a:rPr lang="de-DE" noProof="0" smtClean="0"/>
              <a:t>Dritte Ebene</a:t>
            </a:r>
          </a:p>
        </p:txBody>
      </p:sp>
      <p:sp>
        <p:nvSpPr>
          <p:cNvPr id="9" name="Bildplatzhalter"/>
          <p:cNvSpPr>
            <a:spLocks noGrp="1"/>
          </p:cNvSpPr>
          <p:nvPr>
            <p:ph type="pic" sz="quarter" idx="14"/>
          </p:nvPr>
        </p:nvSpPr>
        <p:spPr>
          <a:xfrm>
            <a:off x="525600" y="944563"/>
            <a:ext cx="4349400" cy="5653087"/>
          </a:xfrm>
        </p:spPr>
        <p:txBody>
          <a:bodyPr lIns="0" tIns="180000" rIns="0" bIns="180000"/>
          <a:lstStyle>
            <a:lvl1pPr marL="0" indent="0">
              <a:buFontTx/>
              <a:buNone/>
              <a:defRPr sz="1600">
                <a:solidFill>
                  <a:schemeClr val="accent2"/>
                </a:solidFill>
              </a:defRPr>
            </a:lvl1pPr>
          </a:lstStyle>
          <a:p>
            <a:r>
              <a:rPr lang="de-DE" noProof="0" smtClean="0"/>
              <a:t>Bild durch Klicken auf Symbol hinzufügen</a:t>
            </a:r>
            <a:endParaRPr lang="en-US" noProof="0" dirty="0"/>
          </a:p>
        </p:txBody>
      </p:sp>
      <p:sp>
        <p:nvSpPr>
          <p:cNvPr id="11"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
        <p:nvSpPr>
          <p:cNvPr id="10" name="Titel"/>
          <p:cNvSpPr>
            <a:spLocks noGrp="1"/>
          </p:cNvSpPr>
          <p:nvPr>
            <p:ph type="title" hasCustomPrompt="1"/>
          </p:nvPr>
        </p:nvSpPr>
        <p:spPr>
          <a:xfrm>
            <a:off x="525600" y="288000"/>
            <a:ext cx="7308000" cy="260680"/>
          </a:xfrm>
        </p:spPr>
        <p:txBody>
          <a:bodyPr/>
          <a:lstStyle>
            <a:lvl1pPr>
              <a:defRPr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3939533280"/>
      </p:ext>
    </p:extLst>
  </p:cSld>
  <p:clrMapOvr>
    <a:masterClrMapping/>
  </p:clrMapOvr>
  <p:transition>
    <p:zoom/>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ftr" sz="quarter" idx="10"/>
          </p:nvPr>
        </p:nvSpPr>
        <p:spPr>
          <a:ln/>
        </p:spPr>
        <p:txBody>
          <a:bodyPr/>
          <a:lstStyle>
            <a:lvl1pPr>
              <a:defRPr/>
            </a:lvl1pPr>
          </a:lstStyle>
          <a:p>
            <a:pPr>
              <a:defRPr/>
            </a:pPr>
            <a:endParaRPr lang="de-DE" dirty="0">
              <a:solidFill>
                <a:srgbClr val="80808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F9D92917-BBC9-47E7-9E7C-F7452E5F21BB}"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2528293526"/>
      </p:ext>
    </p:extLst>
  </p:cSld>
  <p:clrMapOvr>
    <a:masterClrMapping/>
  </p:clrMapOvr>
  <p:transition>
    <p:zoom/>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638" y="4406900"/>
            <a:ext cx="8420100" cy="1362075"/>
          </a:xfrm>
        </p:spPr>
        <p:txBody>
          <a:bodyPr/>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ftr" sz="quarter" idx="10"/>
          </p:nvPr>
        </p:nvSpPr>
        <p:spPr>
          <a:ln/>
        </p:spPr>
        <p:txBody>
          <a:bodyPr/>
          <a:lstStyle>
            <a:lvl1pPr>
              <a:defRPr/>
            </a:lvl1pPr>
          </a:lstStyle>
          <a:p>
            <a:pPr>
              <a:defRPr/>
            </a:pPr>
            <a:endParaRPr lang="de-DE" dirty="0">
              <a:solidFill>
                <a:srgbClr val="80808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89FA3EF1-336C-4E45-9155-CB75CFABDBFD}"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1970639163"/>
      </p:ext>
    </p:extLst>
  </p:cSld>
  <p:clrMapOvr>
    <a:masterClrMapping/>
  </p:clrMapOvr>
  <p:transition>
    <p:zoom/>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214313" y="976313"/>
            <a:ext cx="4668837" cy="55483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5035550" y="976313"/>
            <a:ext cx="4670425" cy="55483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ftr" sz="quarter" idx="10"/>
          </p:nvPr>
        </p:nvSpPr>
        <p:spPr>
          <a:ln/>
        </p:spPr>
        <p:txBody>
          <a:bodyPr/>
          <a:lstStyle>
            <a:lvl1pPr>
              <a:defRPr/>
            </a:lvl1pPr>
          </a:lstStyle>
          <a:p>
            <a:pPr>
              <a:defRPr/>
            </a:pPr>
            <a:endParaRPr lang="de-DE" dirty="0">
              <a:solidFill>
                <a:srgbClr val="80808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F32C00AC-C829-482F-BE17-0A2B0F834E13}"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294415900"/>
      </p:ext>
    </p:extLst>
  </p:cSld>
  <p:clrMapOvr>
    <a:masterClrMapping/>
  </p:clrMapOvr>
  <p:transition>
    <p:zoom/>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ftr" sz="quarter" idx="10"/>
          </p:nvPr>
        </p:nvSpPr>
        <p:spPr>
          <a:ln/>
        </p:spPr>
        <p:txBody>
          <a:bodyPr/>
          <a:lstStyle>
            <a:lvl1pPr>
              <a:defRPr/>
            </a:lvl1pPr>
          </a:lstStyle>
          <a:p>
            <a:pPr>
              <a:defRPr/>
            </a:pPr>
            <a:endParaRPr lang="de-DE" dirty="0">
              <a:solidFill>
                <a:srgbClr val="808080"/>
              </a:solidFill>
            </a:endParaRPr>
          </a:p>
        </p:txBody>
      </p:sp>
      <p:sp>
        <p:nvSpPr>
          <p:cNvPr id="8" name="Rectangle 5"/>
          <p:cNvSpPr>
            <a:spLocks noGrp="1" noChangeArrowheads="1"/>
          </p:cNvSpPr>
          <p:nvPr>
            <p:ph type="sldNum" sz="quarter" idx="11"/>
          </p:nvPr>
        </p:nvSpPr>
        <p:spPr>
          <a:ln/>
        </p:spPr>
        <p:txBody>
          <a:bodyPr/>
          <a:lstStyle>
            <a:lvl1pPr>
              <a:defRPr/>
            </a:lvl1pPr>
          </a:lstStyle>
          <a:p>
            <a:pPr>
              <a:defRPr/>
            </a:pPr>
            <a:fld id="{3DA10646-8597-49F9-AF20-50A9E21A3DF8}"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3438275690"/>
      </p:ext>
    </p:extLst>
  </p:cSld>
  <p:clrMapOvr>
    <a:masterClrMapping/>
  </p:clrMapOvr>
  <p:transition>
    <p:zoom/>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ftr" sz="quarter" idx="10"/>
          </p:nvPr>
        </p:nvSpPr>
        <p:spPr>
          <a:ln/>
        </p:spPr>
        <p:txBody>
          <a:bodyPr/>
          <a:lstStyle>
            <a:lvl1pPr>
              <a:defRPr/>
            </a:lvl1pPr>
          </a:lstStyle>
          <a:p>
            <a:pPr>
              <a:defRPr/>
            </a:pPr>
            <a:endParaRPr lang="de-DE" dirty="0">
              <a:solidFill>
                <a:srgbClr val="808080"/>
              </a:solidFill>
            </a:endParaRPr>
          </a:p>
        </p:txBody>
      </p:sp>
      <p:sp>
        <p:nvSpPr>
          <p:cNvPr id="4" name="Rectangle 5"/>
          <p:cNvSpPr>
            <a:spLocks noGrp="1" noChangeArrowheads="1"/>
          </p:cNvSpPr>
          <p:nvPr>
            <p:ph type="sldNum" sz="quarter" idx="11"/>
          </p:nvPr>
        </p:nvSpPr>
        <p:spPr>
          <a:ln/>
        </p:spPr>
        <p:txBody>
          <a:bodyPr/>
          <a:lstStyle>
            <a:lvl1pPr>
              <a:defRPr/>
            </a:lvl1pPr>
          </a:lstStyle>
          <a:p>
            <a:pPr>
              <a:defRPr/>
            </a:pPr>
            <a:fld id="{0C11B189-BA2E-4155-BB9D-DE673F426E44}"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388055627"/>
      </p:ext>
    </p:extLst>
  </p:cSld>
  <p:clrMapOvr>
    <a:masterClrMapping/>
  </p:clrMapOvr>
  <p:transition>
    <p:zoom/>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de-DE" dirty="0">
              <a:solidFill>
                <a:srgbClr val="808080"/>
              </a:solidFill>
            </a:endParaRPr>
          </a:p>
        </p:txBody>
      </p:sp>
      <p:sp>
        <p:nvSpPr>
          <p:cNvPr id="3" name="Rectangle 5"/>
          <p:cNvSpPr>
            <a:spLocks noGrp="1" noChangeArrowheads="1"/>
          </p:cNvSpPr>
          <p:nvPr>
            <p:ph type="sldNum" sz="quarter" idx="11"/>
          </p:nvPr>
        </p:nvSpPr>
        <p:spPr>
          <a:ln/>
        </p:spPr>
        <p:txBody>
          <a:bodyPr/>
          <a:lstStyle>
            <a:lvl1pPr>
              <a:defRPr/>
            </a:lvl1pPr>
          </a:lstStyle>
          <a:p>
            <a:pPr>
              <a:defRPr/>
            </a:pPr>
            <a:fld id="{2AFEADDB-8F9B-476A-BD1A-C4F4C12E3977}"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648698736"/>
      </p:ext>
    </p:extLst>
  </p:cSld>
  <p:clrMapOvr>
    <a:masterClrMapping/>
  </p:clrMapOvr>
  <p:transition>
    <p:zoom/>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3050"/>
            <a:ext cx="3259138"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ftr" sz="quarter" idx="10"/>
          </p:nvPr>
        </p:nvSpPr>
        <p:spPr>
          <a:ln/>
        </p:spPr>
        <p:txBody>
          <a:bodyPr/>
          <a:lstStyle>
            <a:lvl1pPr>
              <a:defRPr/>
            </a:lvl1pPr>
          </a:lstStyle>
          <a:p>
            <a:pPr>
              <a:defRPr/>
            </a:pPr>
            <a:endParaRPr lang="de-DE" dirty="0">
              <a:solidFill>
                <a:srgbClr val="80808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91C17E73-50B5-4FED-92BC-11EC36E16AC0}"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1701354550"/>
      </p:ext>
    </p:extLst>
  </p:cSld>
  <p:clrMapOvr>
    <a:masterClrMapping/>
  </p:clrMapOvr>
  <p:transition>
    <p:zoom/>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513" y="4800600"/>
            <a:ext cx="59436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ftr" sz="quarter" idx="10"/>
          </p:nvPr>
        </p:nvSpPr>
        <p:spPr>
          <a:ln/>
        </p:spPr>
        <p:txBody>
          <a:bodyPr/>
          <a:lstStyle>
            <a:lvl1pPr>
              <a:defRPr/>
            </a:lvl1pPr>
          </a:lstStyle>
          <a:p>
            <a:pPr>
              <a:defRPr/>
            </a:pPr>
            <a:endParaRPr lang="de-DE" dirty="0">
              <a:solidFill>
                <a:srgbClr val="80808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EA4A5A57-0EDC-4934-B599-9E993B80FCA3}"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1367617593"/>
      </p:ext>
    </p:extLst>
  </p:cSld>
  <p:clrMapOvr>
    <a:masterClrMapping/>
  </p:clrMapOvr>
  <p:transition>
    <p:zoom/>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ftr" sz="quarter" idx="10"/>
          </p:nvPr>
        </p:nvSpPr>
        <p:spPr>
          <a:ln/>
        </p:spPr>
        <p:txBody>
          <a:bodyPr/>
          <a:lstStyle>
            <a:lvl1pPr>
              <a:defRPr/>
            </a:lvl1pPr>
          </a:lstStyle>
          <a:p>
            <a:pPr>
              <a:defRPr/>
            </a:pPr>
            <a:endParaRPr lang="de-DE" dirty="0">
              <a:solidFill>
                <a:srgbClr val="80808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AA13CCA0-297A-45AF-BBEB-4F57EBDED991}"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716650508"/>
      </p:ext>
    </p:extLst>
  </p:cSld>
  <p:clrMapOvr>
    <a:masterClrMapping/>
  </p:clrMapOvr>
  <p:transition>
    <p:zoom/>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334250" y="77788"/>
            <a:ext cx="2371725" cy="6446837"/>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214313" y="77788"/>
            <a:ext cx="6967537" cy="6446837"/>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ftr" sz="quarter" idx="10"/>
          </p:nvPr>
        </p:nvSpPr>
        <p:spPr>
          <a:ln/>
        </p:spPr>
        <p:txBody>
          <a:bodyPr/>
          <a:lstStyle>
            <a:lvl1pPr>
              <a:defRPr/>
            </a:lvl1pPr>
          </a:lstStyle>
          <a:p>
            <a:pPr>
              <a:defRPr/>
            </a:pPr>
            <a:endParaRPr lang="de-DE" dirty="0">
              <a:solidFill>
                <a:srgbClr val="80808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BAE8EDE0-B092-42F3-ACBD-4E71EFC29793}"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3894530256"/>
      </p:ext>
    </p:extLst>
  </p:cSld>
  <p:clrMapOvr>
    <a:masterClrMapping/>
  </p:clrMapOvr>
  <p:transition>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7"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6" name="Fußzeilenplatzhalter"/>
          <p:cNvSpPr>
            <a:spLocks noGrp="1"/>
          </p:cNvSpPr>
          <p:nvPr>
            <p:ph type="ftr" sz="quarter" idx="11"/>
          </p:nvPr>
        </p:nvSpPr>
        <p:spPr/>
        <p:txBody>
          <a:bodyPr/>
          <a:lstStyle/>
          <a:p>
            <a:endParaRPr lang="en-US" noProof="0" dirty="0"/>
          </a:p>
        </p:txBody>
      </p:sp>
      <p:sp>
        <p:nvSpPr>
          <p:cNvPr id="5" name="Datumsplatzhalter"/>
          <p:cNvSpPr>
            <a:spLocks noGrp="1"/>
          </p:cNvSpPr>
          <p:nvPr>
            <p:ph type="dt" sz="half" idx="10"/>
          </p:nvPr>
        </p:nvSpPr>
        <p:spPr/>
        <p:txBody>
          <a:bodyPr/>
          <a:lstStyle/>
          <a:p>
            <a:endParaRPr lang="en-US" noProof="0" dirty="0"/>
          </a:p>
        </p:txBody>
      </p:sp>
      <p:sp>
        <p:nvSpPr>
          <p:cNvPr id="4" name="Inhaltsplatzhalter 2"/>
          <p:cNvSpPr>
            <a:spLocks noGrp="1"/>
          </p:cNvSpPr>
          <p:nvPr>
            <p:ph sz="half" idx="2"/>
          </p:nvPr>
        </p:nvSpPr>
        <p:spPr>
          <a:xfrm>
            <a:off x="5031000" y="1304764"/>
            <a:ext cx="4351126"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3" name="Inhaltsplatzhalter 1"/>
          <p:cNvSpPr>
            <a:spLocks noGrp="1"/>
          </p:cNvSpPr>
          <p:nvPr>
            <p:ph sz="half" idx="1"/>
          </p:nvPr>
        </p:nvSpPr>
        <p:spPr>
          <a:xfrm>
            <a:off x="523874" y="1304764"/>
            <a:ext cx="4351125"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13" name="Spaltenüberschrift 2"/>
          <p:cNvSpPr>
            <a:spLocks noGrp="1"/>
          </p:cNvSpPr>
          <p:nvPr>
            <p:ph type="body" idx="16" hasCustomPrompt="1"/>
          </p:nvPr>
        </p:nvSpPr>
        <p:spPr>
          <a:xfrm>
            <a:off x="5030999" y="900000"/>
            <a:ext cx="4351127" cy="360000"/>
          </a:xfrm>
        </p:spPr>
        <p:txBody>
          <a:bodyPr tIns="0" anchor="ctr" anchorCtr="0"/>
          <a:lstStyle>
            <a:lvl1pPr marL="0" marR="0" indent="0" algn="ctr" defTabSz="914400" rtl="0" eaLnBrk="1" fontAlgn="auto" latinLnBrk="0" hangingPunct="1">
              <a:lnSpc>
                <a:spcPct val="100000"/>
              </a:lnSpc>
              <a:spcBef>
                <a:spcPts val="600"/>
              </a:spcBef>
              <a:spcAft>
                <a:spcPts val="0"/>
              </a:spcAft>
              <a:buClr>
                <a:srgbClr val="000000"/>
              </a:buClr>
              <a:buSzPct val="100000"/>
              <a:buFont typeface="Wingdings" panose="05000000000000000000" pitchFamily="2" charset="2"/>
              <a:buNone/>
              <a:tabLst/>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ctr" defTabSz="914400" rtl="0" eaLnBrk="1" fontAlgn="auto" latinLnBrk="0" hangingPunct="1">
              <a:lnSpc>
                <a:spcPct val="100000"/>
              </a:lnSpc>
              <a:spcBef>
                <a:spcPts val="600"/>
              </a:spcBef>
              <a:spcAft>
                <a:spcPts val="0"/>
              </a:spcAft>
              <a:buClr>
                <a:srgbClr val="000000"/>
              </a:buClr>
              <a:buSzPct val="100000"/>
              <a:buFont typeface="Wingdings" panose="05000000000000000000" pitchFamily="2" charset="2"/>
              <a:buNone/>
              <a:tabLst/>
              <a:defRPr/>
            </a:pPr>
            <a:r>
              <a:rPr lang="en-US" noProof="0" dirty="0" smtClean="0"/>
              <a:t>Column Header</a:t>
            </a:r>
          </a:p>
        </p:txBody>
      </p:sp>
      <p:sp>
        <p:nvSpPr>
          <p:cNvPr id="9" name="Spaltenüberschrift 1"/>
          <p:cNvSpPr>
            <a:spLocks noGrp="1"/>
          </p:cNvSpPr>
          <p:nvPr>
            <p:ph type="body" idx="14" hasCustomPrompt="1"/>
          </p:nvPr>
        </p:nvSpPr>
        <p:spPr>
          <a:xfrm>
            <a:off x="523873" y="900000"/>
            <a:ext cx="4350355"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cxnSp>
        <p:nvCxnSpPr>
          <p:cNvPr id="12" name="Trennstrich Spaltenüberschrift"/>
          <p:cNvCxnSpPr/>
          <p:nvPr userDrawn="1"/>
        </p:nvCxnSpPr>
        <p:spPr>
          <a:xfrm>
            <a:off x="0" y="1260000"/>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6"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
        <p:nvSpPr>
          <p:cNvPr id="15" name="Titel"/>
          <p:cNvSpPr>
            <a:spLocks noGrp="1"/>
          </p:cNvSpPr>
          <p:nvPr>
            <p:ph type="title" hasCustomPrompt="1"/>
          </p:nvPr>
        </p:nvSpPr>
        <p:spPr>
          <a:xfrm>
            <a:off x="525600" y="288000"/>
            <a:ext cx="7308000" cy="260680"/>
          </a:xfrm>
        </p:spPr>
        <p:txBody>
          <a:bodyPr/>
          <a:lstStyle>
            <a:lvl1pPr>
              <a:defRPr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3169527273"/>
      </p:ext>
    </p:extLst>
  </p:cSld>
  <p:clrMapOvr>
    <a:masterClrMapping/>
  </p:clrMapOvr>
  <p:transition>
    <p:zoom/>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77788"/>
            <a:ext cx="7769225" cy="720725"/>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214313" y="976313"/>
            <a:ext cx="4668837" cy="5548312"/>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5035550" y="976313"/>
            <a:ext cx="4670425" cy="5548312"/>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ftr" sz="quarter" idx="10"/>
          </p:nvPr>
        </p:nvSpPr>
        <p:spPr>
          <a:ln/>
        </p:spPr>
        <p:txBody>
          <a:bodyPr/>
          <a:lstStyle>
            <a:lvl1pPr>
              <a:defRPr/>
            </a:lvl1pPr>
          </a:lstStyle>
          <a:p>
            <a:pPr>
              <a:defRPr/>
            </a:pPr>
            <a:endParaRPr lang="de-DE" dirty="0">
              <a:solidFill>
                <a:srgbClr val="80808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B6811ECA-EC00-4A87-A067-7E6B46074AEA}"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3516279356"/>
      </p:ext>
    </p:extLst>
  </p:cSld>
  <p:clrMapOvr>
    <a:masterClrMapping/>
  </p:clrMapOvr>
  <p:transition>
    <p:zoom/>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clipArtAndTx" preserve="1">
  <p:cSld name="Заголовок, клип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77788"/>
            <a:ext cx="7769225" cy="720725"/>
          </a:xfrm>
        </p:spPr>
        <p:txBody>
          <a:bodyPr/>
          <a:lstStyle/>
          <a:p>
            <a:r>
              <a:rPr lang="ru-RU" smtClean="0"/>
              <a:t>Образец заголовка</a:t>
            </a:r>
            <a:endParaRPr lang="ru-RU"/>
          </a:p>
        </p:txBody>
      </p:sp>
      <p:sp>
        <p:nvSpPr>
          <p:cNvPr id="3" name="Клип 2"/>
          <p:cNvSpPr>
            <a:spLocks noGrp="1"/>
          </p:cNvSpPr>
          <p:nvPr>
            <p:ph type="clipArt" sz="half" idx="1"/>
          </p:nvPr>
        </p:nvSpPr>
        <p:spPr>
          <a:xfrm>
            <a:off x="214313" y="976313"/>
            <a:ext cx="4668837" cy="5548312"/>
          </a:xfrm>
        </p:spPr>
        <p:txBody>
          <a:bodyPr/>
          <a:lstStyle/>
          <a:p>
            <a:pPr lvl="0"/>
            <a:endParaRPr lang="ru-RU" noProof="0" smtClean="0"/>
          </a:p>
        </p:txBody>
      </p:sp>
      <p:sp>
        <p:nvSpPr>
          <p:cNvPr id="4" name="Текст 3"/>
          <p:cNvSpPr>
            <a:spLocks noGrp="1"/>
          </p:cNvSpPr>
          <p:nvPr>
            <p:ph type="body" sz="half" idx="2"/>
          </p:nvPr>
        </p:nvSpPr>
        <p:spPr>
          <a:xfrm>
            <a:off x="5035550" y="976313"/>
            <a:ext cx="4670425" cy="5548312"/>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ftr" sz="quarter" idx="10"/>
          </p:nvPr>
        </p:nvSpPr>
        <p:spPr>
          <a:ln/>
        </p:spPr>
        <p:txBody>
          <a:bodyPr/>
          <a:lstStyle>
            <a:lvl1pPr>
              <a:defRPr/>
            </a:lvl1pPr>
          </a:lstStyle>
          <a:p>
            <a:pPr>
              <a:defRPr/>
            </a:pPr>
            <a:endParaRPr lang="de-DE" dirty="0">
              <a:solidFill>
                <a:srgbClr val="80808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DEE22142-6134-4C2A-93D0-B8979622C80C}" type="slidenum">
              <a:rPr lang="en-US">
                <a:solidFill>
                  <a:srgbClr val="808080"/>
                </a:solidFill>
              </a:rPr>
              <a:pPr>
                <a:defRPr/>
              </a:pPr>
              <a:t>‹#›</a:t>
            </a:fld>
            <a:endParaRPr lang="en-US">
              <a:solidFill>
                <a:srgbClr val="808080"/>
              </a:solidFill>
            </a:endParaRPr>
          </a:p>
        </p:txBody>
      </p:sp>
    </p:spTree>
    <p:extLst>
      <p:ext uri="{BB962C8B-B14F-4D97-AF65-F5344CB8AC3E}">
        <p14:creationId xmlns:p14="http://schemas.microsoft.com/office/powerpoint/2010/main" val="3079727463"/>
      </p:ext>
    </p:extLst>
  </p:cSld>
  <p:clrMapOvr>
    <a:masterClrMapping/>
  </p:clrMapOvr>
  <p:transition>
    <p:zoom/>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neutra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180346351"/>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3388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pic>
        <p:nvPicPr>
          <p:cNvPr id="7" name="Grafik 6"/>
          <p:cNvPicPr>
            <a:picLocks noChangeAspect="1"/>
          </p:cNvPicPr>
          <p:nvPr/>
        </p:nvPicPr>
        <p:blipFill rotWithShape="1">
          <a:blip r:embed="rId6" cstate="email">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5751"/>
          <a:stretch/>
        </p:blipFill>
        <p:spPr>
          <a:xfrm>
            <a:off x="0" y="0"/>
            <a:ext cx="9906000" cy="6858000"/>
          </a:xfrm>
          <a:prstGeom prst="rect">
            <a:avLst/>
          </a:prstGeom>
        </p:spPr>
      </p:pic>
      <p:sp>
        <p:nvSpPr>
          <p:cNvPr id="2" name="Titel 1"/>
          <p:cNvSpPr>
            <a:spLocks noGrp="1"/>
          </p:cNvSpPr>
          <p:nvPr>
            <p:ph type="ctrTitle" hasCustomPrompt="1"/>
          </p:nvPr>
        </p:nvSpPr>
        <p:spPr>
          <a:xfrm>
            <a:off x="415924" y="2924944"/>
            <a:ext cx="9074151" cy="1035056"/>
          </a:xfrm>
        </p:spPr>
        <p:txBody>
          <a:bodyPr anchor="b" anchorCtr="0"/>
          <a:lstStyle>
            <a:lvl1pPr>
              <a:lnSpc>
                <a:spcPct val="90000"/>
              </a:lnSpc>
              <a:defRPr sz="3200" baseline="0">
                <a:solidFill>
                  <a:schemeClr val="tx2"/>
                </a:solidFill>
              </a:defRPr>
            </a:lvl1pPr>
          </a:lstStyle>
          <a:p>
            <a:r>
              <a:rPr lang="en-US" noProof="0" dirty="0" smtClean="0"/>
              <a:t>Presentation title</a:t>
            </a:r>
            <a:br>
              <a:rPr lang="en-US" noProof="0" dirty="0" smtClean="0"/>
            </a:br>
            <a:r>
              <a:rPr lang="en-US" noProof="0" dirty="0" smtClean="0"/>
              <a:t>optionally double spaced</a:t>
            </a:r>
            <a:endParaRPr lang="en-US" noProof="0" dirty="0"/>
          </a:p>
        </p:txBody>
      </p:sp>
      <p:sp>
        <p:nvSpPr>
          <p:cNvPr id="3" name="Untertitel 2"/>
          <p:cNvSpPr>
            <a:spLocks noGrp="1"/>
          </p:cNvSpPr>
          <p:nvPr>
            <p:ph type="subTitle" idx="1" hasCustomPrompt="1"/>
          </p:nvPr>
        </p:nvSpPr>
        <p:spPr>
          <a:xfrm>
            <a:off x="415925" y="4608000"/>
            <a:ext cx="7020000" cy="1800000"/>
          </a:xfrm>
        </p:spPr>
        <p:txBody>
          <a:bodyPr tIns="0"/>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Author</a:t>
            </a:r>
            <a:br>
              <a:rPr lang="en-US" noProof="0" dirty="0" smtClean="0"/>
            </a:br>
            <a:r>
              <a:rPr lang="en-US" noProof="0" dirty="0" smtClean="0"/>
              <a:t>Department</a:t>
            </a:r>
            <a:br>
              <a:rPr lang="en-US" noProof="0" dirty="0" smtClean="0"/>
            </a:br>
            <a:r>
              <a:rPr lang="en-US" noProof="0" dirty="0" smtClean="0"/>
              <a:t>Date</a:t>
            </a:r>
            <a:endParaRPr lang="en-US" noProof="0" dirty="0"/>
          </a:p>
        </p:txBody>
      </p:sp>
      <p:pic>
        <p:nvPicPr>
          <p:cNvPr id="9" name="Grafik 8"/>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888802" y="4680000"/>
            <a:ext cx="1587524" cy="650566"/>
          </a:xfrm>
          <a:prstGeom prst="rect">
            <a:avLst/>
          </a:prstGeom>
        </p:spPr>
      </p:pic>
      <p:sp>
        <p:nvSpPr>
          <p:cNvPr id="10" name="Rechteck 9"/>
          <p:cNvSpPr/>
          <p:nvPr/>
        </p:nvSpPr>
        <p:spPr>
          <a:xfrm>
            <a:off x="0" y="4320000"/>
            <a:ext cx="9906000" cy="72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Tree>
    <p:extLst>
      <p:ext uri="{BB962C8B-B14F-4D97-AF65-F5344CB8AC3E}">
        <p14:creationId xmlns:p14="http://schemas.microsoft.com/office/powerpoint/2010/main" val="2846690163"/>
      </p:ext>
    </p:extLst>
  </p:cSld>
  <p:clrMapOvr>
    <a:masterClrMapping/>
  </p:clrMapOvr>
  <p:transition>
    <p:zoom/>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552687436"/>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349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12" name="Rechteck 11"/>
          <p:cNvSpPr/>
          <p:nvPr/>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13" name="Bildplatzhalter 8"/>
          <p:cNvSpPr>
            <a:spLocks noGrp="1"/>
          </p:cNvSpPr>
          <p:nvPr>
            <p:ph type="pic" sz="quarter" idx="14"/>
          </p:nvPr>
        </p:nvSpPr>
        <p:spPr>
          <a:xfrm>
            <a:off x="0" y="0"/>
            <a:ext cx="9906000" cy="4284406"/>
          </a:xfrm>
        </p:spPr>
        <p:txBody>
          <a:bodyPr lIns="396000" tIns="180000" rIns="396000" bIns="180000"/>
          <a:lstStyle>
            <a:lvl1pPr marL="0" indent="0">
              <a:buFontTx/>
              <a:buNone/>
              <a:defRPr sz="1500">
                <a:solidFill>
                  <a:schemeClr val="accent2"/>
                </a:solidFill>
              </a:defRPr>
            </a:lvl1pPr>
          </a:lstStyle>
          <a:p>
            <a:r>
              <a:rPr lang="en-US" noProof="0" smtClean="0"/>
              <a:t>Click icon to add picture</a:t>
            </a:r>
            <a:endParaRPr lang="en-US" noProof="0" dirty="0"/>
          </a:p>
        </p:txBody>
      </p:sp>
      <p:sp>
        <p:nvSpPr>
          <p:cNvPr id="3" name="Untertitel 2"/>
          <p:cNvSpPr>
            <a:spLocks noGrp="1"/>
          </p:cNvSpPr>
          <p:nvPr>
            <p:ph type="subTitle" idx="1" hasCustomPrompt="1"/>
          </p:nvPr>
        </p:nvSpPr>
        <p:spPr>
          <a:xfrm>
            <a:off x="0" y="4395600"/>
            <a:ext cx="9906000" cy="2462400"/>
          </a:xfrm>
          <a:noFill/>
        </p:spPr>
        <p:txBody>
          <a:bodyPr lIns="396000" tIns="216000" rIns="2268000" bIns="396000"/>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Author</a:t>
            </a:r>
            <a:br>
              <a:rPr lang="en-US" noProof="0" dirty="0" smtClean="0"/>
            </a:br>
            <a:r>
              <a:rPr lang="en-US" noProof="0" dirty="0" smtClean="0"/>
              <a:t>Department</a:t>
            </a:r>
            <a:br>
              <a:rPr lang="en-US" noProof="0" dirty="0" smtClean="0"/>
            </a:br>
            <a:r>
              <a:rPr lang="en-US" noProof="0" dirty="0" smtClean="0"/>
              <a:t>Date</a:t>
            </a:r>
            <a:endParaRPr lang="en-US" noProof="0" dirty="0"/>
          </a:p>
        </p:txBody>
      </p:sp>
      <p:sp>
        <p:nvSpPr>
          <p:cNvPr id="10" name="Rechteck 9"/>
          <p:cNvSpPr/>
          <p:nvPr/>
        </p:nvSpPr>
        <p:spPr>
          <a:xfrm>
            <a:off x="0" y="4320000"/>
            <a:ext cx="9906000" cy="72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2" name="Titel 1"/>
          <p:cNvSpPr>
            <a:spLocks noGrp="1"/>
          </p:cNvSpPr>
          <p:nvPr>
            <p:ph type="ctrTitle" hasCustomPrompt="1"/>
          </p:nvPr>
        </p:nvSpPr>
        <p:spPr>
          <a:xfrm>
            <a:off x="0" y="2876400"/>
            <a:ext cx="9906000" cy="1440000"/>
          </a:xfrm>
          <a:solidFill>
            <a:schemeClr val="bg1">
              <a:alpha val="80000"/>
            </a:schemeClr>
          </a:solidFill>
        </p:spPr>
        <p:txBody>
          <a:bodyPr lIns="414000" rIns="396000" bIns="360000" anchor="b" anchorCtr="0"/>
          <a:lstStyle>
            <a:lvl1pPr>
              <a:lnSpc>
                <a:spcPct val="90000"/>
              </a:lnSpc>
              <a:defRPr sz="3200" baseline="0">
                <a:solidFill>
                  <a:schemeClr val="tx2"/>
                </a:solidFill>
              </a:defRPr>
            </a:lvl1pPr>
          </a:lstStyle>
          <a:p>
            <a:r>
              <a:rPr lang="en-US" noProof="0" dirty="0" smtClean="0"/>
              <a:t>Presentation title</a:t>
            </a:r>
            <a:br>
              <a:rPr lang="en-US" noProof="0" dirty="0" smtClean="0"/>
            </a:br>
            <a:r>
              <a:rPr lang="en-US" noProof="0" dirty="0" smtClean="0"/>
              <a:t>optionally double spaced</a:t>
            </a:r>
            <a:endParaRPr lang="en-US" noProof="0" dirty="0"/>
          </a:p>
        </p:txBody>
      </p:sp>
      <p:pic>
        <p:nvPicPr>
          <p:cNvPr id="15" name="Grafik 1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888802" y="4680000"/>
            <a:ext cx="1587524" cy="650566"/>
          </a:xfrm>
          <a:prstGeom prst="rect">
            <a:avLst/>
          </a:prstGeom>
        </p:spPr>
      </p:pic>
    </p:spTree>
    <p:extLst>
      <p:ext uri="{BB962C8B-B14F-4D97-AF65-F5344CB8AC3E}">
        <p14:creationId xmlns:p14="http://schemas.microsoft.com/office/powerpoint/2010/main" val="1456625096"/>
      </p:ext>
    </p:extLst>
  </p:cSld>
  <p:clrMapOvr>
    <a:masterClrMapping/>
  </p:clrMapOvr>
  <p:transition>
    <p:zoom/>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3" name="Inhaltsplatzhalter 2"/>
          <p:cNvSpPr>
            <a:spLocks noGrp="1"/>
          </p:cNvSpPr>
          <p:nvPr>
            <p:ph idx="1"/>
          </p:nvPr>
        </p:nvSpPr>
        <p:spPr>
          <a:xfrm>
            <a:off x="415926" y="944563"/>
            <a:ext cx="9074149" cy="5653087"/>
          </a:xfrm>
        </p:spPr>
        <p:txBody>
          <a:bodyPr vert="horz" lIns="0" tIns="144000" rIns="0" bIns="72000" rtlCol="0">
            <a:noAutofit/>
          </a:bodyPr>
          <a:lstStyle>
            <a:lvl1pPr>
              <a:defRPr lang="de-DE" dirty="0" smtClean="0"/>
            </a:lvl1pPr>
            <a:lvl2pPr>
              <a:defRPr lang="de-DE" dirty="0" smtClean="0"/>
            </a:lvl2pPr>
            <a:lvl3pPr>
              <a:defRPr lang="de-DE" dirty="0" smtClean="0"/>
            </a:lvl3pPr>
            <a:lvl4pPr>
              <a:defRPr lang="de-DE" dirty="0" smtClean="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dirty="0">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7"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2316332445"/>
      </p:ext>
    </p:extLst>
  </p:cSld>
  <p:clrMapOvr>
    <a:masterClrMapping/>
  </p:clrMapOvr>
  <p:transition>
    <p:zoom/>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 + title double spac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15926" y="288000"/>
            <a:ext cx="7741430" cy="576000"/>
          </a:xfrm>
        </p:spPr>
        <p:txBody>
          <a:bodyPr/>
          <a:lstStyle>
            <a:lvl1pPr>
              <a:defRPr baseline="0"/>
            </a:lvl1pPr>
          </a:lstStyle>
          <a:p>
            <a:r>
              <a:rPr lang="en-US" noProof="0" dirty="0" smtClean="0"/>
              <a:t>Slide Title double spaced</a:t>
            </a:r>
            <a:br>
              <a:rPr lang="en-US" noProof="0" dirty="0" smtClean="0"/>
            </a:br>
            <a:r>
              <a:rPr lang="en-US" noProof="0" dirty="0" smtClean="0"/>
              <a:t>Without Subheadline</a:t>
            </a:r>
            <a:endParaRPr lang="en-US" noProof="0" dirty="0"/>
          </a:p>
        </p:txBody>
      </p:sp>
      <p:sp>
        <p:nvSpPr>
          <p:cNvPr id="3" name="Inhaltsplatzhalter 2"/>
          <p:cNvSpPr>
            <a:spLocks noGrp="1"/>
          </p:cNvSpPr>
          <p:nvPr>
            <p:ph idx="1"/>
          </p:nvPr>
        </p:nvSpPr>
        <p:spPr>
          <a:xfrm>
            <a:off x="415926" y="944563"/>
            <a:ext cx="9074150" cy="5653087"/>
          </a:xfrm>
        </p:spPr>
        <p:txBody>
          <a:bodyPr bIns="72000"/>
          <a:lstStyle>
            <a:lvl4pPr>
              <a:defRPr sz="16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Tree>
    <p:extLst>
      <p:ext uri="{BB962C8B-B14F-4D97-AF65-F5344CB8AC3E}">
        <p14:creationId xmlns:p14="http://schemas.microsoft.com/office/powerpoint/2010/main" val="1918225697"/>
      </p:ext>
    </p:extLst>
  </p:cSld>
  <p:clrMapOvr>
    <a:masterClrMapping/>
  </p:clrMapOvr>
  <p:transition>
    <p:zoom/>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 left picture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415926" y="944563"/>
            <a:ext cx="4459074" cy="5653087"/>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Bildplatzhalter 8"/>
          <p:cNvSpPr>
            <a:spLocks noGrp="1"/>
          </p:cNvSpPr>
          <p:nvPr>
            <p:ph type="pic" sz="quarter" idx="14"/>
          </p:nvPr>
        </p:nvSpPr>
        <p:spPr>
          <a:xfrm>
            <a:off x="5030389" y="944563"/>
            <a:ext cx="4459685" cy="5653087"/>
          </a:xfrm>
        </p:spPr>
        <p:txBody>
          <a:bodyPr lIns="0" tIns="180000" rIns="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10"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1"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1657048740"/>
      </p:ext>
    </p:extLst>
  </p:cSld>
  <p:clrMapOvr>
    <a:masterClrMapping/>
  </p:clrMapOvr>
  <p:transition>
    <p:zoom/>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Picture left content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5030999" y="944563"/>
            <a:ext cx="4459075" cy="5653087"/>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Bildplatzhalter 8"/>
          <p:cNvSpPr>
            <a:spLocks noGrp="1"/>
          </p:cNvSpPr>
          <p:nvPr>
            <p:ph type="pic" sz="quarter" idx="14"/>
          </p:nvPr>
        </p:nvSpPr>
        <p:spPr>
          <a:xfrm>
            <a:off x="415926" y="944563"/>
            <a:ext cx="4459074" cy="5653087"/>
          </a:xfrm>
        </p:spPr>
        <p:txBody>
          <a:bodyPr lIns="0" tIns="180000" rIns="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10"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1"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1719432371"/>
      </p:ext>
    </p:extLst>
  </p:cSld>
  <p:clrMapOvr>
    <a:masterClrMapping/>
  </p:clrMapOvr>
  <p:transition>
    <p:zoom/>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15926" y="1304764"/>
            <a:ext cx="4459074" cy="5292886"/>
          </a:xfrm>
        </p:spPr>
        <p:txBody>
          <a:bodyPr bIns="72000"/>
          <a:lstStyle>
            <a:lvl1pPr>
              <a:defRPr sz="2000"/>
            </a:lvl1pPr>
            <a:lvl2pPr>
              <a:defRPr sz="17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Inhaltsplatzhalter 3"/>
          <p:cNvSpPr>
            <a:spLocks noGrp="1"/>
          </p:cNvSpPr>
          <p:nvPr>
            <p:ph sz="half" idx="2"/>
          </p:nvPr>
        </p:nvSpPr>
        <p:spPr>
          <a:xfrm>
            <a:off x="5030999" y="1304764"/>
            <a:ext cx="4459075" cy="5292886"/>
          </a:xfrm>
        </p:spPr>
        <p:txBody>
          <a:bodyPr bIns="72000"/>
          <a:lstStyle>
            <a:lvl1pPr>
              <a:defRPr sz="1900"/>
            </a:lvl1pPr>
            <a:lvl2pPr>
              <a:defRPr sz="1800"/>
            </a:lvl2pPr>
            <a:lvl3pPr>
              <a:defRPr sz="15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Textplatzhalter 2"/>
          <p:cNvSpPr>
            <a:spLocks noGrp="1"/>
          </p:cNvSpPr>
          <p:nvPr>
            <p:ph type="body" idx="14" hasCustomPrompt="1"/>
          </p:nvPr>
        </p:nvSpPr>
        <p:spPr>
          <a:xfrm>
            <a:off x="415925" y="900000"/>
            <a:ext cx="4458304"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13" name="Textplatzhalter 2"/>
          <p:cNvSpPr>
            <a:spLocks noGrp="1"/>
          </p:cNvSpPr>
          <p:nvPr>
            <p:ph type="body" idx="16" hasCustomPrompt="1"/>
          </p:nvPr>
        </p:nvSpPr>
        <p:spPr>
          <a:xfrm>
            <a:off x="5030999" y="900000"/>
            <a:ext cx="4459075"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cxnSp>
        <p:nvCxnSpPr>
          <p:cNvPr id="12" name="Gerade Verbindung 11"/>
          <p:cNvCxnSpPr/>
          <p:nvPr/>
        </p:nvCxnSpPr>
        <p:spPr>
          <a:xfrm>
            <a:off x="0" y="1260000"/>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5"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6"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3548527700"/>
      </p:ext>
    </p:extLst>
  </p:cSld>
  <p:clrMapOvr>
    <a:masterClrMapping/>
  </p:clrMapOvr>
  <p:transition>
    <p:zoom/>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15924" y="1304764"/>
            <a:ext cx="2988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Inhaltsplatzhalter 3"/>
          <p:cNvSpPr>
            <a:spLocks noGrp="1"/>
          </p:cNvSpPr>
          <p:nvPr>
            <p:ph sz="half" idx="2"/>
          </p:nvPr>
        </p:nvSpPr>
        <p:spPr>
          <a:xfrm>
            <a:off x="3458547" y="1304764"/>
            <a:ext cx="2988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Textplatzhalter 2"/>
          <p:cNvSpPr>
            <a:spLocks noGrp="1"/>
          </p:cNvSpPr>
          <p:nvPr>
            <p:ph type="body" idx="14" hasCustomPrompt="1"/>
          </p:nvPr>
        </p:nvSpPr>
        <p:spPr>
          <a:xfrm>
            <a:off x="415924"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12" name="Inhaltsplatzhalter 3"/>
          <p:cNvSpPr>
            <a:spLocks noGrp="1"/>
          </p:cNvSpPr>
          <p:nvPr>
            <p:ph sz="half" idx="15"/>
          </p:nvPr>
        </p:nvSpPr>
        <p:spPr>
          <a:xfrm>
            <a:off x="6501172" y="1304764"/>
            <a:ext cx="2988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3" name="Textplatzhalter 2"/>
          <p:cNvSpPr>
            <a:spLocks noGrp="1"/>
          </p:cNvSpPr>
          <p:nvPr>
            <p:ph type="body" idx="16" hasCustomPrompt="1"/>
          </p:nvPr>
        </p:nvSpPr>
        <p:spPr>
          <a:xfrm>
            <a:off x="3458547"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14" name="Textplatzhalter 2"/>
          <p:cNvSpPr>
            <a:spLocks noGrp="1"/>
          </p:cNvSpPr>
          <p:nvPr>
            <p:ph type="body" idx="17" hasCustomPrompt="1"/>
          </p:nvPr>
        </p:nvSpPr>
        <p:spPr>
          <a:xfrm>
            <a:off x="6501172"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cxnSp>
        <p:nvCxnSpPr>
          <p:cNvPr id="15" name="Gerade Verbindung 14"/>
          <p:cNvCxnSpPr/>
          <p:nvPr/>
        </p:nvCxnSpPr>
        <p:spPr>
          <a:xfrm>
            <a:off x="0" y="1260000"/>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8"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9"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727848972"/>
      </p:ext>
    </p:extLst>
  </p:cSld>
  <p:clrMapOvr>
    <a:masterClrMapping/>
  </p:clrMapOvr>
  <p:transition>
    <p:zoom/>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7"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6" name="Fußzeilenplatzhalter"/>
          <p:cNvSpPr>
            <a:spLocks noGrp="1"/>
          </p:cNvSpPr>
          <p:nvPr>
            <p:ph type="ftr" sz="quarter" idx="11"/>
          </p:nvPr>
        </p:nvSpPr>
        <p:spPr/>
        <p:txBody>
          <a:bodyPr/>
          <a:lstStyle/>
          <a:p>
            <a:endParaRPr lang="en-US" noProof="0" dirty="0"/>
          </a:p>
        </p:txBody>
      </p:sp>
      <p:sp>
        <p:nvSpPr>
          <p:cNvPr id="5" name="Datumsplatzhalter"/>
          <p:cNvSpPr>
            <a:spLocks noGrp="1"/>
          </p:cNvSpPr>
          <p:nvPr>
            <p:ph type="dt" sz="half" idx="10"/>
          </p:nvPr>
        </p:nvSpPr>
        <p:spPr/>
        <p:txBody>
          <a:bodyPr/>
          <a:lstStyle/>
          <a:p>
            <a:endParaRPr lang="en-US" noProof="0" dirty="0"/>
          </a:p>
        </p:txBody>
      </p:sp>
      <p:sp>
        <p:nvSpPr>
          <p:cNvPr id="3" name="Inhaltsplatzhalter 1"/>
          <p:cNvSpPr>
            <a:spLocks noGrp="1"/>
          </p:cNvSpPr>
          <p:nvPr>
            <p:ph sz="half" idx="1"/>
          </p:nvPr>
        </p:nvSpPr>
        <p:spPr>
          <a:xfrm>
            <a:off x="523874" y="1052736"/>
            <a:ext cx="2880049" cy="5544914"/>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19"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
        <p:nvSpPr>
          <p:cNvPr id="18" name="Titel"/>
          <p:cNvSpPr>
            <a:spLocks noGrp="1"/>
          </p:cNvSpPr>
          <p:nvPr>
            <p:ph type="title" hasCustomPrompt="1"/>
          </p:nvPr>
        </p:nvSpPr>
        <p:spPr>
          <a:xfrm>
            <a:off x="525600" y="288000"/>
            <a:ext cx="7308000" cy="260680"/>
          </a:xfrm>
        </p:spPr>
        <p:txBody>
          <a:bodyPr/>
          <a:lstStyle>
            <a:lvl1pPr>
              <a:defRPr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2936646616"/>
      </p:ext>
    </p:extLst>
  </p:cSld>
  <p:clrMapOvr>
    <a:masterClrMapping/>
  </p:clrMapOvr>
  <p:transition>
    <p:zoom/>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ntent 3 columns with picture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658185263"/>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359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15" name="Bildplatzhalter 8"/>
          <p:cNvSpPr>
            <a:spLocks noGrp="1"/>
          </p:cNvSpPr>
          <p:nvPr>
            <p:ph type="pic" sz="quarter" idx="18"/>
          </p:nvPr>
        </p:nvSpPr>
        <p:spPr>
          <a:xfrm>
            <a:off x="415924" y="4748975"/>
            <a:ext cx="2988000" cy="1800000"/>
          </a:xfrm>
        </p:spPr>
        <p:txBody>
          <a:bodyPr lIns="0" tIns="180000" rIns="0" bIns="180000"/>
          <a:lstStyle>
            <a:lvl1pPr marL="0" indent="0">
              <a:buFontTx/>
              <a:buNone/>
              <a:defRPr sz="1400">
                <a:solidFill>
                  <a:schemeClr val="accent2"/>
                </a:solidFill>
              </a:defRPr>
            </a:lvl1pPr>
          </a:lstStyle>
          <a:p>
            <a:r>
              <a:rPr lang="en-US" noProof="0" smtClean="0"/>
              <a:t>Click icon to add picture</a:t>
            </a:r>
            <a:endParaRPr lang="en-US" noProof="0" dirty="0"/>
          </a:p>
        </p:txBody>
      </p:sp>
      <p:sp>
        <p:nvSpPr>
          <p:cNvPr id="16" name="Bildplatzhalter 8"/>
          <p:cNvSpPr>
            <a:spLocks noGrp="1"/>
          </p:cNvSpPr>
          <p:nvPr>
            <p:ph type="pic" sz="quarter" idx="19"/>
          </p:nvPr>
        </p:nvSpPr>
        <p:spPr>
          <a:xfrm>
            <a:off x="3458548" y="4748975"/>
            <a:ext cx="2988000" cy="1800000"/>
          </a:xfrm>
        </p:spPr>
        <p:txBody>
          <a:bodyPr lIns="0" tIns="180000" rIns="0" bIns="180000"/>
          <a:lstStyle>
            <a:lvl1pPr marL="0" indent="0">
              <a:buFontTx/>
              <a:buNone/>
              <a:defRPr sz="1400">
                <a:solidFill>
                  <a:schemeClr val="accent2"/>
                </a:solidFill>
              </a:defRPr>
            </a:lvl1pPr>
          </a:lstStyle>
          <a:p>
            <a:r>
              <a:rPr lang="en-US" noProof="0" smtClean="0"/>
              <a:t>Click icon to add picture</a:t>
            </a:r>
            <a:endParaRPr lang="en-US" noProof="0" dirty="0"/>
          </a:p>
        </p:txBody>
      </p:sp>
      <p:sp>
        <p:nvSpPr>
          <p:cNvPr id="17" name="Bildplatzhalter 8"/>
          <p:cNvSpPr>
            <a:spLocks noGrp="1"/>
          </p:cNvSpPr>
          <p:nvPr>
            <p:ph type="pic" sz="quarter" idx="20"/>
          </p:nvPr>
        </p:nvSpPr>
        <p:spPr>
          <a:xfrm>
            <a:off x="6501172" y="4748975"/>
            <a:ext cx="2988000" cy="1800000"/>
          </a:xfrm>
        </p:spPr>
        <p:txBody>
          <a:bodyPr lIns="0" tIns="180000" rIns="0" bIns="180000"/>
          <a:lstStyle>
            <a:lvl1pPr marL="0" indent="0">
              <a:buFontTx/>
              <a:buNone/>
              <a:defRPr sz="1400">
                <a:solidFill>
                  <a:schemeClr val="accent2"/>
                </a:solidFill>
              </a:defRPr>
            </a:lvl1pPr>
          </a:lstStyle>
          <a:p>
            <a:r>
              <a:rPr lang="en-US" noProof="0" smtClean="0"/>
              <a:t>Click icon to add picture</a:t>
            </a:r>
            <a:endParaRPr lang="en-US" noProof="0" dirty="0"/>
          </a:p>
        </p:txBody>
      </p:sp>
      <p:cxnSp>
        <p:nvCxnSpPr>
          <p:cNvPr id="18" name="Gerade Verbindung 17"/>
          <p:cNvCxnSpPr/>
          <p:nvPr/>
        </p:nvCxnSpPr>
        <p:spPr>
          <a:xfrm>
            <a:off x="0" y="1260000"/>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a:xfrm>
            <a:off x="0" y="1260000"/>
            <a:ext cx="29628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34" name="Inhaltsplatzhalter 2"/>
          <p:cNvSpPr>
            <a:spLocks noGrp="1"/>
          </p:cNvSpPr>
          <p:nvPr>
            <p:ph sz="half" idx="1"/>
          </p:nvPr>
        </p:nvSpPr>
        <p:spPr>
          <a:xfrm>
            <a:off x="415924" y="1304764"/>
            <a:ext cx="2988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35" name="Inhaltsplatzhalter 3"/>
          <p:cNvSpPr>
            <a:spLocks noGrp="1"/>
          </p:cNvSpPr>
          <p:nvPr>
            <p:ph sz="half" idx="2"/>
          </p:nvPr>
        </p:nvSpPr>
        <p:spPr>
          <a:xfrm>
            <a:off x="3458547" y="1304764"/>
            <a:ext cx="2988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36" name="Textplatzhalter 2"/>
          <p:cNvSpPr>
            <a:spLocks noGrp="1"/>
          </p:cNvSpPr>
          <p:nvPr>
            <p:ph type="body" idx="14" hasCustomPrompt="1"/>
          </p:nvPr>
        </p:nvSpPr>
        <p:spPr>
          <a:xfrm>
            <a:off x="415924"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37" name="Inhaltsplatzhalter 3"/>
          <p:cNvSpPr>
            <a:spLocks noGrp="1"/>
          </p:cNvSpPr>
          <p:nvPr>
            <p:ph sz="half" idx="15"/>
          </p:nvPr>
        </p:nvSpPr>
        <p:spPr>
          <a:xfrm>
            <a:off x="6501172" y="1304764"/>
            <a:ext cx="2988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38" name="Textplatzhalter 2"/>
          <p:cNvSpPr>
            <a:spLocks noGrp="1"/>
          </p:cNvSpPr>
          <p:nvPr>
            <p:ph type="body" idx="16" hasCustomPrompt="1"/>
          </p:nvPr>
        </p:nvSpPr>
        <p:spPr>
          <a:xfrm>
            <a:off x="3458547"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39" name="Textplatzhalter 2"/>
          <p:cNvSpPr>
            <a:spLocks noGrp="1"/>
          </p:cNvSpPr>
          <p:nvPr>
            <p:ph type="body" idx="17" hasCustomPrompt="1"/>
          </p:nvPr>
        </p:nvSpPr>
        <p:spPr>
          <a:xfrm>
            <a:off x="6501172"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19"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20"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2256755473"/>
      </p:ext>
    </p:extLst>
  </p:cSld>
  <p:clrMapOvr>
    <a:masterClrMapping/>
  </p:clrMapOvr>
  <p:transition>
    <p:zoom/>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 pictures 2 contents">
    <p:spTree>
      <p:nvGrpSpPr>
        <p:cNvPr id="1" name=""/>
        <p:cNvGrpSpPr/>
        <p:nvPr/>
      </p:nvGrpSpPr>
      <p:grpSpPr>
        <a:xfrm>
          <a:off x="0" y="0"/>
          <a:ext cx="0" cy="0"/>
          <a:chOff x="0" y="0"/>
          <a:chExt cx="0" cy="0"/>
        </a:xfrm>
      </p:grpSpPr>
      <p:sp>
        <p:nvSpPr>
          <p:cNvPr id="3" name="Inhaltsplatzhalter 2"/>
          <p:cNvSpPr>
            <a:spLocks noGrp="1"/>
          </p:cNvSpPr>
          <p:nvPr>
            <p:ph idx="1"/>
          </p:nvPr>
        </p:nvSpPr>
        <p:spPr>
          <a:xfrm>
            <a:off x="3432000" y="944563"/>
            <a:ext cx="6045000" cy="2825749"/>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Bildplatzhalter 8"/>
          <p:cNvSpPr>
            <a:spLocks noGrp="1"/>
          </p:cNvSpPr>
          <p:nvPr>
            <p:ph type="pic" sz="quarter" idx="14"/>
          </p:nvPr>
        </p:nvSpPr>
        <p:spPr>
          <a:xfrm>
            <a:off x="415925" y="944563"/>
            <a:ext cx="2772000" cy="2772000"/>
          </a:xfrm>
        </p:spPr>
        <p:txBody>
          <a:bodyPr lIns="0" tIns="180000" rIns="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10" name="Bildplatzhalter 8"/>
          <p:cNvSpPr>
            <a:spLocks noGrp="1"/>
          </p:cNvSpPr>
          <p:nvPr>
            <p:ph type="pic" sz="quarter" idx="15"/>
          </p:nvPr>
        </p:nvSpPr>
        <p:spPr>
          <a:xfrm>
            <a:off x="417009" y="3825650"/>
            <a:ext cx="2772000" cy="2772000"/>
          </a:xfrm>
        </p:spPr>
        <p:txBody>
          <a:bodyPr lIns="0" tIns="180000" rIns="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11" name="Inhaltsplatzhalter 2"/>
          <p:cNvSpPr>
            <a:spLocks noGrp="1"/>
          </p:cNvSpPr>
          <p:nvPr>
            <p:ph idx="16"/>
          </p:nvPr>
        </p:nvSpPr>
        <p:spPr>
          <a:xfrm>
            <a:off x="3432000" y="3770313"/>
            <a:ext cx="6045000" cy="2827337"/>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2"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3"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515362955"/>
      </p:ext>
    </p:extLst>
  </p:cSld>
  <p:clrMapOvr>
    <a:masterClrMapping/>
  </p:clrMapOvr>
  <p:transition>
    <p:zoom/>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4 contents matrix">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11663" y="944563"/>
            <a:ext cx="4426875"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Inhaltsplatzhalter 3"/>
          <p:cNvSpPr>
            <a:spLocks noGrp="1"/>
          </p:cNvSpPr>
          <p:nvPr>
            <p:ph sz="half" idx="2"/>
          </p:nvPr>
        </p:nvSpPr>
        <p:spPr>
          <a:xfrm>
            <a:off x="411663" y="3770312"/>
            <a:ext cx="4426875"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12" name="Inhaltsplatzhalter 3"/>
          <p:cNvSpPr>
            <a:spLocks noGrp="1"/>
          </p:cNvSpPr>
          <p:nvPr>
            <p:ph sz="half" idx="15"/>
          </p:nvPr>
        </p:nvSpPr>
        <p:spPr>
          <a:xfrm>
            <a:off x="5061504" y="944563"/>
            <a:ext cx="4428000" cy="2825750"/>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5" name="Inhaltsplatzhalter 3"/>
          <p:cNvSpPr>
            <a:spLocks noGrp="1"/>
          </p:cNvSpPr>
          <p:nvPr>
            <p:ph sz="half" idx="18"/>
          </p:nvPr>
        </p:nvSpPr>
        <p:spPr>
          <a:xfrm>
            <a:off x="5061504" y="3770312"/>
            <a:ext cx="4428000" cy="2827337"/>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1"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3"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109761453"/>
      </p:ext>
    </p:extLst>
  </p:cSld>
  <p:clrMapOvr>
    <a:masterClrMapping/>
  </p:clrMapOvr>
  <p:transition>
    <p:zoom/>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Only title + subheadlin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en-US" dirty="0">
              <a:solidFill>
                <a:srgbClr val="8064A2"/>
              </a:solidFill>
            </a:endParaRPr>
          </a:p>
        </p:txBody>
      </p:sp>
      <p:sp>
        <p:nvSpPr>
          <p:cNvPr id="4" name="Fußzeilenplatzhalter 3"/>
          <p:cNvSpPr>
            <a:spLocks noGrp="1"/>
          </p:cNvSpPr>
          <p:nvPr>
            <p:ph type="ftr" sz="quarter" idx="11"/>
          </p:nvPr>
        </p:nvSpPr>
        <p:spPr/>
        <p:txBody>
          <a:bodyPr/>
          <a:lstStyle/>
          <a:p>
            <a:pPr>
              <a:defRPr/>
            </a:pPr>
            <a:endParaRPr lang="en-US">
              <a:solidFill>
                <a:srgbClr val="1F497D"/>
              </a:solidFill>
            </a:endParaRPr>
          </a:p>
        </p:txBody>
      </p:sp>
      <p:sp>
        <p:nvSpPr>
          <p:cNvPr id="5" name="Foliennummernplatzhalter 4"/>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7"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8"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2322006061"/>
      </p:ext>
    </p:extLst>
  </p:cSld>
  <p:clrMapOvr>
    <a:masterClrMapping/>
  </p:clrMapOvr>
  <p:transition>
    <p:zoom/>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040164564"/>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3695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9" name="Rechteck 8"/>
          <p:cNvSpPr/>
          <p:nvPr/>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13" name="Bildplatzhalter 8"/>
          <p:cNvSpPr>
            <a:spLocks noGrp="1"/>
          </p:cNvSpPr>
          <p:nvPr>
            <p:ph type="pic" sz="quarter" idx="14"/>
          </p:nvPr>
        </p:nvSpPr>
        <p:spPr>
          <a:xfrm>
            <a:off x="0" y="0"/>
            <a:ext cx="9906000" cy="4284406"/>
          </a:xfrm>
        </p:spPr>
        <p:txBody>
          <a:bodyPr lIns="396000" tIns="180000" rIns="39600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2" name="Titel 1"/>
          <p:cNvSpPr>
            <a:spLocks noGrp="1"/>
          </p:cNvSpPr>
          <p:nvPr>
            <p:ph type="title" hasCustomPrompt="1"/>
          </p:nvPr>
        </p:nvSpPr>
        <p:spPr>
          <a:xfrm>
            <a:off x="416496" y="4680000"/>
            <a:ext cx="7020000" cy="1800000"/>
          </a:xfrm>
        </p:spPr>
        <p:txBody>
          <a:bodyPr anchor="t"/>
          <a:lstStyle>
            <a:lvl1pPr algn="l">
              <a:defRPr sz="3200" b="0" cap="all" baseline="0">
                <a:sym typeface="Wingdings" panose="05000000000000000000" pitchFamily="2" charset="2"/>
              </a:defRPr>
            </a:lvl1pPr>
          </a:lstStyle>
          <a:p>
            <a:r>
              <a:rPr lang="en-US" noProof="0" dirty="0" smtClean="0"/>
              <a:t>Chapter slide</a:t>
            </a:r>
            <a:br>
              <a:rPr lang="en-US" noProof="0" dirty="0" smtClean="0"/>
            </a:br>
            <a:r>
              <a:rPr lang="en-US" noProof="0" dirty="0" smtClean="0"/>
              <a:t>(Chapter no.  right)</a:t>
            </a:r>
            <a:endParaRPr lang="en-US" noProof="0" dirty="0"/>
          </a:p>
        </p:txBody>
      </p:sp>
      <p:sp>
        <p:nvSpPr>
          <p:cNvPr id="11" name="Rechteck 10"/>
          <p:cNvSpPr/>
          <p:nvPr/>
        </p:nvSpPr>
        <p:spPr>
          <a:xfrm>
            <a:off x="0" y="4320000"/>
            <a:ext cx="9906000" cy="72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3" name="Textplatzhalter 2"/>
          <p:cNvSpPr>
            <a:spLocks noGrp="1"/>
          </p:cNvSpPr>
          <p:nvPr>
            <p:ph type="body" idx="1" hasCustomPrompt="1"/>
          </p:nvPr>
        </p:nvSpPr>
        <p:spPr>
          <a:xfrm>
            <a:off x="7761000" y="3019334"/>
            <a:ext cx="2145000" cy="1260000"/>
          </a:xfrm>
          <a:solidFill>
            <a:schemeClr val="bg1">
              <a:alpha val="85000"/>
            </a:schemeClr>
          </a:solidFill>
        </p:spPr>
        <p:txBody>
          <a:bodyPr lIns="180000" tIns="72000" rIns="396000" bIns="72000" anchor="ctr" anchorCtr="0"/>
          <a:lstStyle>
            <a:lvl1pPr marL="0" indent="0">
              <a:buNone/>
              <a:defRPr sz="6000" b="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01</a:t>
            </a:r>
          </a:p>
        </p:txBody>
      </p:sp>
      <p:pic>
        <p:nvPicPr>
          <p:cNvPr id="15" name="Grafik 1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888802" y="4680000"/>
            <a:ext cx="1587524" cy="650566"/>
          </a:xfrm>
          <a:prstGeom prst="rect">
            <a:avLst/>
          </a:prstGeom>
        </p:spPr>
      </p:pic>
    </p:spTree>
    <p:extLst>
      <p:ext uri="{BB962C8B-B14F-4D97-AF65-F5344CB8AC3E}">
        <p14:creationId xmlns:p14="http://schemas.microsoft.com/office/powerpoint/2010/main" val="2347719887"/>
      </p:ext>
    </p:extLst>
  </p:cSld>
  <p:clrMapOvr>
    <a:masterClrMapping/>
  </p:clrMapOvr>
  <p:transition>
    <p:zoom/>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full faced with title bandero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051250096"/>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379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3" name="Bildplatzhalter 2"/>
          <p:cNvSpPr>
            <a:spLocks noGrp="1"/>
          </p:cNvSpPr>
          <p:nvPr>
            <p:ph type="pic" idx="1"/>
          </p:nvPr>
        </p:nvSpPr>
        <p:spPr>
          <a:xfrm>
            <a:off x="0" y="944563"/>
            <a:ext cx="9906000" cy="5653087"/>
          </a:xfrm>
        </p:spPr>
        <p:txBody>
          <a:bodyPr lIns="396000" tIns="180000" rIns="396000" bIns="180000"/>
          <a:lstStyle>
            <a:lvl1pPr marL="0" indent="0">
              <a:buNone/>
              <a:defRPr sz="1600">
                <a:solidFill>
                  <a:schemeClr val="accent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smtClean="0"/>
              <a:t>Click icon to add picture</a:t>
            </a:r>
            <a:endParaRPr lang="en-US" noProof="0" dirty="0"/>
          </a:p>
        </p:txBody>
      </p:sp>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2" name="Titel 1"/>
          <p:cNvSpPr>
            <a:spLocks noGrp="1"/>
          </p:cNvSpPr>
          <p:nvPr>
            <p:ph type="title" hasCustomPrompt="1"/>
          </p:nvPr>
        </p:nvSpPr>
        <p:spPr>
          <a:xfrm>
            <a:off x="-1" y="4500000"/>
            <a:ext cx="9906000" cy="720000"/>
          </a:xfrm>
          <a:solidFill>
            <a:srgbClr val="FFFFFF">
              <a:alpha val="90000"/>
            </a:srgbClr>
          </a:solidFill>
        </p:spPr>
        <p:txBody>
          <a:bodyPr lIns="396000" tIns="36000" rIns="396000" bIns="36000" anchor="b"/>
          <a:lstStyle>
            <a:lvl1pPr algn="l">
              <a:defRPr sz="2400" b="0" baseline="0"/>
            </a:lvl1pPr>
          </a:lstStyle>
          <a:p>
            <a:r>
              <a:rPr lang="en-US" noProof="0" dirty="0" smtClean="0"/>
              <a:t>Slide Title single spaced</a:t>
            </a:r>
            <a:endParaRPr lang="en-US" noProof="0" dirty="0"/>
          </a:p>
        </p:txBody>
      </p:sp>
      <p:sp>
        <p:nvSpPr>
          <p:cNvPr id="4" name="Textplatzhalter 3"/>
          <p:cNvSpPr>
            <a:spLocks noGrp="1"/>
          </p:cNvSpPr>
          <p:nvPr>
            <p:ph type="body" sz="half" idx="2" hasCustomPrompt="1"/>
          </p:nvPr>
        </p:nvSpPr>
        <p:spPr>
          <a:xfrm>
            <a:off x="0" y="5220000"/>
            <a:ext cx="9906000" cy="540000"/>
          </a:xfrm>
          <a:solidFill>
            <a:srgbClr val="FFFFFF">
              <a:alpha val="75000"/>
            </a:srgbClr>
          </a:solidFill>
        </p:spPr>
        <p:txBody>
          <a:bodyPr lIns="396000" tIns="36000" rIns="396000" bIns="36000"/>
          <a:lstStyle>
            <a:lvl1pPr marL="0" indent="0">
              <a:buNone/>
              <a:defRPr sz="2000" cap="all"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Subheadline single spaced</a:t>
            </a:r>
          </a:p>
        </p:txBody>
      </p:sp>
    </p:spTree>
    <p:extLst>
      <p:ext uri="{BB962C8B-B14F-4D97-AF65-F5344CB8AC3E}">
        <p14:creationId xmlns:p14="http://schemas.microsoft.com/office/powerpoint/2010/main" val="2452113042"/>
      </p:ext>
    </p:extLst>
  </p:cSld>
  <p:clrMapOvr>
    <a:masterClrMapping/>
  </p:clrMapOvr>
  <p:transition>
    <p:zoom/>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Closing slid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091694813"/>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390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9" name="Rechteck 8"/>
          <p:cNvSpPr/>
          <p:nvPr/>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2" name="Titel 1"/>
          <p:cNvSpPr>
            <a:spLocks noGrp="1"/>
          </p:cNvSpPr>
          <p:nvPr>
            <p:ph type="title" hasCustomPrompt="1"/>
          </p:nvPr>
        </p:nvSpPr>
        <p:spPr>
          <a:xfrm>
            <a:off x="407095" y="2924944"/>
            <a:ext cx="7020000" cy="1035056"/>
          </a:xfrm>
        </p:spPr>
        <p:txBody>
          <a:bodyPr anchor="b" anchorCtr="0"/>
          <a:lstStyle>
            <a:lvl1pPr algn="l">
              <a:defRPr sz="3200" b="0" cap="all" baseline="0"/>
            </a:lvl1pPr>
          </a:lstStyle>
          <a:p>
            <a:r>
              <a:rPr lang="en-US" noProof="0" dirty="0" smtClean="0"/>
              <a:t>Many thanks for your attention.</a:t>
            </a:r>
            <a:endParaRPr lang="en-US" noProof="0" dirty="0"/>
          </a:p>
        </p:txBody>
      </p:sp>
      <p:sp>
        <p:nvSpPr>
          <p:cNvPr id="3" name="Textplatzhalter 2"/>
          <p:cNvSpPr>
            <a:spLocks noGrp="1"/>
          </p:cNvSpPr>
          <p:nvPr>
            <p:ph type="body" idx="1" hasCustomPrompt="1"/>
          </p:nvPr>
        </p:nvSpPr>
        <p:spPr>
          <a:xfrm>
            <a:off x="407095" y="4608000"/>
            <a:ext cx="7020000" cy="1800000"/>
          </a:xfrm>
        </p:spPr>
        <p:txBody>
          <a:bodyPr tIns="0" anchor="t" anchorCtr="0"/>
          <a:lstStyle>
            <a:lvl1pPr marL="0" indent="0">
              <a:buNone/>
              <a:defRPr sz="2000" baseline="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ntact person</a:t>
            </a:r>
            <a:br>
              <a:rPr lang="en-US" noProof="0" dirty="0" smtClean="0"/>
            </a:br>
            <a:r>
              <a:rPr lang="en-US" noProof="0" dirty="0" smtClean="0"/>
              <a:t>Department</a:t>
            </a:r>
            <a:br>
              <a:rPr lang="en-US" noProof="0" dirty="0" smtClean="0"/>
            </a:br>
            <a:r>
              <a:rPr lang="en-US" noProof="0" dirty="0" smtClean="0"/>
              <a:t>As needed phone / e-mail</a:t>
            </a:r>
          </a:p>
        </p:txBody>
      </p:sp>
      <p:sp>
        <p:nvSpPr>
          <p:cNvPr id="12" name="Rechteck 11"/>
          <p:cNvSpPr/>
          <p:nvPr/>
        </p:nvSpPr>
        <p:spPr>
          <a:xfrm>
            <a:off x="0" y="4320000"/>
            <a:ext cx="9906000" cy="72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pic>
        <p:nvPicPr>
          <p:cNvPr id="8" name="Grafik 7"/>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888802" y="4680000"/>
            <a:ext cx="1587524" cy="650566"/>
          </a:xfrm>
          <a:prstGeom prst="rect">
            <a:avLst/>
          </a:prstGeom>
        </p:spPr>
      </p:pic>
    </p:spTree>
    <p:extLst>
      <p:ext uri="{BB962C8B-B14F-4D97-AF65-F5344CB8AC3E}">
        <p14:creationId xmlns:p14="http://schemas.microsoft.com/office/powerpoint/2010/main" val="2581337583"/>
      </p:ext>
    </p:extLst>
  </p:cSld>
  <p:clrMapOvr>
    <a:masterClrMapping/>
  </p:clrMapOvr>
  <p:transition>
    <p:zoom/>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254947773"/>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400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9" name="Rechteck 8"/>
          <p:cNvSpPr/>
          <p:nvPr/>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700">
              <a:solidFill>
                <a:prstClr val="white"/>
              </a:solidFill>
            </a:endParaRPr>
          </a:p>
        </p:txBody>
      </p:sp>
    </p:spTree>
    <p:extLst>
      <p:ext uri="{BB962C8B-B14F-4D97-AF65-F5344CB8AC3E}">
        <p14:creationId xmlns:p14="http://schemas.microsoft.com/office/powerpoint/2010/main" val="3736814371"/>
      </p:ext>
    </p:extLst>
  </p:cSld>
  <p:clrMapOvr>
    <a:masterClrMapping/>
  </p:clrMapOvr>
  <p:transition>
    <p:zoom/>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smtClean="0"/>
              <a:t>Click to edit Master title style</a:t>
            </a:r>
            <a:endParaRPr lang="ru-RU"/>
          </a:p>
        </p:txBody>
      </p:sp>
      <p:sp>
        <p:nvSpPr>
          <p:cNvPr id="3" name="Rectangle 4"/>
          <p:cNvSpPr>
            <a:spLocks noGrp="1" noChangeArrowheads="1"/>
          </p:cNvSpPr>
          <p:nvPr>
            <p:ph type="ftr" sz="quarter" idx="10"/>
          </p:nvPr>
        </p:nvSpPr>
        <p:spPr>
          <a:ln/>
        </p:spPr>
        <p:txBody>
          <a:bodyPr/>
          <a:lstStyle>
            <a:lvl1pPr>
              <a:defRPr/>
            </a:lvl1pPr>
          </a:lstStyle>
          <a:p>
            <a:pPr>
              <a:defRPr/>
            </a:pPr>
            <a:endParaRPr lang="en-US">
              <a:solidFill>
                <a:srgbClr val="1F497D"/>
              </a:solidFill>
            </a:endParaRPr>
          </a:p>
        </p:txBody>
      </p:sp>
      <p:sp>
        <p:nvSpPr>
          <p:cNvPr id="4" name="Rectangle 5"/>
          <p:cNvSpPr>
            <a:spLocks noGrp="1" noChangeArrowheads="1"/>
          </p:cNvSpPr>
          <p:nvPr>
            <p:ph type="sldNum" sz="quarter" idx="11"/>
          </p:nvPr>
        </p:nvSpPr>
        <p:spPr>
          <a:ln/>
        </p:spPr>
        <p:txBody>
          <a:bodyPr/>
          <a:lstStyle>
            <a:lvl1pPr>
              <a:defRPr/>
            </a:lvl1pPr>
          </a:lstStyle>
          <a:p>
            <a:pPr>
              <a:defRPr/>
            </a:pPr>
            <a:fld id="{F80DF1CE-CD36-45B8-9258-D3B3E84662B3}" type="slidenum">
              <a:rPr lang="en-US">
                <a:solidFill>
                  <a:srgbClr val="8064A2"/>
                </a:solidFill>
              </a:rPr>
              <a:pPr>
                <a:defRPr/>
              </a:pPr>
              <a:t>‹#›</a:t>
            </a:fld>
            <a:endParaRPr lang="en-US">
              <a:solidFill>
                <a:srgbClr val="8064A2"/>
              </a:solidFill>
            </a:endParaRPr>
          </a:p>
        </p:txBody>
      </p:sp>
    </p:spTree>
    <p:extLst>
      <p:ext uri="{BB962C8B-B14F-4D97-AF65-F5344CB8AC3E}">
        <p14:creationId xmlns:p14="http://schemas.microsoft.com/office/powerpoint/2010/main" val="470012772"/>
      </p:ext>
    </p:extLst>
  </p:cSld>
  <p:clrMapOvr>
    <a:masterClrMapping/>
  </p:clrMapOvr>
  <p:transition>
    <p:zoom/>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clipArtAndTx">
  <p:cSld name="Заголовок, клип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a:prstGeom prst="rect">
            <a:avLst/>
          </a:prstGeom>
        </p:spPr>
        <p:txBody>
          <a:bodyPr/>
          <a:lstStyle/>
          <a:p>
            <a:r>
              <a:rPr lang="en-US" smtClean="0"/>
              <a:t>Click to edit Master title style</a:t>
            </a:r>
            <a:endParaRPr lang="ru-RU"/>
          </a:p>
        </p:txBody>
      </p:sp>
      <p:sp>
        <p:nvSpPr>
          <p:cNvPr id="3" name="Клип 2"/>
          <p:cNvSpPr>
            <a:spLocks noGrp="1"/>
          </p:cNvSpPr>
          <p:nvPr>
            <p:ph type="clipArt" sz="half" idx="1"/>
          </p:nvPr>
        </p:nvSpPr>
        <p:spPr>
          <a:xfrm>
            <a:off x="495300" y="1600203"/>
            <a:ext cx="4375150" cy="4525963"/>
          </a:xfrm>
          <a:prstGeom prst="rect">
            <a:avLst/>
          </a:prstGeom>
        </p:spPr>
        <p:txBody>
          <a:bodyPr/>
          <a:lstStyle/>
          <a:p>
            <a:pPr lvl="0"/>
            <a:r>
              <a:rPr lang="en-US" noProof="0" smtClean="0"/>
              <a:t>Click icon to add clip art</a:t>
            </a:r>
            <a:endParaRPr lang="ru-RU" noProof="0"/>
          </a:p>
        </p:txBody>
      </p:sp>
      <p:sp>
        <p:nvSpPr>
          <p:cNvPr id="4" name="Текст 3"/>
          <p:cNvSpPr>
            <a:spLocks noGrp="1"/>
          </p:cNvSpPr>
          <p:nvPr>
            <p:ph type="body" sz="half" idx="2"/>
          </p:nvPr>
        </p:nvSpPr>
        <p:spPr>
          <a:xfrm>
            <a:off x="5035550" y="1600203"/>
            <a:ext cx="437515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Tree>
    <p:extLst>
      <p:ext uri="{BB962C8B-B14F-4D97-AF65-F5344CB8AC3E}">
        <p14:creationId xmlns:p14="http://schemas.microsoft.com/office/powerpoint/2010/main" val="2973863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with picture">
    <p:spTree>
      <p:nvGrpSpPr>
        <p:cNvPr id="1" name=""/>
        <p:cNvGrpSpPr/>
        <p:nvPr/>
      </p:nvGrpSpPr>
      <p:grpSpPr>
        <a:xfrm>
          <a:off x="0" y="0"/>
          <a:ext cx="0" cy="0"/>
          <a:chOff x="0" y="0"/>
          <a:chExt cx="0" cy="0"/>
        </a:xfrm>
      </p:grpSpPr>
      <p:sp>
        <p:nvSpPr>
          <p:cNvPr id="7" name="Foliennummernplatzhalter"/>
          <p:cNvSpPr>
            <a:spLocks noGrp="1"/>
          </p:cNvSpPr>
          <p:nvPr>
            <p:ph type="sldNum" sz="quarter" idx="12"/>
          </p:nvPr>
        </p:nvSpPr>
        <p:spPr/>
        <p:txBody>
          <a:bodyPr/>
          <a:lstStyle/>
          <a:p>
            <a:fld id="{1FB8D038-2D38-4B10-A0EB-C05CC9130EB2}" type="slidenum">
              <a:rPr lang="en-US" noProof="0" smtClean="0"/>
              <a:t>‹#›</a:t>
            </a:fld>
            <a:endParaRPr lang="en-US" noProof="0" dirty="0"/>
          </a:p>
        </p:txBody>
      </p:sp>
      <p:sp>
        <p:nvSpPr>
          <p:cNvPr id="6" name="Fußzeilenplatzhalter"/>
          <p:cNvSpPr>
            <a:spLocks noGrp="1"/>
          </p:cNvSpPr>
          <p:nvPr>
            <p:ph type="ftr" sz="quarter" idx="11"/>
          </p:nvPr>
        </p:nvSpPr>
        <p:spPr/>
        <p:txBody>
          <a:bodyPr/>
          <a:lstStyle/>
          <a:p>
            <a:endParaRPr lang="en-US" noProof="0" dirty="0"/>
          </a:p>
        </p:txBody>
      </p:sp>
      <p:sp>
        <p:nvSpPr>
          <p:cNvPr id="5" name="Datumsplatzhalter"/>
          <p:cNvSpPr>
            <a:spLocks noGrp="1"/>
          </p:cNvSpPr>
          <p:nvPr>
            <p:ph type="dt" sz="half" idx="10"/>
          </p:nvPr>
        </p:nvSpPr>
        <p:spPr/>
        <p:txBody>
          <a:bodyPr/>
          <a:lstStyle/>
          <a:p>
            <a:endParaRPr lang="en-US" noProof="0" dirty="0"/>
          </a:p>
        </p:txBody>
      </p:sp>
      <p:sp>
        <p:nvSpPr>
          <p:cNvPr id="17" name="Bildplatzhalter 3"/>
          <p:cNvSpPr>
            <a:spLocks noGrp="1"/>
          </p:cNvSpPr>
          <p:nvPr>
            <p:ph type="pic" sz="quarter" idx="20"/>
          </p:nvPr>
        </p:nvSpPr>
        <p:spPr>
          <a:xfrm>
            <a:off x="6501172" y="4748975"/>
            <a:ext cx="2880000" cy="1800000"/>
          </a:xfrm>
        </p:spPr>
        <p:txBody>
          <a:bodyPr lIns="0" tIns="180000" rIns="0" bIns="180000"/>
          <a:lstStyle>
            <a:lvl1pPr marL="0" indent="0">
              <a:buFontTx/>
              <a:buNone/>
              <a:defRPr sz="1400">
                <a:solidFill>
                  <a:schemeClr val="accent2"/>
                </a:solidFill>
              </a:defRPr>
            </a:lvl1pPr>
          </a:lstStyle>
          <a:p>
            <a:r>
              <a:rPr lang="de-DE" noProof="0" smtClean="0"/>
              <a:t>Bild durch Klicken auf Symbol hinzufügen</a:t>
            </a:r>
            <a:endParaRPr lang="en-US" noProof="0" dirty="0"/>
          </a:p>
        </p:txBody>
      </p:sp>
      <p:sp>
        <p:nvSpPr>
          <p:cNvPr id="16" name="Bildplatzhalter 2"/>
          <p:cNvSpPr>
            <a:spLocks noGrp="1"/>
          </p:cNvSpPr>
          <p:nvPr>
            <p:ph type="pic" sz="quarter" idx="19"/>
          </p:nvPr>
        </p:nvSpPr>
        <p:spPr>
          <a:xfrm>
            <a:off x="3513001" y="4748975"/>
            <a:ext cx="2880000" cy="1800000"/>
          </a:xfrm>
        </p:spPr>
        <p:txBody>
          <a:bodyPr lIns="0" tIns="180000" rIns="0" bIns="180000"/>
          <a:lstStyle>
            <a:lvl1pPr marL="0" indent="0">
              <a:buFontTx/>
              <a:buNone/>
              <a:defRPr sz="1400">
                <a:solidFill>
                  <a:schemeClr val="accent2"/>
                </a:solidFill>
              </a:defRPr>
            </a:lvl1pPr>
          </a:lstStyle>
          <a:p>
            <a:r>
              <a:rPr lang="de-DE" noProof="0" smtClean="0"/>
              <a:t>Bild durch Klicken auf Symbol hinzufügen</a:t>
            </a:r>
            <a:endParaRPr lang="en-US" noProof="0" dirty="0"/>
          </a:p>
        </p:txBody>
      </p:sp>
      <p:sp>
        <p:nvSpPr>
          <p:cNvPr id="15" name="Bildplatzhalter 1"/>
          <p:cNvSpPr>
            <a:spLocks noGrp="1"/>
          </p:cNvSpPr>
          <p:nvPr>
            <p:ph type="pic" sz="quarter" idx="18"/>
          </p:nvPr>
        </p:nvSpPr>
        <p:spPr>
          <a:xfrm>
            <a:off x="524828" y="4748975"/>
            <a:ext cx="2880000" cy="1800000"/>
          </a:xfrm>
        </p:spPr>
        <p:txBody>
          <a:bodyPr lIns="0" tIns="180000" rIns="0" bIns="180000"/>
          <a:lstStyle>
            <a:lvl1pPr marL="0" indent="0">
              <a:buFontTx/>
              <a:buNone/>
              <a:defRPr sz="1400">
                <a:solidFill>
                  <a:schemeClr val="accent2"/>
                </a:solidFill>
              </a:defRPr>
            </a:lvl1pPr>
          </a:lstStyle>
          <a:p>
            <a:r>
              <a:rPr lang="de-DE" noProof="0" smtClean="0"/>
              <a:t>Bild durch Klicken auf Symbol hinzufügen</a:t>
            </a:r>
            <a:endParaRPr lang="en-US" noProof="0" dirty="0"/>
          </a:p>
        </p:txBody>
      </p:sp>
      <p:sp>
        <p:nvSpPr>
          <p:cNvPr id="37" name="Inhaltsplatzhalter 3"/>
          <p:cNvSpPr>
            <a:spLocks noGrp="1"/>
          </p:cNvSpPr>
          <p:nvPr>
            <p:ph sz="half" idx="15"/>
          </p:nvPr>
        </p:nvSpPr>
        <p:spPr>
          <a:xfrm>
            <a:off x="6501172" y="1304764"/>
            <a:ext cx="2880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35" name="Inhaltsplatzhalter 2"/>
          <p:cNvSpPr>
            <a:spLocks noGrp="1"/>
          </p:cNvSpPr>
          <p:nvPr>
            <p:ph sz="half" idx="2"/>
          </p:nvPr>
        </p:nvSpPr>
        <p:spPr>
          <a:xfrm>
            <a:off x="3513000" y="1304764"/>
            <a:ext cx="2880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34" name="Inhaltsplatzhalter 1"/>
          <p:cNvSpPr>
            <a:spLocks noGrp="1"/>
          </p:cNvSpPr>
          <p:nvPr>
            <p:ph sz="half" idx="1"/>
          </p:nvPr>
        </p:nvSpPr>
        <p:spPr>
          <a:xfrm>
            <a:off x="524828" y="1304764"/>
            <a:ext cx="2880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p:txBody>
      </p:sp>
      <p:sp>
        <p:nvSpPr>
          <p:cNvPr id="39" name="Spaltenüberschrift 3"/>
          <p:cNvSpPr>
            <a:spLocks noGrp="1"/>
          </p:cNvSpPr>
          <p:nvPr>
            <p:ph type="body" idx="17" hasCustomPrompt="1"/>
          </p:nvPr>
        </p:nvSpPr>
        <p:spPr>
          <a:xfrm>
            <a:off x="6501172" y="900000"/>
            <a:ext cx="2880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38" name="Spaltenüberschrift 2"/>
          <p:cNvSpPr>
            <a:spLocks noGrp="1"/>
          </p:cNvSpPr>
          <p:nvPr>
            <p:ph type="body" idx="16" hasCustomPrompt="1"/>
          </p:nvPr>
        </p:nvSpPr>
        <p:spPr>
          <a:xfrm>
            <a:off x="3513000" y="900000"/>
            <a:ext cx="2880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36" name="Spaltenüberschrift 1"/>
          <p:cNvSpPr>
            <a:spLocks noGrp="1"/>
          </p:cNvSpPr>
          <p:nvPr>
            <p:ph type="body" idx="14" hasCustomPrompt="1"/>
          </p:nvPr>
        </p:nvSpPr>
        <p:spPr>
          <a:xfrm>
            <a:off x="524828" y="900000"/>
            <a:ext cx="2880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cxnSp>
        <p:nvCxnSpPr>
          <p:cNvPr id="18" name="Trennlinie Spaltenüberschrift"/>
          <p:cNvCxnSpPr/>
          <p:nvPr userDrawn="1"/>
        </p:nvCxnSpPr>
        <p:spPr>
          <a:xfrm>
            <a:off x="0" y="1260000"/>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sp>
        <p:nvSpPr>
          <p:cNvPr id="20" name="Subheadline"/>
          <p:cNvSpPr>
            <a:spLocks noGrp="1"/>
          </p:cNvSpPr>
          <p:nvPr>
            <p:ph type="body" idx="13" hasCustomPrompt="1"/>
          </p:nvPr>
        </p:nvSpPr>
        <p:spPr>
          <a:xfrm>
            <a:off x="525600" y="548680"/>
            <a:ext cx="7308000" cy="288000"/>
          </a:xfrm>
        </p:spPr>
        <p:txBody>
          <a:bodyPr tIns="0" anchor="t" anchorCtr="0"/>
          <a:lstStyle>
            <a:lvl1pPr marL="0" indent="0">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
        <p:nvSpPr>
          <p:cNvPr id="19" name="Titel"/>
          <p:cNvSpPr>
            <a:spLocks noGrp="1"/>
          </p:cNvSpPr>
          <p:nvPr>
            <p:ph type="title" hasCustomPrompt="1"/>
          </p:nvPr>
        </p:nvSpPr>
        <p:spPr>
          <a:xfrm>
            <a:off x="525600" y="288000"/>
            <a:ext cx="7308000" cy="260680"/>
          </a:xfrm>
        </p:spPr>
        <p:txBody>
          <a:bodyPr/>
          <a:lstStyle>
            <a:lvl1pPr>
              <a:defRPr baseline="0"/>
            </a:lvl1pPr>
          </a:lstStyle>
          <a:p>
            <a:r>
              <a:rPr lang="en-US" noProof="0" dirty="0" smtClean="0"/>
              <a:t>Slide Title single spaced</a:t>
            </a:r>
            <a:endParaRPr lang="en-US" noProof="0" dirty="0"/>
          </a:p>
        </p:txBody>
      </p:sp>
    </p:spTree>
    <p:extLst>
      <p:ext uri="{BB962C8B-B14F-4D97-AF65-F5344CB8AC3E}">
        <p14:creationId xmlns:p14="http://schemas.microsoft.com/office/powerpoint/2010/main" val="3966974262"/>
      </p:ext>
    </p:extLst>
  </p:cSld>
  <p:clrMapOvr>
    <a:masterClrMapping/>
  </p:clrMapOvr>
  <p:transition>
    <p:zoom/>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smtClean="0"/>
              <a:t>Click to edit Master title style</a:t>
            </a:r>
            <a:endParaRPr lang="ru-RU"/>
          </a:p>
        </p:txBody>
      </p:sp>
      <p:sp>
        <p:nvSpPr>
          <p:cNvPr id="3" name="Содержимое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Rectangle 4"/>
          <p:cNvSpPr>
            <a:spLocks noGrp="1" noChangeArrowheads="1"/>
          </p:cNvSpPr>
          <p:nvPr>
            <p:ph type="ftr" sz="quarter" idx="10"/>
          </p:nvPr>
        </p:nvSpPr>
        <p:spPr>
          <a:ln/>
        </p:spPr>
        <p:txBody>
          <a:bodyPr/>
          <a:lstStyle>
            <a:lvl1pPr>
              <a:defRPr/>
            </a:lvl1pPr>
          </a:lstStyle>
          <a:p>
            <a:pPr>
              <a:defRPr/>
            </a:pPr>
            <a:endParaRPr lang="en-US">
              <a:solidFill>
                <a:srgbClr val="1F497D"/>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FBDB341C-AE73-49AE-AB6A-F7406460B246}" type="slidenum">
              <a:rPr lang="en-US">
                <a:solidFill>
                  <a:srgbClr val="8064A2"/>
                </a:solidFill>
              </a:rPr>
              <a:pPr>
                <a:defRPr/>
              </a:pPr>
              <a:t>‹#›</a:t>
            </a:fld>
            <a:endParaRPr lang="en-US">
              <a:solidFill>
                <a:srgbClr val="8064A2"/>
              </a:solidFill>
            </a:endParaRPr>
          </a:p>
        </p:txBody>
      </p:sp>
    </p:spTree>
    <p:extLst>
      <p:ext uri="{BB962C8B-B14F-4D97-AF65-F5344CB8AC3E}">
        <p14:creationId xmlns:p14="http://schemas.microsoft.com/office/powerpoint/2010/main" val="2836640975"/>
      </p:ext>
    </p:extLst>
  </p:cSld>
  <p:clrMapOvr>
    <a:masterClrMapping/>
  </p:clrMapOvr>
  <p:transition>
    <p:zoom/>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neutra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1703067839"/>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4309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pic>
        <p:nvPicPr>
          <p:cNvPr id="7" name="Grafik 6"/>
          <p:cNvPicPr>
            <a:picLocks noChangeAspect="1"/>
          </p:cNvPicPr>
          <p:nvPr/>
        </p:nvPicPr>
        <p:blipFill rotWithShape="1">
          <a:blip r:embed="rId6" cstate="email">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5751"/>
          <a:stretch/>
        </p:blipFill>
        <p:spPr>
          <a:xfrm>
            <a:off x="0" y="0"/>
            <a:ext cx="9906000" cy="6858000"/>
          </a:xfrm>
          <a:prstGeom prst="rect">
            <a:avLst/>
          </a:prstGeom>
        </p:spPr>
      </p:pic>
      <p:sp>
        <p:nvSpPr>
          <p:cNvPr id="2" name="Titel 1"/>
          <p:cNvSpPr>
            <a:spLocks noGrp="1"/>
          </p:cNvSpPr>
          <p:nvPr>
            <p:ph type="ctrTitle" hasCustomPrompt="1"/>
          </p:nvPr>
        </p:nvSpPr>
        <p:spPr>
          <a:xfrm>
            <a:off x="415924" y="2924944"/>
            <a:ext cx="9074151" cy="1035056"/>
          </a:xfrm>
        </p:spPr>
        <p:txBody>
          <a:bodyPr anchor="b" anchorCtr="0"/>
          <a:lstStyle>
            <a:lvl1pPr>
              <a:lnSpc>
                <a:spcPct val="90000"/>
              </a:lnSpc>
              <a:defRPr sz="3200" baseline="0">
                <a:solidFill>
                  <a:schemeClr val="tx2"/>
                </a:solidFill>
              </a:defRPr>
            </a:lvl1pPr>
          </a:lstStyle>
          <a:p>
            <a:r>
              <a:rPr lang="en-US" noProof="0" dirty="0" smtClean="0"/>
              <a:t>Presentation title</a:t>
            </a:r>
            <a:br>
              <a:rPr lang="en-US" noProof="0" dirty="0" smtClean="0"/>
            </a:br>
            <a:r>
              <a:rPr lang="en-US" noProof="0" dirty="0" smtClean="0"/>
              <a:t>optionally double spaced</a:t>
            </a:r>
            <a:endParaRPr lang="en-US" noProof="0" dirty="0"/>
          </a:p>
        </p:txBody>
      </p:sp>
      <p:sp>
        <p:nvSpPr>
          <p:cNvPr id="3" name="Untertitel 2"/>
          <p:cNvSpPr>
            <a:spLocks noGrp="1"/>
          </p:cNvSpPr>
          <p:nvPr>
            <p:ph type="subTitle" idx="1" hasCustomPrompt="1"/>
          </p:nvPr>
        </p:nvSpPr>
        <p:spPr>
          <a:xfrm>
            <a:off x="415925" y="4608000"/>
            <a:ext cx="7020000" cy="1800000"/>
          </a:xfrm>
        </p:spPr>
        <p:txBody>
          <a:bodyPr tIns="0"/>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Author</a:t>
            </a:r>
            <a:br>
              <a:rPr lang="en-US" noProof="0" dirty="0" smtClean="0"/>
            </a:br>
            <a:r>
              <a:rPr lang="en-US" noProof="0" dirty="0" smtClean="0"/>
              <a:t>Department</a:t>
            </a:r>
            <a:br>
              <a:rPr lang="en-US" noProof="0" dirty="0" smtClean="0"/>
            </a:br>
            <a:r>
              <a:rPr lang="en-US" noProof="0" dirty="0" smtClean="0"/>
              <a:t>Date</a:t>
            </a:r>
            <a:endParaRPr lang="en-US" noProof="0" dirty="0"/>
          </a:p>
        </p:txBody>
      </p:sp>
      <p:pic>
        <p:nvPicPr>
          <p:cNvPr id="9" name="Grafik 8"/>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888802" y="4680000"/>
            <a:ext cx="1587524" cy="650566"/>
          </a:xfrm>
          <a:prstGeom prst="rect">
            <a:avLst/>
          </a:prstGeom>
        </p:spPr>
      </p:pic>
      <p:sp>
        <p:nvSpPr>
          <p:cNvPr id="10" name="Rechteck 9"/>
          <p:cNvSpPr/>
          <p:nvPr/>
        </p:nvSpPr>
        <p:spPr>
          <a:xfrm>
            <a:off x="0" y="4320000"/>
            <a:ext cx="9906000" cy="72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Tree>
    <p:extLst>
      <p:ext uri="{BB962C8B-B14F-4D97-AF65-F5344CB8AC3E}">
        <p14:creationId xmlns:p14="http://schemas.microsoft.com/office/powerpoint/2010/main" val="808761669"/>
      </p:ext>
    </p:extLst>
  </p:cSld>
  <p:clrMapOvr>
    <a:masterClrMapping/>
  </p:clrMapOvr>
  <p:transition>
    <p:zoom/>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765921245"/>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4412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12" name="Rechteck 11"/>
          <p:cNvSpPr/>
          <p:nvPr/>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13" name="Bildplatzhalter 8"/>
          <p:cNvSpPr>
            <a:spLocks noGrp="1"/>
          </p:cNvSpPr>
          <p:nvPr>
            <p:ph type="pic" sz="quarter" idx="14"/>
          </p:nvPr>
        </p:nvSpPr>
        <p:spPr>
          <a:xfrm>
            <a:off x="0" y="0"/>
            <a:ext cx="9906000" cy="4284406"/>
          </a:xfrm>
        </p:spPr>
        <p:txBody>
          <a:bodyPr lIns="396000" tIns="180000" rIns="396000" bIns="180000"/>
          <a:lstStyle>
            <a:lvl1pPr marL="0" indent="0">
              <a:buFontTx/>
              <a:buNone/>
              <a:defRPr sz="1500">
                <a:solidFill>
                  <a:schemeClr val="accent2"/>
                </a:solidFill>
              </a:defRPr>
            </a:lvl1pPr>
          </a:lstStyle>
          <a:p>
            <a:r>
              <a:rPr lang="en-US" noProof="0" smtClean="0"/>
              <a:t>Click icon to add picture</a:t>
            </a:r>
            <a:endParaRPr lang="en-US" noProof="0" dirty="0"/>
          </a:p>
        </p:txBody>
      </p:sp>
      <p:sp>
        <p:nvSpPr>
          <p:cNvPr id="3" name="Untertitel 2"/>
          <p:cNvSpPr>
            <a:spLocks noGrp="1"/>
          </p:cNvSpPr>
          <p:nvPr>
            <p:ph type="subTitle" idx="1" hasCustomPrompt="1"/>
          </p:nvPr>
        </p:nvSpPr>
        <p:spPr>
          <a:xfrm>
            <a:off x="0" y="4395600"/>
            <a:ext cx="9906000" cy="2462400"/>
          </a:xfrm>
          <a:noFill/>
        </p:spPr>
        <p:txBody>
          <a:bodyPr lIns="396000" tIns="216000" rIns="2268000" bIns="396000"/>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Author</a:t>
            </a:r>
            <a:br>
              <a:rPr lang="en-US" noProof="0" dirty="0" smtClean="0"/>
            </a:br>
            <a:r>
              <a:rPr lang="en-US" noProof="0" dirty="0" smtClean="0"/>
              <a:t>Department</a:t>
            </a:r>
            <a:br>
              <a:rPr lang="en-US" noProof="0" dirty="0" smtClean="0"/>
            </a:br>
            <a:r>
              <a:rPr lang="en-US" noProof="0" dirty="0" smtClean="0"/>
              <a:t>Date</a:t>
            </a:r>
            <a:endParaRPr lang="en-US" noProof="0" dirty="0"/>
          </a:p>
        </p:txBody>
      </p:sp>
      <p:sp>
        <p:nvSpPr>
          <p:cNvPr id="10" name="Rechteck 9"/>
          <p:cNvSpPr/>
          <p:nvPr/>
        </p:nvSpPr>
        <p:spPr>
          <a:xfrm>
            <a:off x="0" y="4320000"/>
            <a:ext cx="9906000" cy="72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sp>
        <p:nvSpPr>
          <p:cNvPr id="2" name="Titel 1"/>
          <p:cNvSpPr>
            <a:spLocks noGrp="1"/>
          </p:cNvSpPr>
          <p:nvPr>
            <p:ph type="ctrTitle" hasCustomPrompt="1"/>
          </p:nvPr>
        </p:nvSpPr>
        <p:spPr>
          <a:xfrm>
            <a:off x="0" y="2876400"/>
            <a:ext cx="9906000" cy="1440000"/>
          </a:xfrm>
          <a:solidFill>
            <a:schemeClr val="bg1">
              <a:alpha val="80000"/>
            </a:schemeClr>
          </a:solidFill>
        </p:spPr>
        <p:txBody>
          <a:bodyPr lIns="414000" rIns="396000" bIns="360000" anchor="b" anchorCtr="0"/>
          <a:lstStyle>
            <a:lvl1pPr>
              <a:lnSpc>
                <a:spcPct val="90000"/>
              </a:lnSpc>
              <a:defRPr sz="3200" baseline="0">
                <a:solidFill>
                  <a:schemeClr val="tx2"/>
                </a:solidFill>
              </a:defRPr>
            </a:lvl1pPr>
          </a:lstStyle>
          <a:p>
            <a:r>
              <a:rPr lang="en-US" noProof="0" dirty="0" smtClean="0"/>
              <a:t>Presentation title</a:t>
            </a:r>
            <a:br>
              <a:rPr lang="en-US" noProof="0" dirty="0" smtClean="0"/>
            </a:br>
            <a:r>
              <a:rPr lang="en-US" noProof="0" dirty="0" smtClean="0"/>
              <a:t>optionally double spaced</a:t>
            </a:r>
            <a:endParaRPr lang="en-US" noProof="0" dirty="0"/>
          </a:p>
        </p:txBody>
      </p:sp>
      <p:pic>
        <p:nvPicPr>
          <p:cNvPr id="15" name="Grafik 1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888802" y="4680000"/>
            <a:ext cx="1587524" cy="650566"/>
          </a:xfrm>
          <a:prstGeom prst="rect">
            <a:avLst/>
          </a:prstGeom>
        </p:spPr>
      </p:pic>
    </p:spTree>
    <p:extLst>
      <p:ext uri="{BB962C8B-B14F-4D97-AF65-F5344CB8AC3E}">
        <p14:creationId xmlns:p14="http://schemas.microsoft.com/office/powerpoint/2010/main" val="2858368086"/>
      </p:ext>
    </p:extLst>
  </p:cSld>
  <p:clrMapOvr>
    <a:masterClrMapping/>
  </p:clrMapOvr>
  <p:transition>
    <p:zoom/>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ntent +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3" name="Inhaltsplatzhalter 2"/>
          <p:cNvSpPr>
            <a:spLocks noGrp="1"/>
          </p:cNvSpPr>
          <p:nvPr>
            <p:ph idx="1"/>
          </p:nvPr>
        </p:nvSpPr>
        <p:spPr>
          <a:xfrm>
            <a:off x="415926" y="944563"/>
            <a:ext cx="9074149" cy="5653087"/>
          </a:xfrm>
        </p:spPr>
        <p:txBody>
          <a:bodyPr vert="horz" lIns="0" tIns="144000" rIns="0" bIns="72000" rtlCol="0">
            <a:noAutofit/>
          </a:bodyPr>
          <a:lstStyle>
            <a:lvl1pPr>
              <a:defRPr lang="de-DE" dirty="0" smtClean="0"/>
            </a:lvl1pPr>
            <a:lvl2pPr>
              <a:defRPr lang="de-DE" dirty="0" smtClean="0"/>
            </a:lvl2pPr>
            <a:lvl3pPr>
              <a:defRPr lang="de-DE" dirty="0" smtClean="0"/>
            </a:lvl3pPr>
            <a:lvl4pPr>
              <a:defRPr lang="de-DE" dirty="0" smtClean="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dirty="0">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7"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793936767"/>
      </p:ext>
    </p:extLst>
  </p:cSld>
  <p:clrMapOvr>
    <a:masterClrMapping/>
  </p:clrMapOvr>
  <p:transition>
    <p:zoom/>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ntent + title double spac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15926" y="288000"/>
            <a:ext cx="7741430" cy="576000"/>
          </a:xfrm>
        </p:spPr>
        <p:txBody>
          <a:bodyPr/>
          <a:lstStyle>
            <a:lvl1pPr>
              <a:defRPr baseline="0"/>
            </a:lvl1pPr>
          </a:lstStyle>
          <a:p>
            <a:r>
              <a:rPr lang="en-US" noProof="0" dirty="0" smtClean="0"/>
              <a:t>Slide Title double spaced</a:t>
            </a:r>
            <a:br>
              <a:rPr lang="en-US" noProof="0" dirty="0" smtClean="0"/>
            </a:br>
            <a:r>
              <a:rPr lang="en-US" noProof="0" dirty="0" smtClean="0"/>
              <a:t>Without Subheadline</a:t>
            </a:r>
            <a:endParaRPr lang="en-US" noProof="0" dirty="0"/>
          </a:p>
        </p:txBody>
      </p:sp>
      <p:sp>
        <p:nvSpPr>
          <p:cNvPr id="3" name="Inhaltsplatzhalter 2"/>
          <p:cNvSpPr>
            <a:spLocks noGrp="1"/>
          </p:cNvSpPr>
          <p:nvPr>
            <p:ph idx="1"/>
          </p:nvPr>
        </p:nvSpPr>
        <p:spPr>
          <a:xfrm>
            <a:off x="415926" y="944563"/>
            <a:ext cx="9074150" cy="5653087"/>
          </a:xfrm>
        </p:spPr>
        <p:txBody>
          <a:bodyPr bIns="72000"/>
          <a:lstStyle>
            <a:lvl4pPr>
              <a:defRPr sz="16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Tree>
    <p:extLst>
      <p:ext uri="{BB962C8B-B14F-4D97-AF65-F5344CB8AC3E}">
        <p14:creationId xmlns:p14="http://schemas.microsoft.com/office/powerpoint/2010/main" val="221617323"/>
      </p:ext>
    </p:extLst>
  </p:cSld>
  <p:clrMapOvr>
    <a:masterClrMapping/>
  </p:clrMapOvr>
  <p:transition>
    <p:zoom/>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ntent left picture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415926" y="944563"/>
            <a:ext cx="4459074" cy="5653087"/>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Bildplatzhalter 8"/>
          <p:cNvSpPr>
            <a:spLocks noGrp="1"/>
          </p:cNvSpPr>
          <p:nvPr>
            <p:ph type="pic" sz="quarter" idx="14"/>
          </p:nvPr>
        </p:nvSpPr>
        <p:spPr>
          <a:xfrm>
            <a:off x="5030389" y="944563"/>
            <a:ext cx="4459685" cy="5653087"/>
          </a:xfrm>
        </p:spPr>
        <p:txBody>
          <a:bodyPr lIns="0" tIns="180000" rIns="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10"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1"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2314460668"/>
      </p:ext>
    </p:extLst>
  </p:cSld>
  <p:clrMapOvr>
    <a:masterClrMapping/>
  </p:clrMapOvr>
  <p:transition>
    <p:zoom/>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icture left content right">
    <p:spTree>
      <p:nvGrpSpPr>
        <p:cNvPr id="1" name=""/>
        <p:cNvGrpSpPr/>
        <p:nvPr/>
      </p:nvGrpSpPr>
      <p:grpSpPr>
        <a:xfrm>
          <a:off x="0" y="0"/>
          <a:ext cx="0" cy="0"/>
          <a:chOff x="0" y="0"/>
          <a:chExt cx="0" cy="0"/>
        </a:xfrm>
      </p:grpSpPr>
      <p:sp>
        <p:nvSpPr>
          <p:cNvPr id="3" name="Inhaltsplatzhalter 2"/>
          <p:cNvSpPr>
            <a:spLocks noGrp="1"/>
          </p:cNvSpPr>
          <p:nvPr>
            <p:ph idx="1"/>
          </p:nvPr>
        </p:nvSpPr>
        <p:spPr>
          <a:xfrm>
            <a:off x="5030999" y="944563"/>
            <a:ext cx="4459075" cy="5653087"/>
          </a:xfrm>
        </p:spPr>
        <p:txBody>
          <a:bodyPr bIns="72000"/>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Datumsplatzhalter 3"/>
          <p:cNvSpPr>
            <a:spLocks noGrp="1"/>
          </p:cNvSpPr>
          <p:nvPr>
            <p:ph type="dt" sz="half" idx="10"/>
          </p:nvPr>
        </p:nvSpPr>
        <p:spPr/>
        <p:txBody>
          <a:bodyPr/>
          <a:lstStyle/>
          <a:p>
            <a:endParaRPr lang="en-US" dirty="0">
              <a:solidFill>
                <a:srgbClr val="8064A2"/>
              </a:solidFill>
            </a:endParaRPr>
          </a:p>
        </p:txBody>
      </p:sp>
      <p:sp>
        <p:nvSpPr>
          <p:cNvPr id="5" name="Fußzeilenplatzhalter 4"/>
          <p:cNvSpPr>
            <a:spLocks noGrp="1"/>
          </p:cNvSpPr>
          <p:nvPr>
            <p:ph type="ftr" sz="quarter" idx="11"/>
          </p:nvPr>
        </p:nvSpPr>
        <p:spPr/>
        <p:txBody>
          <a:bodyPr/>
          <a:lstStyle/>
          <a:p>
            <a:pPr>
              <a:defRPr/>
            </a:pPr>
            <a:endParaRPr lang="en-US">
              <a:solidFill>
                <a:srgbClr val="1F497D"/>
              </a:solidFill>
            </a:endParaRPr>
          </a:p>
        </p:txBody>
      </p:sp>
      <p:sp>
        <p:nvSpPr>
          <p:cNvPr id="6" name="Foliennummernplatzhalter 5"/>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Bildplatzhalter 8"/>
          <p:cNvSpPr>
            <a:spLocks noGrp="1"/>
          </p:cNvSpPr>
          <p:nvPr>
            <p:ph type="pic" sz="quarter" idx="14"/>
          </p:nvPr>
        </p:nvSpPr>
        <p:spPr>
          <a:xfrm>
            <a:off x="415926" y="944563"/>
            <a:ext cx="4459074" cy="5653087"/>
          </a:xfrm>
        </p:spPr>
        <p:txBody>
          <a:bodyPr lIns="0" tIns="180000" rIns="0" bIns="180000"/>
          <a:lstStyle>
            <a:lvl1pPr marL="0" indent="0">
              <a:buFontTx/>
              <a:buNone/>
              <a:defRPr sz="1600">
                <a:solidFill>
                  <a:schemeClr val="accent2"/>
                </a:solidFill>
              </a:defRPr>
            </a:lvl1pPr>
          </a:lstStyle>
          <a:p>
            <a:r>
              <a:rPr lang="en-US" noProof="0" smtClean="0"/>
              <a:t>Click icon to add picture</a:t>
            </a:r>
            <a:endParaRPr lang="en-US" noProof="0" dirty="0"/>
          </a:p>
        </p:txBody>
      </p:sp>
      <p:sp>
        <p:nvSpPr>
          <p:cNvPr id="10"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1"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1849162113"/>
      </p:ext>
    </p:extLst>
  </p:cSld>
  <p:clrMapOvr>
    <a:masterClrMapping/>
  </p:clrMapOvr>
  <p:transition>
    <p:zoom/>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15926" y="1304764"/>
            <a:ext cx="4459074" cy="5292886"/>
          </a:xfrm>
        </p:spPr>
        <p:txBody>
          <a:bodyPr bIns="72000"/>
          <a:lstStyle>
            <a:lvl1pPr>
              <a:defRPr sz="2000"/>
            </a:lvl1pPr>
            <a:lvl2pPr>
              <a:defRPr sz="17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Inhaltsplatzhalter 3"/>
          <p:cNvSpPr>
            <a:spLocks noGrp="1"/>
          </p:cNvSpPr>
          <p:nvPr>
            <p:ph sz="half" idx="2"/>
          </p:nvPr>
        </p:nvSpPr>
        <p:spPr>
          <a:xfrm>
            <a:off x="5030999" y="1304764"/>
            <a:ext cx="4459075" cy="5292886"/>
          </a:xfrm>
        </p:spPr>
        <p:txBody>
          <a:bodyPr bIns="72000"/>
          <a:lstStyle>
            <a:lvl1pPr>
              <a:defRPr sz="1900"/>
            </a:lvl1pPr>
            <a:lvl2pPr>
              <a:defRPr sz="1800"/>
            </a:lvl2pPr>
            <a:lvl3pPr>
              <a:defRPr sz="15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Textplatzhalter 2"/>
          <p:cNvSpPr>
            <a:spLocks noGrp="1"/>
          </p:cNvSpPr>
          <p:nvPr>
            <p:ph type="body" idx="14" hasCustomPrompt="1"/>
          </p:nvPr>
        </p:nvSpPr>
        <p:spPr>
          <a:xfrm>
            <a:off x="415925" y="900000"/>
            <a:ext cx="4458304"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13" name="Textplatzhalter 2"/>
          <p:cNvSpPr>
            <a:spLocks noGrp="1"/>
          </p:cNvSpPr>
          <p:nvPr>
            <p:ph type="body" idx="16" hasCustomPrompt="1"/>
          </p:nvPr>
        </p:nvSpPr>
        <p:spPr>
          <a:xfrm>
            <a:off x="5030999" y="900000"/>
            <a:ext cx="4459075"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cxnSp>
        <p:nvCxnSpPr>
          <p:cNvPr id="12" name="Gerade Verbindung 11"/>
          <p:cNvCxnSpPr/>
          <p:nvPr/>
        </p:nvCxnSpPr>
        <p:spPr>
          <a:xfrm>
            <a:off x="0" y="1260000"/>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5"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6"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2215814228"/>
      </p:ext>
    </p:extLst>
  </p:cSld>
  <p:clrMapOvr>
    <a:masterClrMapping/>
  </p:clrMapOvr>
  <p:transition>
    <p:zoom/>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15924" y="1304764"/>
            <a:ext cx="2988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4" name="Inhaltsplatzhalter 3"/>
          <p:cNvSpPr>
            <a:spLocks noGrp="1"/>
          </p:cNvSpPr>
          <p:nvPr>
            <p:ph sz="half" idx="2"/>
          </p:nvPr>
        </p:nvSpPr>
        <p:spPr>
          <a:xfrm>
            <a:off x="3458547" y="1304764"/>
            <a:ext cx="2988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9" name="Textplatzhalter 2"/>
          <p:cNvSpPr>
            <a:spLocks noGrp="1"/>
          </p:cNvSpPr>
          <p:nvPr>
            <p:ph type="body" idx="14" hasCustomPrompt="1"/>
          </p:nvPr>
        </p:nvSpPr>
        <p:spPr>
          <a:xfrm>
            <a:off x="415924"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12" name="Inhaltsplatzhalter 3"/>
          <p:cNvSpPr>
            <a:spLocks noGrp="1"/>
          </p:cNvSpPr>
          <p:nvPr>
            <p:ph sz="half" idx="15"/>
          </p:nvPr>
        </p:nvSpPr>
        <p:spPr>
          <a:xfrm>
            <a:off x="6501172" y="1304764"/>
            <a:ext cx="2988000" cy="529288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13" name="Textplatzhalter 2"/>
          <p:cNvSpPr>
            <a:spLocks noGrp="1"/>
          </p:cNvSpPr>
          <p:nvPr>
            <p:ph type="body" idx="16" hasCustomPrompt="1"/>
          </p:nvPr>
        </p:nvSpPr>
        <p:spPr>
          <a:xfrm>
            <a:off x="3458547"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14" name="Textplatzhalter 2"/>
          <p:cNvSpPr>
            <a:spLocks noGrp="1"/>
          </p:cNvSpPr>
          <p:nvPr>
            <p:ph type="body" idx="17" hasCustomPrompt="1"/>
          </p:nvPr>
        </p:nvSpPr>
        <p:spPr>
          <a:xfrm>
            <a:off x="6501172"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cxnSp>
        <p:nvCxnSpPr>
          <p:cNvPr id="15" name="Gerade Verbindung 14"/>
          <p:cNvCxnSpPr/>
          <p:nvPr/>
        </p:nvCxnSpPr>
        <p:spPr>
          <a:xfrm>
            <a:off x="0" y="1260000"/>
            <a:ext cx="99060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18"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19"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1297778449"/>
      </p:ext>
    </p:extLst>
  </p:cSld>
  <p:clrMapOvr>
    <a:masterClrMapping/>
  </p:clrMapOvr>
  <p:transition>
    <p:zoom/>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ntent 3 columns with picture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637799913"/>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4514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5" name="Datumsplatzhalter 4"/>
          <p:cNvSpPr>
            <a:spLocks noGrp="1"/>
          </p:cNvSpPr>
          <p:nvPr>
            <p:ph type="dt" sz="half" idx="10"/>
          </p:nvPr>
        </p:nvSpPr>
        <p:spPr/>
        <p:txBody>
          <a:bodyPr/>
          <a:lstStyle/>
          <a:p>
            <a:endParaRPr lang="en-US" dirty="0">
              <a:solidFill>
                <a:srgbClr val="8064A2"/>
              </a:solidFill>
            </a:endParaRPr>
          </a:p>
        </p:txBody>
      </p:sp>
      <p:sp>
        <p:nvSpPr>
          <p:cNvPr id="6" name="Fußzeilenplatzhalter 5"/>
          <p:cNvSpPr>
            <a:spLocks noGrp="1"/>
          </p:cNvSpPr>
          <p:nvPr>
            <p:ph type="ftr" sz="quarter" idx="11"/>
          </p:nvPr>
        </p:nvSpPr>
        <p:spPr/>
        <p:txBody>
          <a:bodyPr/>
          <a:lstStyle/>
          <a:p>
            <a:pPr>
              <a:defRPr/>
            </a:pPr>
            <a:endParaRPr lang="en-US">
              <a:solidFill>
                <a:srgbClr val="1F497D"/>
              </a:solidFill>
            </a:endParaRPr>
          </a:p>
        </p:txBody>
      </p:sp>
      <p:sp>
        <p:nvSpPr>
          <p:cNvPr id="7" name="Foliennummernplatzhalter 6"/>
          <p:cNvSpPr>
            <a:spLocks noGrp="1"/>
          </p:cNvSpPr>
          <p:nvPr>
            <p:ph type="sldNum" sz="quarter" idx="12"/>
          </p:nvPr>
        </p:nvSpPr>
        <p:spPr/>
        <p:txBody>
          <a:bodyPr/>
          <a:lstStyle/>
          <a:p>
            <a:pPr>
              <a:defRPr/>
            </a:pPr>
            <a:fld id="{33D6768F-F2EA-4A39-826B-D6DAD7CBB610}" type="slidenum">
              <a:rPr lang="en-US" smtClean="0">
                <a:solidFill>
                  <a:srgbClr val="8064A2"/>
                </a:solidFill>
              </a:rPr>
              <a:pPr>
                <a:defRPr/>
              </a:pPr>
              <a:t>‹#›</a:t>
            </a:fld>
            <a:endParaRPr lang="en-US">
              <a:solidFill>
                <a:srgbClr val="8064A2"/>
              </a:solidFill>
            </a:endParaRPr>
          </a:p>
        </p:txBody>
      </p:sp>
      <p:sp>
        <p:nvSpPr>
          <p:cNvPr id="15" name="Bildplatzhalter 8"/>
          <p:cNvSpPr>
            <a:spLocks noGrp="1"/>
          </p:cNvSpPr>
          <p:nvPr>
            <p:ph type="pic" sz="quarter" idx="18"/>
          </p:nvPr>
        </p:nvSpPr>
        <p:spPr>
          <a:xfrm>
            <a:off x="415924" y="4748975"/>
            <a:ext cx="2988000" cy="1800000"/>
          </a:xfrm>
        </p:spPr>
        <p:txBody>
          <a:bodyPr lIns="0" tIns="180000" rIns="0" bIns="180000"/>
          <a:lstStyle>
            <a:lvl1pPr marL="0" indent="0">
              <a:buFontTx/>
              <a:buNone/>
              <a:defRPr sz="1400">
                <a:solidFill>
                  <a:schemeClr val="accent2"/>
                </a:solidFill>
              </a:defRPr>
            </a:lvl1pPr>
          </a:lstStyle>
          <a:p>
            <a:r>
              <a:rPr lang="en-US" noProof="0" smtClean="0"/>
              <a:t>Click icon to add picture</a:t>
            </a:r>
            <a:endParaRPr lang="en-US" noProof="0" dirty="0"/>
          </a:p>
        </p:txBody>
      </p:sp>
      <p:sp>
        <p:nvSpPr>
          <p:cNvPr id="16" name="Bildplatzhalter 8"/>
          <p:cNvSpPr>
            <a:spLocks noGrp="1"/>
          </p:cNvSpPr>
          <p:nvPr>
            <p:ph type="pic" sz="quarter" idx="19"/>
          </p:nvPr>
        </p:nvSpPr>
        <p:spPr>
          <a:xfrm>
            <a:off x="3458548" y="4748975"/>
            <a:ext cx="2988000" cy="1800000"/>
          </a:xfrm>
        </p:spPr>
        <p:txBody>
          <a:bodyPr lIns="0" tIns="180000" rIns="0" bIns="180000"/>
          <a:lstStyle>
            <a:lvl1pPr marL="0" indent="0">
              <a:buFontTx/>
              <a:buNone/>
              <a:defRPr sz="1400">
                <a:solidFill>
                  <a:schemeClr val="accent2"/>
                </a:solidFill>
              </a:defRPr>
            </a:lvl1pPr>
          </a:lstStyle>
          <a:p>
            <a:r>
              <a:rPr lang="en-US" noProof="0" smtClean="0"/>
              <a:t>Click icon to add picture</a:t>
            </a:r>
            <a:endParaRPr lang="en-US" noProof="0" dirty="0"/>
          </a:p>
        </p:txBody>
      </p:sp>
      <p:sp>
        <p:nvSpPr>
          <p:cNvPr id="17" name="Bildplatzhalter 8"/>
          <p:cNvSpPr>
            <a:spLocks noGrp="1"/>
          </p:cNvSpPr>
          <p:nvPr>
            <p:ph type="pic" sz="quarter" idx="20"/>
          </p:nvPr>
        </p:nvSpPr>
        <p:spPr>
          <a:xfrm>
            <a:off x="6501172" y="4748975"/>
            <a:ext cx="2988000" cy="1800000"/>
          </a:xfrm>
        </p:spPr>
        <p:txBody>
          <a:bodyPr lIns="0" tIns="180000" rIns="0" bIns="180000"/>
          <a:lstStyle>
            <a:lvl1pPr marL="0" indent="0">
              <a:buFontTx/>
              <a:buNone/>
              <a:defRPr sz="1400">
                <a:solidFill>
                  <a:schemeClr val="accent2"/>
                </a:solidFill>
              </a:defRPr>
            </a:lvl1pPr>
          </a:lstStyle>
          <a:p>
            <a:r>
              <a:rPr lang="en-US" noProof="0" smtClean="0"/>
              <a:t>Click icon to add picture</a:t>
            </a:r>
            <a:endParaRPr lang="en-US" noProof="0" dirty="0"/>
          </a:p>
        </p:txBody>
      </p:sp>
      <p:cxnSp>
        <p:nvCxnSpPr>
          <p:cNvPr id="18" name="Gerade Verbindung 17"/>
          <p:cNvCxnSpPr/>
          <p:nvPr/>
        </p:nvCxnSpPr>
        <p:spPr>
          <a:xfrm>
            <a:off x="0" y="1260000"/>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a:xfrm>
            <a:off x="0" y="1260000"/>
            <a:ext cx="2962800" cy="0"/>
          </a:xfrm>
          <a:prstGeom prst="line">
            <a:avLst/>
          </a:prstGeom>
          <a:ln w="9525" cap="sq">
            <a:solidFill>
              <a:srgbClr val="C4CACE"/>
            </a:solidFill>
            <a:miter lim="800000"/>
          </a:ln>
        </p:spPr>
        <p:style>
          <a:lnRef idx="1">
            <a:schemeClr val="accent1"/>
          </a:lnRef>
          <a:fillRef idx="0">
            <a:schemeClr val="accent1"/>
          </a:fillRef>
          <a:effectRef idx="0">
            <a:schemeClr val="accent1"/>
          </a:effectRef>
          <a:fontRef idx="minor">
            <a:schemeClr val="tx1"/>
          </a:fontRef>
        </p:style>
      </p:cxnSp>
      <p:sp>
        <p:nvSpPr>
          <p:cNvPr id="34" name="Inhaltsplatzhalter 2"/>
          <p:cNvSpPr>
            <a:spLocks noGrp="1"/>
          </p:cNvSpPr>
          <p:nvPr>
            <p:ph sz="half" idx="1"/>
          </p:nvPr>
        </p:nvSpPr>
        <p:spPr>
          <a:xfrm>
            <a:off x="415924" y="1304764"/>
            <a:ext cx="2988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35" name="Inhaltsplatzhalter 3"/>
          <p:cNvSpPr>
            <a:spLocks noGrp="1"/>
          </p:cNvSpPr>
          <p:nvPr>
            <p:ph sz="half" idx="2"/>
          </p:nvPr>
        </p:nvSpPr>
        <p:spPr>
          <a:xfrm>
            <a:off x="3458547" y="1304764"/>
            <a:ext cx="2988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36" name="Textplatzhalter 2"/>
          <p:cNvSpPr>
            <a:spLocks noGrp="1"/>
          </p:cNvSpPr>
          <p:nvPr>
            <p:ph type="body" idx="14" hasCustomPrompt="1"/>
          </p:nvPr>
        </p:nvSpPr>
        <p:spPr>
          <a:xfrm>
            <a:off x="415924"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37" name="Inhaltsplatzhalter 3"/>
          <p:cNvSpPr>
            <a:spLocks noGrp="1"/>
          </p:cNvSpPr>
          <p:nvPr>
            <p:ph sz="half" idx="15"/>
          </p:nvPr>
        </p:nvSpPr>
        <p:spPr>
          <a:xfrm>
            <a:off x="6501172" y="1304764"/>
            <a:ext cx="2988000" cy="3447236"/>
          </a:xfrm>
        </p:spPr>
        <p:txBody>
          <a:bodyPr bIns="72000"/>
          <a:lstStyle>
            <a:lvl1pPr>
              <a:defRPr sz="2000"/>
            </a:lvl1pPr>
            <a:lvl2pPr>
              <a:defRPr sz="1800"/>
            </a:lvl2pPr>
            <a:lvl3pPr>
              <a:defRPr sz="1600"/>
            </a:lvl3pPr>
            <a:lvl4pPr>
              <a:defRPr sz="11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38" name="Textplatzhalter 2"/>
          <p:cNvSpPr>
            <a:spLocks noGrp="1"/>
          </p:cNvSpPr>
          <p:nvPr>
            <p:ph type="body" idx="16" hasCustomPrompt="1"/>
          </p:nvPr>
        </p:nvSpPr>
        <p:spPr>
          <a:xfrm>
            <a:off x="3458547"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39" name="Textplatzhalter 2"/>
          <p:cNvSpPr>
            <a:spLocks noGrp="1"/>
          </p:cNvSpPr>
          <p:nvPr>
            <p:ph type="body" idx="17" hasCustomPrompt="1"/>
          </p:nvPr>
        </p:nvSpPr>
        <p:spPr>
          <a:xfrm>
            <a:off x="6501172" y="900000"/>
            <a:ext cx="2988000" cy="360000"/>
          </a:xfrm>
        </p:spPr>
        <p:txBody>
          <a:bodyPr tIns="0" anchor="ctr" anchorCtr="0"/>
          <a:lstStyle>
            <a:lvl1pPr marL="0" indent="0" algn="ctr">
              <a:buNone/>
              <a:defRPr sz="1800" b="0" cap="all" baseline="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Column header</a:t>
            </a:r>
          </a:p>
        </p:txBody>
      </p:sp>
      <p:sp>
        <p:nvSpPr>
          <p:cNvPr id="19" name="Titel 1"/>
          <p:cNvSpPr>
            <a:spLocks noGrp="1"/>
          </p:cNvSpPr>
          <p:nvPr>
            <p:ph type="title" hasCustomPrompt="1"/>
          </p:nvPr>
        </p:nvSpPr>
        <p:spPr>
          <a:xfrm>
            <a:off x="415925" y="288000"/>
            <a:ext cx="7741431" cy="260680"/>
          </a:xfrm>
        </p:spPr>
        <p:txBody>
          <a:bodyPr/>
          <a:lstStyle>
            <a:lvl1pPr>
              <a:defRPr baseline="0"/>
            </a:lvl1pPr>
          </a:lstStyle>
          <a:p>
            <a:r>
              <a:rPr lang="en-US" noProof="0" dirty="0" smtClean="0"/>
              <a:t>Slide Title single spaced</a:t>
            </a:r>
            <a:endParaRPr lang="en-US" noProof="0" dirty="0"/>
          </a:p>
        </p:txBody>
      </p:sp>
      <p:sp>
        <p:nvSpPr>
          <p:cNvPr id="20" name="Textplatzhalter 2"/>
          <p:cNvSpPr>
            <a:spLocks noGrp="1"/>
          </p:cNvSpPr>
          <p:nvPr>
            <p:ph type="body" idx="13" hasCustomPrompt="1"/>
          </p:nvPr>
        </p:nvSpPr>
        <p:spPr>
          <a:xfrm>
            <a:off x="415925" y="548680"/>
            <a:ext cx="7741431" cy="288000"/>
          </a:xfrm>
        </p:spPr>
        <p:txBody>
          <a:bodyPr tIns="0" anchor="t" anchorCtr="0"/>
          <a:lstStyle>
            <a:lvl1pPr marL="0" indent="0">
              <a:buNone/>
              <a:defRPr sz="2000" cap="all"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0" smtClean="0"/>
              <a:t>Subheadline single spaced</a:t>
            </a:r>
          </a:p>
        </p:txBody>
      </p:sp>
    </p:spTree>
    <p:extLst>
      <p:ext uri="{BB962C8B-B14F-4D97-AF65-F5344CB8AC3E}">
        <p14:creationId xmlns:p14="http://schemas.microsoft.com/office/powerpoint/2010/main" val="2506674239"/>
      </p:ext>
    </p:extLst>
  </p:cSld>
  <p:clrMapOvr>
    <a:masterClrMapping/>
  </p:clrMapOvr>
  <p:transition>
    <p:zoom/>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image" Target="../media/image4.jpeg"/><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image" Target="../media/image8.jpe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theme" Target="../theme/theme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8.jpe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5.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theme" Target="../theme/theme6.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image" Target="../media/image8.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theme" Target="../theme/theme7.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10" Type="http://schemas.openxmlformats.org/officeDocument/2006/relationships/slideLayout" Target="../slideLayouts/slideLayout120.xml"/><Relationship Id="rId19" Type="http://schemas.openxmlformats.org/officeDocument/2006/relationships/image" Target="../media/image1.png"/><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theme" Target="../theme/theme8.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10" Type="http://schemas.openxmlformats.org/officeDocument/2006/relationships/slideLayout" Target="../slideLayouts/slideLayout137.xml"/><Relationship Id="rId19" Type="http://schemas.openxmlformats.org/officeDocument/2006/relationships/image" Target="../media/image1.png"/><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7" name="Hilfslinie oben links"/>
          <p:cNvCxnSpPr/>
          <p:nvPr/>
        </p:nvCxnSpPr>
        <p:spPr>
          <a:xfrm>
            <a:off x="-390000" y="9432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Hilfslinie oben rechts"/>
          <p:cNvCxnSpPr/>
          <p:nvPr/>
        </p:nvCxnSpPr>
        <p:spPr>
          <a:xfrm>
            <a:off x="9984000" y="9432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Hilfslinie unten rechts"/>
          <p:cNvCxnSpPr/>
          <p:nvPr/>
        </p:nvCxnSpPr>
        <p:spPr>
          <a:xfrm>
            <a:off x="9997020" y="65952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0" name="Hilfslinie unten links"/>
          <p:cNvCxnSpPr/>
          <p:nvPr/>
        </p:nvCxnSpPr>
        <p:spPr>
          <a:xfrm>
            <a:off x="-387619" y="65952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2" name="Hilfslinie unten links"/>
          <p:cNvCxnSpPr/>
          <p:nvPr/>
        </p:nvCxnSpPr>
        <p:spPr>
          <a:xfrm>
            <a:off x="525600" y="693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3" name="Hilfslinie unten rechts"/>
          <p:cNvCxnSpPr/>
          <p:nvPr/>
        </p:nvCxnSpPr>
        <p:spPr>
          <a:xfrm>
            <a:off x="9381600" y="6954271"/>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4" name="Hilfslinie oben rechts"/>
          <p:cNvCxnSpPr/>
          <p:nvPr/>
        </p:nvCxnSpPr>
        <p:spPr>
          <a:xfrm>
            <a:off x="9381600" y="-36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5" name="Hilfslinie oben links"/>
          <p:cNvCxnSpPr/>
          <p:nvPr/>
        </p:nvCxnSpPr>
        <p:spPr>
          <a:xfrm>
            <a:off x="525600" y="-36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6" name="Hilfslinie Mitte links"/>
          <p:cNvCxnSpPr/>
          <p:nvPr/>
        </p:nvCxnSpPr>
        <p:spPr>
          <a:xfrm>
            <a:off x="-234000" y="3769200"/>
            <a:ext cx="156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7" name="Hilfslinie Mitte oben"/>
          <p:cNvCxnSpPr/>
          <p:nvPr/>
        </p:nvCxnSpPr>
        <p:spPr>
          <a:xfrm>
            <a:off x="4950619" y="-216000"/>
            <a:ext cx="0" cy="144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9" name="Hilfslinie Mitte rechts"/>
          <p:cNvCxnSpPr/>
          <p:nvPr/>
        </p:nvCxnSpPr>
        <p:spPr>
          <a:xfrm>
            <a:off x="9984000" y="3769200"/>
            <a:ext cx="156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0" name="Hilfslinie Mitte unten"/>
          <p:cNvCxnSpPr/>
          <p:nvPr/>
        </p:nvCxnSpPr>
        <p:spPr>
          <a:xfrm>
            <a:off x="4950619" y="6930000"/>
            <a:ext cx="0" cy="144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33" name="Hinweis Mittel Inhaltsbereich"/>
          <p:cNvSpPr txBox="1"/>
          <p:nvPr/>
        </p:nvSpPr>
        <p:spPr>
          <a:xfrm>
            <a:off x="-1248000" y="3546000"/>
            <a:ext cx="1170000" cy="216000"/>
          </a:xfrm>
          <a:prstGeom prst="rect">
            <a:avLst/>
          </a:prstGeom>
          <a:noFill/>
        </p:spPr>
        <p:txBody>
          <a:bodyPr wrap="square" lIns="0" tIns="0" rIns="0" bIns="36000" rtlCol="0" anchor="b" anchorCtr="0">
            <a:noAutofit/>
          </a:bodyPr>
          <a:lstStyle/>
          <a:p>
            <a:pPr algn="r"/>
            <a:r>
              <a:rPr lang="en-US" sz="900" noProof="0" dirty="0" smtClean="0">
                <a:solidFill>
                  <a:srgbClr val="FFFFFF"/>
                </a:solidFill>
              </a:rPr>
              <a:t>Center</a:t>
            </a:r>
            <a:r>
              <a:rPr lang="en-US" sz="900" baseline="0" noProof="0" dirty="0" smtClean="0">
                <a:solidFill>
                  <a:srgbClr val="FFFFFF"/>
                </a:solidFill>
              </a:rPr>
              <a:t> line content</a:t>
            </a:r>
            <a:endParaRPr lang="en-US" sz="900" noProof="0" dirty="0">
              <a:solidFill>
                <a:srgbClr val="FFFFFF"/>
              </a:solidFill>
            </a:endParaRPr>
          </a:p>
        </p:txBody>
      </p:sp>
      <p:sp>
        <p:nvSpPr>
          <p:cNvPr id="6" name="Foliennummernplatzhalter"/>
          <p:cNvSpPr>
            <a:spLocks noGrp="1"/>
          </p:cNvSpPr>
          <p:nvPr>
            <p:ph type="sldNum" sz="quarter" idx="4"/>
          </p:nvPr>
        </p:nvSpPr>
        <p:spPr>
          <a:xfrm>
            <a:off x="8477892" y="6653505"/>
            <a:ext cx="903600" cy="180000"/>
          </a:xfrm>
          <a:prstGeom prst="rect">
            <a:avLst/>
          </a:prstGeom>
        </p:spPr>
        <p:txBody>
          <a:bodyPr vert="horz" lIns="0" tIns="0" rIns="0" bIns="0" rtlCol="0" anchor="ctr" anchorCtr="0"/>
          <a:lstStyle>
            <a:lvl1pPr algn="r">
              <a:defRPr sz="900" b="0">
                <a:solidFill>
                  <a:schemeClr val="tx1"/>
                </a:solidFill>
              </a:defRPr>
            </a:lvl1pPr>
          </a:lstStyle>
          <a:p>
            <a:fld id="{1FB8D038-2D38-4B10-A0EB-C05CC9130EB2}" type="slidenum">
              <a:rPr lang="en-US" noProof="0" smtClean="0"/>
              <a:pPr/>
              <a:t>‹#›</a:t>
            </a:fld>
            <a:endParaRPr lang="en-US" noProof="0" dirty="0"/>
          </a:p>
        </p:txBody>
      </p:sp>
      <p:sp>
        <p:nvSpPr>
          <p:cNvPr id="5" name="Fußzeilenplatzhalter"/>
          <p:cNvSpPr>
            <a:spLocks noGrp="1"/>
          </p:cNvSpPr>
          <p:nvPr>
            <p:ph type="ftr" sz="quarter" idx="3"/>
          </p:nvPr>
        </p:nvSpPr>
        <p:spPr>
          <a:xfrm>
            <a:off x="1560000" y="6653505"/>
            <a:ext cx="6786000" cy="180000"/>
          </a:xfrm>
          <a:prstGeom prst="rect">
            <a:avLst/>
          </a:prstGeom>
        </p:spPr>
        <p:txBody>
          <a:bodyPr vert="horz" lIns="0" tIns="0" rIns="0" bIns="0" rtlCol="0" anchor="ctr" anchorCtr="0"/>
          <a:lstStyle>
            <a:lvl1pPr algn="l">
              <a:defRPr sz="900">
                <a:solidFill>
                  <a:schemeClr val="tx2"/>
                </a:solidFill>
              </a:defRPr>
            </a:lvl1pPr>
          </a:lstStyle>
          <a:p>
            <a:endParaRPr lang="en-US" noProof="0" dirty="0"/>
          </a:p>
        </p:txBody>
      </p:sp>
      <p:sp>
        <p:nvSpPr>
          <p:cNvPr id="4" name="Datumsplatzhalter"/>
          <p:cNvSpPr>
            <a:spLocks noGrp="1"/>
          </p:cNvSpPr>
          <p:nvPr>
            <p:ph type="dt" sz="half" idx="2"/>
          </p:nvPr>
        </p:nvSpPr>
        <p:spPr>
          <a:xfrm>
            <a:off x="525600" y="6653505"/>
            <a:ext cx="902992" cy="180000"/>
          </a:xfrm>
          <a:prstGeom prst="rect">
            <a:avLst/>
          </a:prstGeom>
        </p:spPr>
        <p:txBody>
          <a:bodyPr vert="horz" lIns="0" tIns="0" rIns="0" bIns="0" rtlCol="0" anchor="ctr" anchorCtr="0"/>
          <a:lstStyle>
            <a:lvl1pPr algn="l">
              <a:defRPr sz="900">
                <a:solidFill>
                  <a:schemeClr val="tx1"/>
                </a:solidFill>
              </a:defRPr>
            </a:lvl1pPr>
          </a:lstStyle>
          <a:p>
            <a:endParaRPr lang="en-US" noProof="0" dirty="0"/>
          </a:p>
        </p:txBody>
      </p:sp>
      <p:cxnSp>
        <p:nvCxnSpPr>
          <p:cNvPr id="12" name="Trennstrich Fußzeile"/>
          <p:cNvCxnSpPr/>
          <p:nvPr/>
        </p:nvCxnSpPr>
        <p:spPr>
          <a:xfrm flipV="1">
            <a:off x="0" y="6624000"/>
            <a:ext cx="938212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Inhaltsplatzhalter"/>
          <p:cNvSpPr>
            <a:spLocks noGrp="1"/>
          </p:cNvSpPr>
          <p:nvPr>
            <p:ph type="body" idx="1"/>
          </p:nvPr>
        </p:nvSpPr>
        <p:spPr>
          <a:xfrm>
            <a:off x="523875" y="944563"/>
            <a:ext cx="8858250" cy="5653087"/>
          </a:xfrm>
          <a:prstGeom prst="rect">
            <a:avLst/>
          </a:prstGeom>
          <a:noFill/>
        </p:spPr>
        <p:txBody>
          <a:bodyPr vert="horz" lIns="0" tIns="144000" rIns="0" bIns="0" rtlCol="0">
            <a:noAutofit/>
          </a:body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cxnSp>
        <p:nvCxnSpPr>
          <p:cNvPr id="7" name="Trennstrich Titel"/>
          <p:cNvCxnSpPr/>
          <p:nvPr/>
        </p:nvCxnSpPr>
        <p:spPr>
          <a:xfrm>
            <a:off x="0" y="900000"/>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pic>
        <p:nvPicPr>
          <p:cNvPr id="28" name="Logo"/>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a:off x="8151624" y="306750"/>
            <a:ext cx="1229868" cy="504000"/>
          </a:xfrm>
          <a:prstGeom prst="rect">
            <a:avLst/>
          </a:prstGeom>
        </p:spPr>
      </p:pic>
      <p:sp>
        <p:nvSpPr>
          <p:cNvPr id="2" name="Titelplatzhalter"/>
          <p:cNvSpPr>
            <a:spLocks noGrp="1"/>
          </p:cNvSpPr>
          <p:nvPr>
            <p:ph type="title"/>
          </p:nvPr>
        </p:nvSpPr>
        <p:spPr>
          <a:xfrm>
            <a:off x="525600" y="288000"/>
            <a:ext cx="7308000" cy="612000"/>
          </a:xfrm>
          <a:prstGeom prst="rect">
            <a:avLst/>
          </a:prstGeom>
        </p:spPr>
        <p:txBody>
          <a:bodyPr vert="horz" lIns="0" tIns="0" rIns="0" bIns="0" rtlCol="0" anchor="t" anchorCtr="0">
            <a:noAutofit/>
          </a:bodyPr>
          <a:lstStyle/>
          <a:p>
            <a:r>
              <a:rPr lang="en-US" noProof="0" dirty="0" smtClean="0"/>
              <a:t>TITELMASTERFORMAT</a:t>
            </a:r>
            <a:br>
              <a:rPr lang="en-US" noProof="0" dirty="0" smtClean="0"/>
            </a:br>
            <a:r>
              <a:rPr lang="en-US" noProof="0" dirty="0" smtClean="0"/>
              <a:t>DURCH KLICKEN BEARBEITEN</a:t>
            </a:r>
            <a:endParaRPr lang="en-US" noProof="0" dirty="0"/>
          </a:p>
        </p:txBody>
      </p:sp>
    </p:spTree>
    <p:extLst>
      <p:ext uri="{BB962C8B-B14F-4D97-AF65-F5344CB8AC3E}">
        <p14:creationId xmlns:p14="http://schemas.microsoft.com/office/powerpoint/2010/main" val="1688849747"/>
      </p:ext>
    </p:extLst>
  </p:cSld>
  <p:clrMap bg1="lt1" tx1="dk1" bg2="lt2" tx2="dk2" accent1="accent1" accent2="accent2" accent3="accent3" accent4="accent4" accent5="accent5" accent6="accent6" hlink="hlink" folHlink="folHlink"/>
  <p:sldLayoutIdLst>
    <p:sldLayoutId id="2147483649" r:id="rId1"/>
    <p:sldLayoutId id="2147483667" r:id="rId2"/>
    <p:sldLayoutId id="2147483662" r:id="rId3"/>
    <p:sldLayoutId id="2147483650" r:id="rId4"/>
    <p:sldLayoutId id="2147483663" r:id="rId5"/>
    <p:sldLayoutId id="2147483664" r:id="rId6"/>
    <p:sldLayoutId id="2147483652" r:id="rId7"/>
    <p:sldLayoutId id="2147483659" r:id="rId8"/>
    <p:sldLayoutId id="2147483665" r:id="rId9"/>
    <p:sldLayoutId id="2147483666" r:id="rId10"/>
    <p:sldLayoutId id="2147483658" r:id="rId11"/>
    <p:sldLayoutId id="2147483654" r:id="rId12"/>
    <p:sldLayoutId id="2147483651" r:id="rId13"/>
    <p:sldLayoutId id="2147483657" r:id="rId14"/>
    <p:sldLayoutId id="2147483660" r:id="rId15"/>
    <p:sldLayoutId id="2147483661" r:id="rId16"/>
    <p:sldLayoutId id="2147483668" r:id="rId17"/>
    <p:sldLayoutId id="2147483670" r:id="rId18"/>
    <p:sldLayoutId id="2147483671" r:id="rId19"/>
  </p:sldLayoutIdLst>
  <p:transition>
    <p:zoom/>
  </p:transition>
  <p:timing>
    <p:tnLst>
      <p:par>
        <p:cTn id="1" dur="indefinite" restart="never" nodeType="tmRoot"/>
      </p:par>
    </p:tnLst>
  </p:timing>
  <p:hf sldNum="0" hdr="0" ftr="0" dt="0"/>
  <p:txStyles>
    <p:titleStyle>
      <a:lvl1pPr algn="l" defTabSz="914400" rtl="0" eaLnBrk="1" latinLnBrk="0" hangingPunct="1">
        <a:lnSpc>
          <a:spcPct val="80000"/>
        </a:lnSpc>
        <a:spcBef>
          <a:spcPct val="0"/>
        </a:spcBef>
        <a:buNone/>
        <a:defRPr sz="2400" kern="1200" cap="all" baseline="0">
          <a:solidFill>
            <a:schemeClr val="tx2"/>
          </a:solidFill>
          <a:latin typeface="+mj-lt"/>
          <a:ea typeface="+mj-ea"/>
          <a:cs typeface="+mj-cs"/>
        </a:defRPr>
      </a:lvl1pPr>
    </p:titleStyle>
    <p:bodyStyle>
      <a:lvl1pPr marL="271463" indent="-271463" algn="l" defTabSz="914400" rtl="0" eaLnBrk="1" latinLnBrk="0" hangingPunct="1">
        <a:spcBef>
          <a:spcPts val="600"/>
        </a:spcBef>
        <a:spcAft>
          <a:spcPts val="0"/>
        </a:spcAft>
        <a:buClr>
          <a:srgbClr val="000000"/>
        </a:buClr>
        <a:buSzPct val="100000"/>
        <a:buFont typeface="Wingdings" panose="05000000000000000000" pitchFamily="2" charset="2"/>
        <a:buChar char="§"/>
        <a:defRPr sz="2000" kern="1200">
          <a:solidFill>
            <a:schemeClr val="tx1"/>
          </a:solidFill>
          <a:latin typeface="+mn-lt"/>
          <a:ea typeface="+mn-ea"/>
          <a:cs typeface="+mn-cs"/>
        </a:defRPr>
      </a:lvl1pPr>
      <a:lvl2pPr marL="541338" indent="-269875" algn="l" defTabSz="914400" rtl="0" eaLnBrk="1" latinLnBrk="0" hangingPunct="1">
        <a:spcBef>
          <a:spcPts val="600"/>
        </a:spcBef>
        <a:spcAft>
          <a:spcPts val="0"/>
        </a:spcAft>
        <a:buClr>
          <a:srgbClr val="000000"/>
        </a:buClr>
        <a:buSzPct val="100000"/>
        <a:buFont typeface="SICK Franklin Condensed" pitchFamily="2" charset="0"/>
        <a:buChar char="▸"/>
        <a:defRPr sz="1800" kern="1200">
          <a:solidFill>
            <a:schemeClr val="tx1"/>
          </a:solidFill>
          <a:latin typeface="+mn-lt"/>
          <a:ea typeface="+mn-ea"/>
          <a:cs typeface="+mn-cs"/>
        </a:defRPr>
      </a:lvl2pPr>
      <a:lvl3pPr marL="804863" indent="-263525" algn="l" defTabSz="914400" rtl="0" eaLnBrk="1" latinLnBrk="0" hangingPunct="1">
        <a:spcBef>
          <a:spcPts val="600"/>
        </a:spcBef>
        <a:spcAft>
          <a:spcPts val="0"/>
        </a:spcAft>
        <a:buClr>
          <a:srgbClr val="000000"/>
        </a:buClr>
        <a:buSzPct val="100000"/>
        <a:buFont typeface="SICK Franklin Condensed" pitchFamily="2" charset="0"/>
        <a:buChar char="―"/>
        <a:defRPr sz="1600" kern="1200">
          <a:solidFill>
            <a:schemeClr val="tx1"/>
          </a:solidFill>
          <a:latin typeface="+mn-lt"/>
          <a:ea typeface="+mn-ea"/>
          <a:cs typeface="+mn-cs"/>
        </a:defRPr>
      </a:lvl3pPr>
      <a:lvl4pPr marL="1074738" indent="-269875" algn="l" defTabSz="914400" rtl="0" eaLnBrk="1" latinLnBrk="0" hangingPunct="1">
        <a:spcBef>
          <a:spcPts val="600"/>
        </a:spcBef>
        <a:spcAft>
          <a:spcPts val="0"/>
        </a:spcAft>
        <a:buClr>
          <a:srgbClr val="000000"/>
        </a:buClr>
        <a:buSzPct val="100000"/>
        <a:buFont typeface="SICK Franklin Condensed" pitchFamily="2" charset="0"/>
        <a:buChar char="―"/>
        <a:defRPr sz="1600" kern="1200">
          <a:solidFill>
            <a:schemeClr val="tx1"/>
          </a:solidFill>
          <a:latin typeface="+mn-lt"/>
          <a:ea typeface="+mn-ea"/>
          <a:cs typeface="+mn-cs"/>
        </a:defRPr>
      </a:lvl4pPr>
      <a:lvl5pPr marL="1346200" indent="-271463" algn="l" defTabSz="914400" rtl="0" eaLnBrk="1" latinLnBrk="0" hangingPunct="1">
        <a:spcBef>
          <a:spcPts val="600"/>
        </a:spcBef>
        <a:spcAft>
          <a:spcPts val="0"/>
        </a:spcAft>
        <a:buSzPct val="100000"/>
        <a:buFont typeface="Arial" panose="020B0604020202020204" pitchFamily="34" charset="0"/>
        <a:buChar char="•"/>
        <a:defRPr sz="1100" kern="120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15925" y="287338"/>
            <a:ext cx="7731125" cy="612775"/>
          </a:xfrm>
          <a:prstGeom prst="rect">
            <a:avLst/>
          </a:prstGeom>
        </p:spPr>
        <p:txBody>
          <a:bodyPr vert="horz" lIns="0" tIns="0" rIns="0" bIns="0" rtlCol="0" anchor="t" anchorCtr="0">
            <a:noAutofit/>
          </a:bodyPr>
          <a:lstStyle/>
          <a:p>
            <a:r>
              <a:rPr lang="en-US" noProof="0" dirty="0" smtClean="0"/>
              <a:t>TITELMASTERFORMAT</a:t>
            </a:r>
            <a:br>
              <a:rPr lang="en-US" noProof="0" dirty="0" smtClean="0"/>
            </a:br>
            <a:r>
              <a:rPr lang="en-US" noProof="0" dirty="0" smtClean="0"/>
              <a:t>DURCH KLICKEN BEARBEITEN</a:t>
            </a:r>
            <a:endParaRPr lang="en-US" noProof="0" dirty="0"/>
          </a:p>
        </p:txBody>
      </p:sp>
      <p:sp>
        <p:nvSpPr>
          <p:cNvPr id="1027" name="Textplatzhalter 2"/>
          <p:cNvSpPr>
            <a:spLocks noGrp="1"/>
          </p:cNvSpPr>
          <p:nvPr>
            <p:ph type="body" idx="1"/>
          </p:nvPr>
        </p:nvSpPr>
        <p:spPr bwMode="auto">
          <a:xfrm>
            <a:off x="412750" y="944563"/>
            <a:ext cx="9072563" cy="565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44000" rIns="0" bIns="0" numCol="1" anchor="t" anchorCtr="0" compatLnSpc="1">
            <a:prstTxWarp prst="textNoShape">
              <a:avLst/>
            </a:prstTxWarp>
          </a:bodyPr>
          <a:lstStyle/>
          <a:p>
            <a:pPr lvl="0"/>
            <a:r>
              <a:rPr lang="en-US" altLang="ru-RU" smtClean="0"/>
              <a:t>Textmasterformat bearbeiten</a:t>
            </a:r>
          </a:p>
          <a:p>
            <a:pPr lvl="1"/>
            <a:r>
              <a:rPr lang="en-US" altLang="ru-RU" smtClean="0"/>
              <a:t>Zweite Ebene</a:t>
            </a:r>
          </a:p>
          <a:p>
            <a:pPr lvl="2"/>
            <a:r>
              <a:rPr lang="en-US" altLang="ru-RU" smtClean="0"/>
              <a:t>Dritte Ebene</a:t>
            </a:r>
          </a:p>
          <a:p>
            <a:pPr lvl="3"/>
            <a:r>
              <a:rPr lang="en-US" altLang="ru-RU" smtClean="0"/>
              <a:t>Vierte Ebene</a:t>
            </a:r>
          </a:p>
        </p:txBody>
      </p:sp>
      <p:sp>
        <p:nvSpPr>
          <p:cNvPr id="4" name="Datumsplatzhalter 3"/>
          <p:cNvSpPr>
            <a:spLocks noGrp="1"/>
          </p:cNvSpPr>
          <p:nvPr>
            <p:ph type="dt" sz="half" idx="2"/>
          </p:nvPr>
        </p:nvSpPr>
        <p:spPr>
          <a:xfrm>
            <a:off x="415925" y="6659563"/>
            <a:ext cx="974725" cy="180975"/>
          </a:xfrm>
          <a:prstGeom prst="rect">
            <a:avLst/>
          </a:prstGeom>
        </p:spPr>
        <p:txBody>
          <a:bodyPr vert="horz" lIns="0" tIns="0" rIns="0" bIns="0" rtlCol="0" anchor="ctr" anchorCtr="0"/>
          <a:lstStyle>
            <a:lvl1pPr algn="l" fontAlgn="auto">
              <a:spcBef>
                <a:spcPts val="0"/>
              </a:spcBef>
              <a:spcAft>
                <a:spcPts val="0"/>
              </a:spcAft>
              <a:defRPr sz="900">
                <a:solidFill>
                  <a:schemeClr val="accent4"/>
                </a:solidFill>
                <a:latin typeface="+mn-lt"/>
                <a:cs typeface="+mn-cs"/>
              </a:defRPr>
            </a:lvl1pPr>
          </a:lstStyle>
          <a:p>
            <a:pPr>
              <a:defRPr/>
            </a:pPr>
            <a:endParaRPr lang="en-US" dirty="0">
              <a:solidFill>
                <a:srgbClr val="6E7A82"/>
              </a:solidFill>
            </a:endParaRPr>
          </a:p>
        </p:txBody>
      </p:sp>
      <p:sp>
        <p:nvSpPr>
          <p:cNvPr id="5" name="Fußzeilenplatzhalter 4"/>
          <p:cNvSpPr>
            <a:spLocks noGrp="1"/>
          </p:cNvSpPr>
          <p:nvPr>
            <p:ph type="ftr" sz="quarter" idx="3"/>
          </p:nvPr>
        </p:nvSpPr>
        <p:spPr>
          <a:xfrm>
            <a:off x="1560513" y="6659563"/>
            <a:ext cx="6784975" cy="180975"/>
          </a:xfrm>
          <a:prstGeom prst="rect">
            <a:avLst/>
          </a:prstGeom>
        </p:spPr>
        <p:txBody>
          <a:bodyPr vert="horz" lIns="0" tIns="0" rIns="0" bIns="0" rtlCol="0" anchor="ctr" anchorCtr="0"/>
          <a:lstStyle>
            <a:lvl1pPr algn="l" fontAlgn="auto">
              <a:spcBef>
                <a:spcPts val="0"/>
              </a:spcBef>
              <a:spcAft>
                <a:spcPts val="0"/>
              </a:spcAft>
              <a:defRPr sz="900">
                <a:solidFill>
                  <a:schemeClr val="tx2"/>
                </a:solidFill>
                <a:latin typeface="+mn-lt"/>
                <a:cs typeface="+mn-cs"/>
              </a:defRPr>
            </a:lvl1pPr>
          </a:lstStyle>
          <a:p>
            <a:pPr>
              <a:defRPr/>
            </a:pPr>
            <a:endParaRPr lang="en-US" dirty="0">
              <a:solidFill>
                <a:srgbClr val="007FC3"/>
              </a:solidFill>
            </a:endParaRPr>
          </a:p>
        </p:txBody>
      </p:sp>
      <p:sp>
        <p:nvSpPr>
          <p:cNvPr id="6" name="Foliennummernplatzhalter 5"/>
          <p:cNvSpPr>
            <a:spLocks noGrp="1"/>
          </p:cNvSpPr>
          <p:nvPr>
            <p:ph type="sldNum" sz="quarter" idx="4"/>
          </p:nvPr>
        </p:nvSpPr>
        <p:spPr>
          <a:xfrm>
            <a:off x="8515350" y="6659563"/>
            <a:ext cx="974725" cy="180975"/>
          </a:xfrm>
          <a:prstGeom prst="rect">
            <a:avLst/>
          </a:prstGeom>
        </p:spPr>
        <p:txBody>
          <a:bodyPr vert="horz" lIns="0" tIns="0" rIns="0" bIns="0" rtlCol="0" anchor="ctr" anchorCtr="0"/>
          <a:lstStyle>
            <a:lvl1pPr algn="r" fontAlgn="auto">
              <a:spcBef>
                <a:spcPts val="0"/>
              </a:spcBef>
              <a:spcAft>
                <a:spcPts val="0"/>
              </a:spcAft>
              <a:defRPr sz="900" b="0">
                <a:solidFill>
                  <a:schemeClr val="accent4"/>
                </a:solidFill>
                <a:latin typeface="+mn-lt"/>
                <a:cs typeface="+mn-cs"/>
              </a:defRPr>
            </a:lvl1pPr>
          </a:lstStyle>
          <a:p>
            <a:pPr>
              <a:defRPr/>
            </a:pPr>
            <a:fld id="{D77DAF5F-1E8E-4879-AFA3-3BB2C8BC3E7A}" type="slidenum">
              <a:rPr lang="en-US">
                <a:solidFill>
                  <a:srgbClr val="6E7A82"/>
                </a:solidFill>
              </a:rPr>
              <a:pPr>
                <a:defRPr/>
              </a:pPr>
              <a:t>‹#›</a:t>
            </a:fld>
            <a:endParaRPr lang="en-US" dirty="0">
              <a:solidFill>
                <a:srgbClr val="6E7A82"/>
              </a:solidFill>
            </a:endParaRPr>
          </a:p>
        </p:txBody>
      </p:sp>
      <p:cxnSp>
        <p:nvCxnSpPr>
          <p:cNvPr id="7" name="Gerade Verbindung 6"/>
          <p:cNvCxnSpPr/>
          <p:nvPr/>
        </p:nvCxnSpPr>
        <p:spPr>
          <a:xfrm>
            <a:off x="0" y="900113"/>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pic>
        <p:nvPicPr>
          <p:cNvPr id="1032" name="Grafik 7"/>
          <p:cNvPicPr>
            <a:picLocks noChangeAspect="1"/>
          </p:cNvPicPr>
          <p:nvPr/>
        </p:nvPicPr>
        <p:blipFill>
          <a:blip r:embed="rId23" cstate="email">
            <a:extLst>
              <a:ext uri="{28A0092B-C50C-407E-A947-70E740481C1C}">
                <a14:useLocalDpi xmlns:a14="http://schemas.microsoft.com/office/drawing/2010/main" val="0"/>
              </a:ext>
            </a:extLst>
          </a:blip>
          <a:srcRect/>
          <a:stretch>
            <a:fillRect/>
          </a:stretch>
        </p:blipFill>
        <p:spPr bwMode="auto">
          <a:xfrm>
            <a:off x="8259763" y="306388"/>
            <a:ext cx="1230312"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hteck 13"/>
          <p:cNvSpPr/>
          <p:nvPr/>
        </p:nvSpPr>
        <p:spPr>
          <a:xfrm>
            <a:off x="0" y="6624638"/>
            <a:ext cx="9906000" cy="34925"/>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cxnSp>
        <p:nvCxnSpPr>
          <p:cNvPr id="17" name="Gerade Verbindung 16"/>
          <p:cNvCxnSpPr/>
          <p:nvPr/>
        </p:nvCxnSpPr>
        <p:spPr>
          <a:xfrm>
            <a:off x="-390525" y="936625"/>
            <a:ext cx="312737"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9983788" y="936625"/>
            <a:ext cx="312737"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a:xfrm>
            <a:off x="9996488" y="6588125"/>
            <a:ext cx="312737"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390525" y="6588125"/>
            <a:ext cx="312737"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428625" y="6929438"/>
            <a:ext cx="0" cy="288925"/>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9477375" y="6929438"/>
            <a:ext cx="0" cy="288925"/>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9490075" y="-360363"/>
            <a:ext cx="0" cy="288925"/>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a:off x="415925" y="-360363"/>
            <a:ext cx="0" cy="288925"/>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a:xfrm>
            <a:off x="-233363" y="3762375"/>
            <a:ext cx="155575"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a:off x="4953000" y="-215900"/>
            <a:ext cx="0" cy="144462"/>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a:off x="9983788" y="3762375"/>
            <a:ext cx="155575"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a:off x="4953000" y="6929438"/>
            <a:ext cx="0" cy="144462"/>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1046" name="Textfeld 32"/>
          <p:cNvSpPr txBox="1">
            <a:spLocks noChangeArrowheads="1"/>
          </p:cNvSpPr>
          <p:nvPr/>
        </p:nvSpPr>
        <p:spPr bwMode="auto">
          <a:xfrm>
            <a:off x="-1247775" y="3546475"/>
            <a:ext cx="11699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36000" anchor="b"/>
          <a:lstStyle>
            <a:lvl1pPr>
              <a:defRPr>
                <a:solidFill>
                  <a:schemeClr val="tx1"/>
                </a:solidFill>
                <a:latin typeface="SICK Franklin Condensed" pitchFamily="2" charset="0"/>
              </a:defRPr>
            </a:lvl1pPr>
            <a:lvl2pPr marL="742950" indent="-285750">
              <a:defRPr>
                <a:solidFill>
                  <a:schemeClr val="tx1"/>
                </a:solidFill>
                <a:latin typeface="SICK Franklin Condensed" pitchFamily="2" charset="0"/>
              </a:defRPr>
            </a:lvl2pPr>
            <a:lvl3pPr marL="1143000" indent="-228600">
              <a:defRPr>
                <a:solidFill>
                  <a:schemeClr val="tx1"/>
                </a:solidFill>
                <a:latin typeface="SICK Franklin Condensed" pitchFamily="2" charset="0"/>
              </a:defRPr>
            </a:lvl3pPr>
            <a:lvl4pPr marL="1600200" indent="-228600">
              <a:defRPr>
                <a:solidFill>
                  <a:schemeClr val="tx1"/>
                </a:solidFill>
                <a:latin typeface="SICK Franklin Condensed" pitchFamily="2" charset="0"/>
              </a:defRPr>
            </a:lvl4pPr>
            <a:lvl5pPr marL="2057400" indent="-228600">
              <a:defRPr>
                <a:solidFill>
                  <a:schemeClr val="tx1"/>
                </a:solidFill>
                <a:latin typeface="SICK Franklin Condensed" pitchFamily="2" charset="0"/>
              </a:defRPr>
            </a:lvl5pPr>
            <a:lvl6pPr marL="2514600" indent="-228600" fontAlgn="base">
              <a:spcBef>
                <a:spcPct val="0"/>
              </a:spcBef>
              <a:spcAft>
                <a:spcPct val="0"/>
              </a:spcAft>
              <a:defRPr>
                <a:solidFill>
                  <a:schemeClr val="tx1"/>
                </a:solidFill>
                <a:latin typeface="SICK Franklin Condensed" pitchFamily="2" charset="0"/>
              </a:defRPr>
            </a:lvl6pPr>
            <a:lvl7pPr marL="2971800" indent="-228600" fontAlgn="base">
              <a:spcBef>
                <a:spcPct val="0"/>
              </a:spcBef>
              <a:spcAft>
                <a:spcPct val="0"/>
              </a:spcAft>
              <a:defRPr>
                <a:solidFill>
                  <a:schemeClr val="tx1"/>
                </a:solidFill>
                <a:latin typeface="SICK Franklin Condensed" pitchFamily="2" charset="0"/>
              </a:defRPr>
            </a:lvl7pPr>
            <a:lvl8pPr marL="3429000" indent="-228600" fontAlgn="base">
              <a:spcBef>
                <a:spcPct val="0"/>
              </a:spcBef>
              <a:spcAft>
                <a:spcPct val="0"/>
              </a:spcAft>
              <a:defRPr>
                <a:solidFill>
                  <a:schemeClr val="tx1"/>
                </a:solidFill>
                <a:latin typeface="SICK Franklin Condensed" pitchFamily="2" charset="0"/>
              </a:defRPr>
            </a:lvl8pPr>
            <a:lvl9pPr marL="3886200" indent="-228600" fontAlgn="base">
              <a:spcBef>
                <a:spcPct val="0"/>
              </a:spcBef>
              <a:spcAft>
                <a:spcPct val="0"/>
              </a:spcAft>
              <a:defRPr>
                <a:solidFill>
                  <a:schemeClr val="tx1"/>
                </a:solidFill>
                <a:latin typeface="SICK Franklin Condensed" pitchFamily="2" charset="0"/>
              </a:defRPr>
            </a:lvl9pPr>
          </a:lstStyle>
          <a:p>
            <a:pPr algn="r" fontAlgn="base">
              <a:spcBef>
                <a:spcPct val="0"/>
              </a:spcBef>
              <a:spcAft>
                <a:spcPct val="0"/>
              </a:spcAft>
              <a:defRPr/>
            </a:pPr>
            <a:r>
              <a:rPr lang="en-US" altLang="ru-RU" sz="900" smtClean="0">
                <a:solidFill>
                  <a:srgbClr val="FFFFFF"/>
                </a:solidFill>
                <a:cs typeface="Arial" pitchFamily="34" charset="0"/>
              </a:rPr>
              <a:t>Center line content</a:t>
            </a:r>
          </a:p>
        </p:txBody>
      </p:sp>
    </p:spTree>
    <p:extLst>
      <p:ext uri="{BB962C8B-B14F-4D97-AF65-F5344CB8AC3E}">
        <p14:creationId xmlns:p14="http://schemas.microsoft.com/office/powerpoint/2010/main" val="193887230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Lst>
  <p:transition>
    <p:zoom/>
  </p:transition>
  <p:timing>
    <p:tnLst>
      <p:par>
        <p:cTn id="1" dur="indefinite" restart="never" nodeType="tmRoot"/>
      </p:par>
    </p:tnLst>
  </p:timing>
  <p:hf sldNum="0" hdr="0" ftr="0" dt="0"/>
  <p:txStyles>
    <p:titleStyle>
      <a:lvl1pPr algn="l" rtl="0" eaLnBrk="0" fontAlgn="base" hangingPunct="0">
        <a:lnSpc>
          <a:spcPct val="80000"/>
        </a:lnSpc>
        <a:spcBef>
          <a:spcPct val="0"/>
        </a:spcBef>
        <a:spcAft>
          <a:spcPct val="0"/>
        </a:spcAft>
        <a:defRPr sz="2400" kern="1200" cap="all">
          <a:solidFill>
            <a:schemeClr val="tx2"/>
          </a:solidFill>
          <a:latin typeface="+mj-lt"/>
          <a:ea typeface="+mj-ea"/>
          <a:cs typeface="+mj-cs"/>
        </a:defRPr>
      </a:lvl1pPr>
      <a:lvl2pPr algn="l" rtl="0" eaLnBrk="0" fontAlgn="base" hangingPunct="0">
        <a:lnSpc>
          <a:spcPct val="80000"/>
        </a:lnSpc>
        <a:spcBef>
          <a:spcPct val="0"/>
        </a:spcBef>
        <a:spcAft>
          <a:spcPct val="0"/>
        </a:spcAft>
        <a:defRPr sz="2400">
          <a:solidFill>
            <a:schemeClr val="tx2"/>
          </a:solidFill>
          <a:latin typeface="SICK Franklin" pitchFamily="2" charset="0"/>
        </a:defRPr>
      </a:lvl2pPr>
      <a:lvl3pPr algn="l" rtl="0" eaLnBrk="0" fontAlgn="base" hangingPunct="0">
        <a:lnSpc>
          <a:spcPct val="80000"/>
        </a:lnSpc>
        <a:spcBef>
          <a:spcPct val="0"/>
        </a:spcBef>
        <a:spcAft>
          <a:spcPct val="0"/>
        </a:spcAft>
        <a:defRPr sz="2400">
          <a:solidFill>
            <a:schemeClr val="tx2"/>
          </a:solidFill>
          <a:latin typeface="SICK Franklin" pitchFamily="2" charset="0"/>
        </a:defRPr>
      </a:lvl3pPr>
      <a:lvl4pPr algn="l" rtl="0" eaLnBrk="0" fontAlgn="base" hangingPunct="0">
        <a:lnSpc>
          <a:spcPct val="80000"/>
        </a:lnSpc>
        <a:spcBef>
          <a:spcPct val="0"/>
        </a:spcBef>
        <a:spcAft>
          <a:spcPct val="0"/>
        </a:spcAft>
        <a:defRPr sz="2400">
          <a:solidFill>
            <a:schemeClr val="tx2"/>
          </a:solidFill>
          <a:latin typeface="SICK Franklin" pitchFamily="2" charset="0"/>
        </a:defRPr>
      </a:lvl4pPr>
      <a:lvl5pPr algn="l" rtl="0" eaLnBrk="0" fontAlgn="base" hangingPunct="0">
        <a:lnSpc>
          <a:spcPct val="80000"/>
        </a:lnSpc>
        <a:spcBef>
          <a:spcPct val="0"/>
        </a:spcBef>
        <a:spcAft>
          <a:spcPct val="0"/>
        </a:spcAft>
        <a:defRPr sz="2400">
          <a:solidFill>
            <a:schemeClr val="tx2"/>
          </a:solidFill>
          <a:latin typeface="SICK Franklin" pitchFamily="2" charset="0"/>
        </a:defRPr>
      </a:lvl5pPr>
      <a:lvl6pPr marL="457200" algn="l" rtl="0" fontAlgn="base">
        <a:lnSpc>
          <a:spcPct val="80000"/>
        </a:lnSpc>
        <a:spcBef>
          <a:spcPct val="0"/>
        </a:spcBef>
        <a:spcAft>
          <a:spcPct val="0"/>
        </a:spcAft>
        <a:defRPr sz="2400">
          <a:solidFill>
            <a:schemeClr val="tx2"/>
          </a:solidFill>
          <a:latin typeface="SICK Franklin" pitchFamily="2" charset="0"/>
        </a:defRPr>
      </a:lvl6pPr>
      <a:lvl7pPr marL="914400" algn="l" rtl="0" fontAlgn="base">
        <a:lnSpc>
          <a:spcPct val="80000"/>
        </a:lnSpc>
        <a:spcBef>
          <a:spcPct val="0"/>
        </a:spcBef>
        <a:spcAft>
          <a:spcPct val="0"/>
        </a:spcAft>
        <a:defRPr sz="2400">
          <a:solidFill>
            <a:schemeClr val="tx2"/>
          </a:solidFill>
          <a:latin typeface="SICK Franklin" pitchFamily="2" charset="0"/>
        </a:defRPr>
      </a:lvl7pPr>
      <a:lvl8pPr marL="1371600" algn="l" rtl="0" fontAlgn="base">
        <a:lnSpc>
          <a:spcPct val="80000"/>
        </a:lnSpc>
        <a:spcBef>
          <a:spcPct val="0"/>
        </a:spcBef>
        <a:spcAft>
          <a:spcPct val="0"/>
        </a:spcAft>
        <a:defRPr sz="2400">
          <a:solidFill>
            <a:schemeClr val="tx2"/>
          </a:solidFill>
          <a:latin typeface="SICK Franklin" pitchFamily="2" charset="0"/>
        </a:defRPr>
      </a:lvl8pPr>
      <a:lvl9pPr marL="1828800" algn="l" rtl="0" fontAlgn="base">
        <a:lnSpc>
          <a:spcPct val="80000"/>
        </a:lnSpc>
        <a:spcBef>
          <a:spcPct val="0"/>
        </a:spcBef>
        <a:spcAft>
          <a:spcPct val="0"/>
        </a:spcAft>
        <a:defRPr sz="2400">
          <a:solidFill>
            <a:schemeClr val="tx2"/>
          </a:solidFill>
          <a:latin typeface="SICK Franklin" pitchFamily="2" charset="0"/>
        </a:defRPr>
      </a:lvl9pPr>
    </p:titleStyle>
    <p:bodyStyle>
      <a:lvl1pPr marL="271463" indent="-271463" algn="l" rtl="0" eaLnBrk="0" fontAlgn="base" hangingPunct="0">
        <a:spcBef>
          <a:spcPts val="600"/>
        </a:spcBef>
        <a:spcAft>
          <a:spcPct val="0"/>
        </a:spcAft>
        <a:buClr>
          <a:srgbClr val="6E7A82"/>
        </a:buClr>
        <a:buSzPct val="100000"/>
        <a:buFont typeface="Wingdings" pitchFamily="2" charset="2"/>
        <a:buChar char="§"/>
        <a:defRPr sz="2000" kern="1200">
          <a:solidFill>
            <a:srgbClr val="6E7A82"/>
          </a:solidFill>
          <a:latin typeface="+mn-lt"/>
          <a:ea typeface="+mn-ea"/>
          <a:cs typeface="+mn-cs"/>
        </a:defRPr>
      </a:lvl1pPr>
      <a:lvl2pPr marL="541338" indent="-269875" algn="l" rtl="0" eaLnBrk="0" fontAlgn="base" hangingPunct="0">
        <a:spcBef>
          <a:spcPts val="600"/>
        </a:spcBef>
        <a:spcAft>
          <a:spcPct val="0"/>
        </a:spcAft>
        <a:buClr>
          <a:srgbClr val="6E7A82"/>
        </a:buClr>
        <a:buSzPct val="100000"/>
        <a:buFont typeface="SICK Franklin Condensed" pitchFamily="2" charset="0"/>
        <a:buChar char="▸"/>
        <a:defRPr kern="1200">
          <a:solidFill>
            <a:srgbClr val="6E7A82"/>
          </a:solidFill>
          <a:latin typeface="+mn-lt"/>
          <a:ea typeface="+mn-ea"/>
          <a:cs typeface="+mn-cs"/>
        </a:defRPr>
      </a:lvl2pPr>
      <a:lvl3pPr marL="804863" indent="-263525" algn="l" rtl="0" eaLnBrk="0" fontAlgn="base" hangingPunct="0">
        <a:spcBef>
          <a:spcPts val="600"/>
        </a:spcBef>
        <a:spcAft>
          <a:spcPct val="0"/>
        </a:spcAft>
        <a:buClr>
          <a:srgbClr val="6E7A82"/>
        </a:buClr>
        <a:buSzPct val="100000"/>
        <a:buFont typeface="SICK Franklin Condensed" pitchFamily="2" charset="0"/>
        <a:buChar char="―"/>
        <a:defRPr sz="1600" kern="1200">
          <a:solidFill>
            <a:srgbClr val="6E7A82"/>
          </a:solidFill>
          <a:latin typeface="+mn-lt"/>
          <a:ea typeface="+mn-ea"/>
          <a:cs typeface="+mn-cs"/>
        </a:defRPr>
      </a:lvl3pPr>
      <a:lvl4pPr marL="1074738" indent="-269875" algn="l" rtl="0" eaLnBrk="0" fontAlgn="base" hangingPunct="0">
        <a:spcBef>
          <a:spcPts val="600"/>
        </a:spcBef>
        <a:spcAft>
          <a:spcPct val="0"/>
        </a:spcAft>
        <a:buClr>
          <a:srgbClr val="6E7A82"/>
        </a:buClr>
        <a:buSzPct val="100000"/>
        <a:buFont typeface="SICK Franklin Condensed" pitchFamily="2" charset="0"/>
        <a:buChar char="―"/>
        <a:defRPr sz="1600" kern="1200">
          <a:solidFill>
            <a:srgbClr val="6E7A82"/>
          </a:solidFill>
          <a:latin typeface="+mn-lt"/>
          <a:ea typeface="+mn-ea"/>
          <a:cs typeface="+mn-cs"/>
        </a:defRPr>
      </a:lvl4pPr>
      <a:lvl5pPr marL="1346200" indent="-271463" algn="l" rtl="0" eaLnBrk="0" fontAlgn="base" hangingPunct="0">
        <a:spcBef>
          <a:spcPts val="600"/>
        </a:spcBef>
        <a:spcAft>
          <a:spcPct val="0"/>
        </a:spcAft>
        <a:buSzPct val="100000"/>
        <a:buFont typeface="Arial" charset="0"/>
        <a:buChar char="•"/>
        <a:defRPr sz="1100" kern="120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15926" y="288000"/>
            <a:ext cx="7731680" cy="612000"/>
          </a:xfrm>
          <a:prstGeom prst="rect">
            <a:avLst/>
          </a:prstGeom>
        </p:spPr>
        <p:txBody>
          <a:bodyPr vert="horz" lIns="0" tIns="0" rIns="0" bIns="0" rtlCol="0" anchor="t" anchorCtr="0">
            <a:noAutofit/>
          </a:bodyPr>
          <a:lstStyle/>
          <a:p>
            <a:r>
              <a:rPr lang="en-US" noProof="0" dirty="0" smtClean="0"/>
              <a:t>TITELMASTERFORMAT</a:t>
            </a:r>
            <a:br>
              <a:rPr lang="en-US" noProof="0" dirty="0" smtClean="0"/>
            </a:br>
            <a:r>
              <a:rPr lang="en-US" noProof="0" dirty="0" smtClean="0"/>
              <a:t>DURCH KLICKEN BEARBEITEN</a:t>
            </a:r>
            <a:endParaRPr lang="en-US" noProof="0" dirty="0"/>
          </a:p>
        </p:txBody>
      </p:sp>
      <p:sp>
        <p:nvSpPr>
          <p:cNvPr id="3" name="Textplatzhalter 2"/>
          <p:cNvSpPr>
            <a:spLocks noGrp="1"/>
          </p:cNvSpPr>
          <p:nvPr>
            <p:ph type="body" idx="1"/>
          </p:nvPr>
        </p:nvSpPr>
        <p:spPr>
          <a:xfrm>
            <a:off x="412900" y="944563"/>
            <a:ext cx="9072000" cy="5653087"/>
          </a:xfrm>
          <a:prstGeom prst="rect">
            <a:avLst/>
          </a:prstGeom>
        </p:spPr>
        <p:txBody>
          <a:bodyPr vert="horz" lIns="0" tIns="144000" rIns="0" bIns="0" rtlCol="0">
            <a:noAutofit/>
          </a:body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4" name="Datumsplatzhalter 3"/>
          <p:cNvSpPr>
            <a:spLocks noGrp="1"/>
          </p:cNvSpPr>
          <p:nvPr>
            <p:ph type="dt" sz="half" idx="2"/>
          </p:nvPr>
        </p:nvSpPr>
        <p:spPr>
          <a:xfrm>
            <a:off x="415926" y="6660000"/>
            <a:ext cx="975000" cy="180000"/>
          </a:xfrm>
          <a:prstGeom prst="rect">
            <a:avLst/>
          </a:prstGeom>
        </p:spPr>
        <p:txBody>
          <a:bodyPr vert="horz" lIns="0" tIns="0" rIns="0" bIns="0" rtlCol="0" anchor="ctr" anchorCtr="0"/>
          <a:lstStyle>
            <a:lvl1pPr algn="l">
              <a:defRPr sz="900">
                <a:solidFill>
                  <a:schemeClr val="accent4"/>
                </a:solidFill>
              </a:defRPr>
            </a:lvl1pPr>
          </a:lstStyle>
          <a:p>
            <a:pPr fontAlgn="base">
              <a:spcBef>
                <a:spcPct val="0"/>
              </a:spcBef>
              <a:spcAft>
                <a:spcPct val="0"/>
              </a:spcAft>
            </a:pPr>
            <a:endParaRPr lang="en-US" dirty="0">
              <a:solidFill>
                <a:srgbClr val="8064A2"/>
              </a:solidFill>
              <a:latin typeface="Arial" charset="0"/>
              <a:cs typeface="Arial" charset="0"/>
            </a:endParaRPr>
          </a:p>
        </p:txBody>
      </p:sp>
      <p:sp>
        <p:nvSpPr>
          <p:cNvPr id="5" name="Fußzeilenplatzhalter 4"/>
          <p:cNvSpPr>
            <a:spLocks noGrp="1"/>
          </p:cNvSpPr>
          <p:nvPr>
            <p:ph type="ftr" sz="quarter" idx="3"/>
          </p:nvPr>
        </p:nvSpPr>
        <p:spPr>
          <a:xfrm>
            <a:off x="1560000" y="6660000"/>
            <a:ext cx="6786000" cy="180000"/>
          </a:xfrm>
          <a:prstGeom prst="rect">
            <a:avLst/>
          </a:prstGeom>
        </p:spPr>
        <p:txBody>
          <a:bodyPr vert="horz" lIns="0" tIns="0" rIns="0" bIns="0" rtlCol="0" anchor="ctr" anchorCtr="0"/>
          <a:lstStyle>
            <a:lvl1pPr algn="l">
              <a:defRPr sz="900">
                <a:solidFill>
                  <a:schemeClr val="tx2"/>
                </a:solidFill>
              </a:defRPr>
            </a:lvl1pPr>
          </a:lstStyle>
          <a:p>
            <a:pPr fontAlgn="base">
              <a:spcBef>
                <a:spcPct val="0"/>
              </a:spcBef>
              <a:spcAft>
                <a:spcPct val="0"/>
              </a:spcAft>
              <a:defRPr/>
            </a:pPr>
            <a:endParaRPr lang="de-DE" dirty="0">
              <a:solidFill>
                <a:srgbClr val="1F497D"/>
              </a:solidFill>
              <a:latin typeface="Arial" charset="0"/>
              <a:cs typeface="Arial" charset="0"/>
            </a:endParaRPr>
          </a:p>
        </p:txBody>
      </p:sp>
      <p:sp>
        <p:nvSpPr>
          <p:cNvPr id="6" name="Foliennummernplatzhalter 5"/>
          <p:cNvSpPr>
            <a:spLocks noGrp="1"/>
          </p:cNvSpPr>
          <p:nvPr>
            <p:ph type="sldNum" sz="quarter" idx="4"/>
          </p:nvPr>
        </p:nvSpPr>
        <p:spPr>
          <a:xfrm>
            <a:off x="8515075" y="6660000"/>
            <a:ext cx="975000" cy="180000"/>
          </a:xfrm>
          <a:prstGeom prst="rect">
            <a:avLst/>
          </a:prstGeom>
        </p:spPr>
        <p:txBody>
          <a:bodyPr vert="horz" lIns="0" tIns="0" rIns="0" bIns="0" rtlCol="0" anchor="ctr" anchorCtr="0"/>
          <a:lstStyle>
            <a:lvl1pPr algn="r">
              <a:defRPr sz="900" b="0">
                <a:solidFill>
                  <a:schemeClr val="accent4"/>
                </a:solidFill>
              </a:defRPr>
            </a:lvl1pPr>
          </a:lstStyle>
          <a:p>
            <a:pPr fontAlgn="base">
              <a:spcBef>
                <a:spcPct val="0"/>
              </a:spcBef>
              <a:spcAft>
                <a:spcPct val="0"/>
              </a:spcAft>
              <a:defRPr/>
            </a:pPr>
            <a:fld id="{66B62902-79D4-4DDE-94B0-E26D9C221627}" type="slidenum">
              <a:rPr lang="en-US" smtClean="0">
                <a:solidFill>
                  <a:srgbClr val="8064A2"/>
                </a:solidFill>
                <a:latin typeface="Arial" charset="0"/>
                <a:cs typeface="Arial" charset="0"/>
              </a:rPr>
              <a:pPr fontAlgn="base">
                <a:spcBef>
                  <a:spcPct val="0"/>
                </a:spcBef>
                <a:spcAft>
                  <a:spcPct val="0"/>
                </a:spcAft>
                <a:defRPr/>
              </a:pPr>
              <a:t>‹#›</a:t>
            </a:fld>
            <a:endParaRPr lang="en-US">
              <a:solidFill>
                <a:srgbClr val="8064A2"/>
              </a:solidFill>
              <a:latin typeface="Arial" charset="0"/>
              <a:cs typeface="Arial" charset="0"/>
            </a:endParaRPr>
          </a:p>
        </p:txBody>
      </p:sp>
      <p:cxnSp>
        <p:nvCxnSpPr>
          <p:cNvPr id="7" name="Gerade Verbindung 6"/>
          <p:cNvCxnSpPr/>
          <p:nvPr/>
        </p:nvCxnSpPr>
        <p:spPr>
          <a:xfrm>
            <a:off x="0" y="900000"/>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p:nvPicPr>
        <p:blipFill>
          <a:blip r:embed="rId20" cstate="email">
            <a:extLst>
              <a:ext uri="{28A0092B-C50C-407E-A947-70E740481C1C}">
                <a14:useLocalDpi xmlns:a14="http://schemas.microsoft.com/office/drawing/2010/main" val="0"/>
              </a:ext>
            </a:extLst>
          </a:blip>
          <a:stretch>
            <a:fillRect/>
          </a:stretch>
        </p:blipFill>
        <p:spPr>
          <a:xfrm>
            <a:off x="8260550" y="306001"/>
            <a:ext cx="1228954" cy="504749"/>
          </a:xfrm>
          <a:prstGeom prst="rect">
            <a:avLst/>
          </a:prstGeom>
        </p:spPr>
      </p:pic>
      <p:sp>
        <p:nvSpPr>
          <p:cNvPr id="14" name="Rechteck 13"/>
          <p:cNvSpPr/>
          <p:nvPr/>
        </p:nvSpPr>
        <p:spPr>
          <a:xfrm>
            <a:off x="0" y="6624000"/>
            <a:ext cx="9906000" cy="36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cxnSp>
        <p:nvCxnSpPr>
          <p:cNvPr id="17" name="Gerade Verbindung 16"/>
          <p:cNvCxnSpPr/>
          <p:nvPr/>
        </p:nvCxnSpPr>
        <p:spPr>
          <a:xfrm>
            <a:off x="-390000" y="9360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9984000" y="9360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a:xfrm>
            <a:off x="9997020" y="65880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390000" y="65880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429000" y="693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9477000" y="693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9490075" y="-36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a:off x="415925" y="-36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a:xfrm>
            <a:off x="-234000" y="3762000"/>
            <a:ext cx="156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a:off x="4953000" y="-216000"/>
            <a:ext cx="0" cy="144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a:off x="9984000" y="3762000"/>
            <a:ext cx="156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a:off x="4953000" y="6930000"/>
            <a:ext cx="0" cy="144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1248000" y="3546000"/>
            <a:ext cx="1170000" cy="216000"/>
          </a:xfrm>
          <a:prstGeom prst="rect">
            <a:avLst/>
          </a:prstGeom>
          <a:noFill/>
        </p:spPr>
        <p:txBody>
          <a:bodyPr wrap="square" lIns="0" tIns="0" rIns="0" bIns="36000" rtlCol="0" anchor="b" anchorCtr="0">
            <a:noAutofit/>
          </a:bodyPr>
          <a:lstStyle/>
          <a:p>
            <a:pPr algn="r" fontAlgn="base">
              <a:spcBef>
                <a:spcPct val="0"/>
              </a:spcBef>
              <a:spcAft>
                <a:spcPct val="0"/>
              </a:spcAft>
            </a:pPr>
            <a:r>
              <a:rPr lang="en-US" sz="900" dirty="0" smtClean="0">
                <a:solidFill>
                  <a:srgbClr val="FFFFFF"/>
                </a:solidFill>
                <a:latin typeface="Arial" charset="0"/>
                <a:cs typeface="Arial" charset="0"/>
              </a:rPr>
              <a:t>Center line content</a:t>
            </a:r>
            <a:endParaRPr lang="en-US" sz="900" dirty="0">
              <a:solidFill>
                <a:srgbClr val="FFFFFF"/>
              </a:solidFill>
              <a:latin typeface="Arial" charset="0"/>
              <a:cs typeface="Arial" charset="0"/>
            </a:endParaRPr>
          </a:p>
        </p:txBody>
      </p:sp>
    </p:spTree>
    <p:extLst>
      <p:ext uri="{BB962C8B-B14F-4D97-AF65-F5344CB8AC3E}">
        <p14:creationId xmlns:p14="http://schemas.microsoft.com/office/powerpoint/2010/main" val="315217055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8" r:id="rId17"/>
    <p:sldLayoutId id="2147483729" r:id="rId18"/>
  </p:sldLayoutIdLst>
  <p:transition>
    <p:zoom/>
  </p:transition>
  <p:timing>
    <p:tnLst>
      <p:par>
        <p:cTn id="1" dur="indefinite" restart="never" nodeType="tmRoot"/>
      </p:par>
    </p:tnLst>
  </p:timing>
  <p:hf sldNum="0" hdr="0" ftr="0" dt="0"/>
  <p:txStyles>
    <p:titleStyle>
      <a:lvl1pPr algn="l" defTabSz="914400" rtl="0" eaLnBrk="1" latinLnBrk="0" hangingPunct="1">
        <a:lnSpc>
          <a:spcPct val="80000"/>
        </a:lnSpc>
        <a:spcBef>
          <a:spcPct val="0"/>
        </a:spcBef>
        <a:buNone/>
        <a:defRPr sz="2400" kern="1200" cap="all" baseline="0">
          <a:solidFill>
            <a:schemeClr val="tx2"/>
          </a:solidFill>
          <a:latin typeface="+mj-lt"/>
          <a:ea typeface="+mj-ea"/>
          <a:cs typeface="+mj-cs"/>
        </a:defRPr>
      </a:lvl1pPr>
    </p:titleStyle>
    <p:bodyStyle>
      <a:lvl1pPr marL="271463" indent="-271463" algn="l" defTabSz="914400" rtl="0" eaLnBrk="1" latinLnBrk="0" hangingPunct="1">
        <a:spcBef>
          <a:spcPts val="600"/>
        </a:spcBef>
        <a:spcAft>
          <a:spcPts val="0"/>
        </a:spcAft>
        <a:buClr>
          <a:schemeClr val="accent4"/>
        </a:buClr>
        <a:buSzPct val="100000"/>
        <a:buFont typeface="Wingdings" panose="05000000000000000000" pitchFamily="2" charset="2"/>
        <a:buChar char="§"/>
        <a:defRPr sz="2000" kern="1200">
          <a:solidFill>
            <a:schemeClr val="accent4"/>
          </a:solidFill>
          <a:latin typeface="+mn-lt"/>
          <a:ea typeface="+mn-ea"/>
          <a:cs typeface="+mn-cs"/>
        </a:defRPr>
      </a:lvl1pPr>
      <a:lvl2pPr marL="541338" indent="-269875" algn="l" defTabSz="914400" rtl="0" eaLnBrk="1" latinLnBrk="0" hangingPunct="1">
        <a:spcBef>
          <a:spcPts val="600"/>
        </a:spcBef>
        <a:spcAft>
          <a:spcPts val="0"/>
        </a:spcAft>
        <a:buClr>
          <a:schemeClr val="accent4"/>
        </a:buClr>
        <a:buSzPct val="100000"/>
        <a:buFont typeface="SICK Franklin Condensed" pitchFamily="2" charset="0"/>
        <a:buChar char="▸"/>
        <a:defRPr sz="1800" kern="1200">
          <a:solidFill>
            <a:schemeClr val="accent4"/>
          </a:solidFill>
          <a:latin typeface="+mn-lt"/>
          <a:ea typeface="+mn-ea"/>
          <a:cs typeface="+mn-cs"/>
        </a:defRPr>
      </a:lvl2pPr>
      <a:lvl3pPr marL="804863" indent="-263525" algn="l" defTabSz="914400" rtl="0" eaLnBrk="1" latinLnBrk="0" hangingPunct="1">
        <a:spcBef>
          <a:spcPts val="600"/>
        </a:spcBef>
        <a:spcAft>
          <a:spcPts val="0"/>
        </a:spcAft>
        <a:buClr>
          <a:schemeClr val="accent4"/>
        </a:buClr>
        <a:buSzPct val="100000"/>
        <a:buFont typeface="SICK Franklin Condensed" pitchFamily="2" charset="0"/>
        <a:buChar char="―"/>
        <a:defRPr sz="1600" kern="1200">
          <a:solidFill>
            <a:schemeClr val="accent4"/>
          </a:solidFill>
          <a:latin typeface="+mn-lt"/>
          <a:ea typeface="+mn-ea"/>
          <a:cs typeface="+mn-cs"/>
        </a:defRPr>
      </a:lvl3pPr>
      <a:lvl4pPr marL="1074738" indent="-269875" algn="l" defTabSz="914400" rtl="0" eaLnBrk="1" latinLnBrk="0" hangingPunct="1">
        <a:spcBef>
          <a:spcPts val="600"/>
        </a:spcBef>
        <a:spcAft>
          <a:spcPts val="0"/>
        </a:spcAft>
        <a:buClr>
          <a:schemeClr val="accent4"/>
        </a:buClr>
        <a:buSzPct val="100000"/>
        <a:buFont typeface="SICK Franklin Condensed" pitchFamily="2" charset="0"/>
        <a:buChar char="―"/>
        <a:defRPr sz="1600" kern="1200">
          <a:solidFill>
            <a:schemeClr val="accent4"/>
          </a:solidFill>
          <a:latin typeface="+mn-lt"/>
          <a:ea typeface="+mn-ea"/>
          <a:cs typeface="+mn-cs"/>
        </a:defRPr>
      </a:lvl4pPr>
      <a:lvl5pPr marL="1346200" indent="-271463" algn="l" defTabSz="914400" rtl="0" eaLnBrk="1" latinLnBrk="0" hangingPunct="1">
        <a:spcBef>
          <a:spcPts val="600"/>
        </a:spcBef>
        <a:spcAft>
          <a:spcPts val="0"/>
        </a:spcAft>
        <a:buSzPct val="100000"/>
        <a:buFont typeface="Arial" panose="020B0604020202020204" pitchFamily="34" charset="0"/>
        <a:buChar char="•"/>
        <a:defRPr sz="1100" kern="120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95300" y="77788"/>
            <a:ext cx="7769225" cy="720725"/>
          </a:xfrm>
          <a:prstGeom prst="rect">
            <a:avLst/>
          </a:prstGeom>
          <a:noFill/>
          <a:ln w="9525">
            <a:noFill/>
            <a:miter lim="800000"/>
            <a:headEnd/>
            <a:tailEnd/>
          </a:ln>
        </p:spPr>
        <p:txBody>
          <a:bodyPr vert="horz" wrap="square" lIns="91440" tIns="3600" rIns="91440" bIns="45720" numCol="1" anchor="t" anchorCtr="0" compatLnSpc="1">
            <a:prstTxWarp prst="textNoShape">
              <a:avLst/>
            </a:prstTxWarp>
          </a:bodyPr>
          <a:lstStyle/>
          <a:p>
            <a:pPr lvl="0"/>
            <a:r>
              <a:rPr lang="de-DE" altLang="en-US" smtClean="0"/>
              <a:t>Titelmasterformat durch Klicken bearbeiten</a:t>
            </a:r>
          </a:p>
        </p:txBody>
      </p:sp>
      <p:sp>
        <p:nvSpPr>
          <p:cNvPr id="3075" name="Rectangle 3"/>
          <p:cNvSpPr>
            <a:spLocks noGrp="1" noChangeArrowheads="1"/>
          </p:cNvSpPr>
          <p:nvPr>
            <p:ph type="body" idx="1"/>
          </p:nvPr>
        </p:nvSpPr>
        <p:spPr bwMode="auto">
          <a:xfrm>
            <a:off x="214313" y="976313"/>
            <a:ext cx="9491662" cy="55483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p:txBody>
      </p:sp>
      <p:sp>
        <p:nvSpPr>
          <p:cNvPr id="304132" name="Rectangle 4"/>
          <p:cNvSpPr>
            <a:spLocks noGrp="1" noChangeArrowheads="1"/>
          </p:cNvSpPr>
          <p:nvPr>
            <p:ph type="ftr" sz="quarter" idx="3"/>
          </p:nvPr>
        </p:nvSpPr>
        <p:spPr bwMode="auto">
          <a:xfrm>
            <a:off x="6858000" y="6597650"/>
            <a:ext cx="2343150" cy="2174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spcBef>
                <a:spcPct val="0"/>
              </a:spcBef>
              <a:buClrTx/>
              <a:buSzTx/>
              <a:buFontTx/>
              <a:buNone/>
              <a:defRPr sz="900">
                <a:solidFill>
                  <a:schemeClr val="hlink"/>
                </a:solidFill>
                <a:latin typeface="Arial" charset="0"/>
                <a:cs typeface="Arial" charset="0"/>
              </a:defRPr>
            </a:lvl1pPr>
          </a:lstStyle>
          <a:p>
            <a:pPr fontAlgn="base">
              <a:spcAft>
                <a:spcPct val="0"/>
              </a:spcAft>
              <a:defRPr/>
            </a:pPr>
            <a:endParaRPr lang="de-DE" dirty="0">
              <a:solidFill>
                <a:srgbClr val="808080"/>
              </a:solidFill>
            </a:endParaRPr>
          </a:p>
        </p:txBody>
      </p:sp>
      <p:sp>
        <p:nvSpPr>
          <p:cNvPr id="304133" name="Rectangle 5"/>
          <p:cNvSpPr>
            <a:spLocks noGrp="1" noChangeArrowheads="1"/>
          </p:cNvSpPr>
          <p:nvPr>
            <p:ph type="sldNum" sz="quarter" idx="4"/>
          </p:nvPr>
        </p:nvSpPr>
        <p:spPr bwMode="auto">
          <a:xfrm>
            <a:off x="9201150" y="6597650"/>
            <a:ext cx="360363" cy="217488"/>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algn="r">
              <a:spcBef>
                <a:spcPct val="0"/>
              </a:spcBef>
              <a:buClrTx/>
              <a:buSzTx/>
              <a:buFontTx/>
              <a:buNone/>
              <a:defRPr sz="900">
                <a:solidFill>
                  <a:schemeClr val="hlink"/>
                </a:solidFill>
                <a:latin typeface="Arial" charset="0"/>
                <a:cs typeface="Arial" charset="0"/>
              </a:defRPr>
            </a:lvl1pPr>
          </a:lstStyle>
          <a:p>
            <a:pPr fontAlgn="base">
              <a:spcAft>
                <a:spcPct val="0"/>
              </a:spcAft>
              <a:defRPr/>
            </a:pPr>
            <a:fld id="{503451CC-0C85-41C7-B06D-0FA317957496}" type="slidenum">
              <a:rPr lang="en-US">
                <a:solidFill>
                  <a:srgbClr val="808080"/>
                </a:solidFill>
              </a:rPr>
              <a:pPr fontAlgn="base">
                <a:spcAft>
                  <a:spcPct val="0"/>
                </a:spcAft>
                <a:defRPr/>
              </a:pPr>
              <a:t>‹#›</a:t>
            </a:fld>
            <a:endParaRPr lang="en-US">
              <a:solidFill>
                <a:srgbClr val="808080"/>
              </a:solidFill>
            </a:endParaRPr>
          </a:p>
        </p:txBody>
      </p:sp>
      <p:sp>
        <p:nvSpPr>
          <p:cNvPr id="2054" name="Line 6"/>
          <p:cNvSpPr>
            <a:spLocks noChangeShapeType="1"/>
          </p:cNvSpPr>
          <p:nvPr/>
        </p:nvSpPr>
        <p:spPr bwMode="auto">
          <a:xfrm>
            <a:off x="0" y="6597650"/>
            <a:ext cx="9906000" cy="0"/>
          </a:xfrm>
          <a:prstGeom prst="line">
            <a:avLst/>
          </a:prstGeom>
          <a:noFill/>
          <a:ln w="9525">
            <a:solidFill>
              <a:schemeClr val="hlink"/>
            </a:solidFill>
            <a:round/>
            <a:headEnd/>
            <a:tailEnd/>
          </a:ln>
        </p:spPr>
        <p:txBody>
          <a:bodyPr/>
          <a:lstStyle/>
          <a:p>
            <a:pPr fontAlgn="base">
              <a:spcBef>
                <a:spcPct val="0"/>
              </a:spcBef>
              <a:spcAft>
                <a:spcPct val="0"/>
              </a:spcAft>
              <a:defRPr/>
            </a:pPr>
            <a:endParaRPr lang="ru-RU" sz="1700">
              <a:solidFill>
                <a:srgbClr val="000000"/>
              </a:solidFill>
            </a:endParaRPr>
          </a:p>
        </p:txBody>
      </p:sp>
      <p:sp>
        <p:nvSpPr>
          <p:cNvPr id="2055" name="Line 7"/>
          <p:cNvSpPr>
            <a:spLocks noChangeShapeType="1"/>
          </p:cNvSpPr>
          <p:nvPr/>
        </p:nvSpPr>
        <p:spPr bwMode="auto">
          <a:xfrm>
            <a:off x="3295650" y="6597650"/>
            <a:ext cx="0" cy="144463"/>
          </a:xfrm>
          <a:prstGeom prst="line">
            <a:avLst/>
          </a:prstGeom>
          <a:noFill/>
          <a:ln w="9525">
            <a:solidFill>
              <a:schemeClr val="hlink"/>
            </a:solidFill>
            <a:round/>
            <a:headEnd/>
            <a:tailEnd/>
          </a:ln>
        </p:spPr>
        <p:txBody>
          <a:bodyPr/>
          <a:lstStyle/>
          <a:p>
            <a:pPr fontAlgn="base">
              <a:spcBef>
                <a:spcPct val="0"/>
              </a:spcBef>
              <a:spcAft>
                <a:spcPct val="0"/>
              </a:spcAft>
              <a:defRPr/>
            </a:pPr>
            <a:endParaRPr lang="ru-RU" sz="1700">
              <a:solidFill>
                <a:srgbClr val="000000"/>
              </a:solidFill>
            </a:endParaRPr>
          </a:p>
        </p:txBody>
      </p:sp>
      <p:sp>
        <p:nvSpPr>
          <p:cNvPr id="2056" name="Line 8"/>
          <p:cNvSpPr>
            <a:spLocks noChangeShapeType="1"/>
          </p:cNvSpPr>
          <p:nvPr/>
        </p:nvSpPr>
        <p:spPr bwMode="auto">
          <a:xfrm>
            <a:off x="6607175" y="6597650"/>
            <a:ext cx="0" cy="144463"/>
          </a:xfrm>
          <a:prstGeom prst="line">
            <a:avLst/>
          </a:prstGeom>
          <a:noFill/>
          <a:ln w="9525">
            <a:solidFill>
              <a:schemeClr val="hlink"/>
            </a:solidFill>
            <a:round/>
            <a:headEnd/>
            <a:tailEnd/>
          </a:ln>
        </p:spPr>
        <p:txBody>
          <a:bodyPr/>
          <a:lstStyle/>
          <a:p>
            <a:pPr fontAlgn="base">
              <a:spcBef>
                <a:spcPct val="0"/>
              </a:spcBef>
              <a:spcAft>
                <a:spcPct val="0"/>
              </a:spcAft>
              <a:defRPr/>
            </a:pPr>
            <a:endParaRPr lang="ru-RU" sz="1700">
              <a:solidFill>
                <a:srgbClr val="000000"/>
              </a:solidFill>
            </a:endParaRPr>
          </a:p>
        </p:txBody>
      </p:sp>
      <p:sp>
        <p:nvSpPr>
          <p:cNvPr id="2057" name="Line 9"/>
          <p:cNvSpPr>
            <a:spLocks noChangeShapeType="1"/>
          </p:cNvSpPr>
          <p:nvPr/>
        </p:nvSpPr>
        <p:spPr bwMode="auto">
          <a:xfrm>
            <a:off x="0" y="908050"/>
            <a:ext cx="9906000" cy="0"/>
          </a:xfrm>
          <a:prstGeom prst="line">
            <a:avLst/>
          </a:prstGeom>
          <a:noFill/>
          <a:ln w="9525">
            <a:solidFill>
              <a:schemeClr val="hlink"/>
            </a:solidFill>
            <a:round/>
            <a:headEnd/>
            <a:tailEnd/>
          </a:ln>
        </p:spPr>
        <p:txBody>
          <a:bodyPr/>
          <a:lstStyle/>
          <a:p>
            <a:pPr fontAlgn="base">
              <a:spcBef>
                <a:spcPct val="0"/>
              </a:spcBef>
              <a:spcAft>
                <a:spcPct val="0"/>
              </a:spcAft>
              <a:defRPr/>
            </a:pPr>
            <a:endParaRPr lang="ru-RU" sz="1700">
              <a:solidFill>
                <a:srgbClr val="000000"/>
              </a:solidFill>
            </a:endParaRPr>
          </a:p>
        </p:txBody>
      </p:sp>
      <p:sp>
        <p:nvSpPr>
          <p:cNvPr id="2058" name="Text Box 10"/>
          <p:cNvSpPr txBox="1">
            <a:spLocks noChangeArrowheads="1"/>
          </p:cNvSpPr>
          <p:nvPr/>
        </p:nvSpPr>
        <p:spPr bwMode="auto">
          <a:xfrm>
            <a:off x="3541713" y="6597650"/>
            <a:ext cx="3067050" cy="228600"/>
          </a:xfrm>
          <a:prstGeom prst="rect">
            <a:avLst/>
          </a:prstGeom>
          <a:noFill/>
          <a:ln>
            <a:noFill/>
          </a:ln>
          <a:extLst/>
        </p:spPr>
        <p:txBody>
          <a:bodyPr>
            <a:spAutoFit/>
          </a:bodyP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eaLnBrk="1" fontAlgn="base" hangingPunct="1">
              <a:spcBef>
                <a:spcPct val="50000"/>
              </a:spcBef>
              <a:spcAft>
                <a:spcPct val="0"/>
              </a:spcAft>
              <a:buClr>
                <a:srgbClr val="0084C2"/>
              </a:buClr>
              <a:buSzPct val="130000"/>
              <a:buFont typeface="Arial" charset="0"/>
              <a:buNone/>
              <a:defRPr/>
            </a:pPr>
            <a:r>
              <a:rPr lang="de-DE" sz="900" smtClean="0">
                <a:solidFill>
                  <a:srgbClr val="808080"/>
                </a:solidFill>
              </a:rPr>
              <a:t>: </a:t>
            </a:r>
            <a:endParaRPr lang="de-DE" sz="900" dirty="0" smtClean="0">
              <a:solidFill>
                <a:srgbClr val="808080"/>
              </a:solidFill>
            </a:endParaRPr>
          </a:p>
        </p:txBody>
      </p:sp>
      <p:grpSp>
        <p:nvGrpSpPr>
          <p:cNvPr id="3083" name="Group 11"/>
          <p:cNvGrpSpPr>
            <a:grpSpLocks/>
          </p:cNvGrpSpPr>
          <p:nvPr/>
        </p:nvGrpSpPr>
        <p:grpSpPr bwMode="auto">
          <a:xfrm>
            <a:off x="8266113" y="150813"/>
            <a:ext cx="1295400" cy="528637"/>
            <a:chOff x="5207" y="95"/>
            <a:chExt cx="816" cy="333"/>
          </a:xfrm>
        </p:grpSpPr>
        <p:sp>
          <p:nvSpPr>
            <p:cNvPr id="2060" name="AutoShape 12"/>
            <p:cNvSpPr>
              <a:spLocks noChangeAspect="1" noChangeArrowheads="1" noTextEdit="1"/>
            </p:cNvSpPr>
            <p:nvPr userDrawn="1"/>
          </p:nvSpPr>
          <p:spPr bwMode="auto">
            <a:xfrm>
              <a:off x="5207" y="95"/>
              <a:ext cx="816" cy="333"/>
            </a:xfrm>
            <a:prstGeom prst="rect">
              <a:avLst/>
            </a:prstGeom>
            <a:noFill/>
            <a:ln w="9525">
              <a:noFill/>
              <a:miter lim="800000"/>
              <a:headEnd/>
              <a:tailEnd/>
            </a:ln>
          </p:spPr>
          <p:txBody>
            <a:bodyPr/>
            <a:lstStyle/>
            <a:p>
              <a:pPr fontAlgn="base">
                <a:spcBef>
                  <a:spcPct val="0"/>
                </a:spcBef>
                <a:spcAft>
                  <a:spcPct val="0"/>
                </a:spcAft>
                <a:defRPr/>
              </a:pPr>
              <a:endParaRPr lang="ru-RU" sz="1700">
                <a:solidFill>
                  <a:srgbClr val="000000"/>
                </a:solidFill>
              </a:endParaRPr>
            </a:p>
          </p:txBody>
        </p:sp>
        <p:sp>
          <p:nvSpPr>
            <p:cNvPr id="2061" name="Freeform 13"/>
            <p:cNvSpPr>
              <a:spLocks/>
            </p:cNvSpPr>
            <p:nvPr userDrawn="1"/>
          </p:nvSpPr>
          <p:spPr bwMode="auto">
            <a:xfrm>
              <a:off x="5208" y="98"/>
              <a:ext cx="165" cy="184"/>
            </a:xfrm>
            <a:custGeom>
              <a:avLst/>
              <a:gdLst>
                <a:gd name="T0" fmla="*/ 0 w 3308"/>
                <a:gd name="T1" fmla="*/ 0 h 3663"/>
                <a:gd name="T2" fmla="*/ 0 w 3308"/>
                <a:gd name="T3" fmla="*/ 0 h 3663"/>
                <a:gd name="T4" fmla="*/ 0 w 3308"/>
                <a:gd name="T5" fmla="*/ 0 h 3663"/>
                <a:gd name="T6" fmla="*/ 0 w 3308"/>
                <a:gd name="T7" fmla="*/ 0 h 3663"/>
                <a:gd name="T8" fmla="*/ 0 w 3308"/>
                <a:gd name="T9" fmla="*/ 0 h 3663"/>
                <a:gd name="T10" fmla="*/ 0 w 3308"/>
                <a:gd name="T11" fmla="*/ 0 h 3663"/>
                <a:gd name="T12" fmla="*/ 0 w 3308"/>
                <a:gd name="T13" fmla="*/ 0 h 3663"/>
                <a:gd name="T14" fmla="*/ 0 w 3308"/>
                <a:gd name="T15" fmla="*/ 0 h 3663"/>
                <a:gd name="T16" fmla="*/ 0 w 3308"/>
                <a:gd name="T17" fmla="*/ 0 h 3663"/>
                <a:gd name="T18" fmla="*/ 0 w 3308"/>
                <a:gd name="T19" fmla="*/ 0 h 3663"/>
                <a:gd name="T20" fmla="*/ 0 w 3308"/>
                <a:gd name="T21" fmla="*/ 0 h 3663"/>
                <a:gd name="T22" fmla="*/ 0 w 3308"/>
                <a:gd name="T23" fmla="*/ 0 h 3663"/>
                <a:gd name="T24" fmla="*/ 0 w 3308"/>
                <a:gd name="T25" fmla="*/ 0 h 3663"/>
                <a:gd name="T26" fmla="*/ 0 w 3308"/>
                <a:gd name="T27" fmla="*/ 0 h 3663"/>
                <a:gd name="T28" fmla="*/ 0 w 3308"/>
                <a:gd name="T29" fmla="*/ 0 h 3663"/>
                <a:gd name="T30" fmla="*/ 0 w 3308"/>
                <a:gd name="T31" fmla="*/ 0 h 3663"/>
                <a:gd name="T32" fmla="*/ 0 w 3308"/>
                <a:gd name="T33" fmla="*/ 0 h 3663"/>
                <a:gd name="T34" fmla="*/ 0 w 3308"/>
                <a:gd name="T35" fmla="*/ 0 h 3663"/>
                <a:gd name="T36" fmla="*/ 0 w 3308"/>
                <a:gd name="T37" fmla="*/ 0 h 3663"/>
                <a:gd name="T38" fmla="*/ 0 w 3308"/>
                <a:gd name="T39" fmla="*/ 0 h 3663"/>
                <a:gd name="T40" fmla="*/ 0 w 3308"/>
                <a:gd name="T41" fmla="*/ 0 h 3663"/>
                <a:gd name="T42" fmla="*/ 0 w 3308"/>
                <a:gd name="T43" fmla="*/ 0 h 3663"/>
                <a:gd name="T44" fmla="*/ 0 w 3308"/>
                <a:gd name="T45" fmla="*/ 0 h 3663"/>
                <a:gd name="T46" fmla="*/ 0 w 3308"/>
                <a:gd name="T47" fmla="*/ 0 h 3663"/>
                <a:gd name="T48" fmla="*/ 0 w 3308"/>
                <a:gd name="T49" fmla="*/ 0 h 3663"/>
                <a:gd name="T50" fmla="*/ 0 w 3308"/>
                <a:gd name="T51" fmla="*/ 0 h 3663"/>
                <a:gd name="T52" fmla="*/ 0 w 3308"/>
                <a:gd name="T53" fmla="*/ 0 h 3663"/>
                <a:gd name="T54" fmla="*/ 0 w 3308"/>
                <a:gd name="T55" fmla="*/ 0 h 3663"/>
                <a:gd name="T56" fmla="*/ 0 w 3308"/>
                <a:gd name="T57" fmla="*/ 0 h 3663"/>
                <a:gd name="T58" fmla="*/ 0 w 3308"/>
                <a:gd name="T59" fmla="*/ 0 h 3663"/>
                <a:gd name="T60" fmla="*/ 0 w 3308"/>
                <a:gd name="T61" fmla="*/ 0 h 3663"/>
                <a:gd name="T62" fmla="*/ 0 w 3308"/>
                <a:gd name="T63" fmla="*/ 0 h 3663"/>
                <a:gd name="T64" fmla="*/ 0 w 3308"/>
                <a:gd name="T65" fmla="*/ 0 h 3663"/>
                <a:gd name="T66" fmla="*/ 0 w 3308"/>
                <a:gd name="T67" fmla="*/ 0 h 3663"/>
                <a:gd name="T68" fmla="*/ 0 w 3308"/>
                <a:gd name="T69" fmla="*/ 0 h 3663"/>
                <a:gd name="T70" fmla="*/ 0 w 3308"/>
                <a:gd name="T71" fmla="*/ 0 h 3663"/>
                <a:gd name="T72" fmla="*/ 0 w 3308"/>
                <a:gd name="T73" fmla="*/ 0 h 3663"/>
                <a:gd name="T74" fmla="*/ 0 w 3308"/>
                <a:gd name="T75" fmla="*/ 0 h 3663"/>
                <a:gd name="T76" fmla="*/ 0 w 3308"/>
                <a:gd name="T77" fmla="*/ 0 h 3663"/>
                <a:gd name="T78" fmla="*/ 0 w 3308"/>
                <a:gd name="T79" fmla="*/ 0 h 3663"/>
                <a:gd name="T80" fmla="*/ 0 w 3308"/>
                <a:gd name="T81" fmla="*/ 0 h 3663"/>
                <a:gd name="T82" fmla="*/ 0 w 3308"/>
                <a:gd name="T83" fmla="*/ 0 h 3663"/>
                <a:gd name="T84" fmla="*/ 0 w 3308"/>
                <a:gd name="T85" fmla="*/ 0 h 3663"/>
                <a:gd name="T86" fmla="*/ 0 w 3308"/>
                <a:gd name="T87" fmla="*/ 0 h 3663"/>
                <a:gd name="T88" fmla="*/ 0 w 3308"/>
                <a:gd name="T89" fmla="*/ 0 h 3663"/>
                <a:gd name="T90" fmla="*/ 0 w 3308"/>
                <a:gd name="T91" fmla="*/ 0 h 3663"/>
                <a:gd name="T92" fmla="*/ 0 w 3308"/>
                <a:gd name="T93" fmla="*/ 0 h 3663"/>
                <a:gd name="T94" fmla="*/ 0 w 3308"/>
                <a:gd name="T95" fmla="*/ 0 h 3663"/>
                <a:gd name="T96" fmla="*/ 0 w 3308"/>
                <a:gd name="T97" fmla="*/ 0 h 3663"/>
                <a:gd name="T98" fmla="*/ 0 w 3308"/>
                <a:gd name="T99" fmla="*/ 0 h 3663"/>
                <a:gd name="T100" fmla="*/ 0 w 3308"/>
                <a:gd name="T101" fmla="*/ 0 h 3663"/>
                <a:gd name="T102" fmla="*/ 0 w 3308"/>
                <a:gd name="T103" fmla="*/ 0 h 3663"/>
                <a:gd name="T104" fmla="*/ 0 w 3308"/>
                <a:gd name="T105" fmla="*/ 0 h 3663"/>
                <a:gd name="T106" fmla="*/ 0 w 3308"/>
                <a:gd name="T107" fmla="*/ 0 h 3663"/>
                <a:gd name="T108" fmla="*/ 0 w 3308"/>
                <a:gd name="T109" fmla="*/ 0 h 3663"/>
                <a:gd name="T110" fmla="*/ 0 w 3308"/>
                <a:gd name="T111" fmla="*/ 0 h 3663"/>
                <a:gd name="T112" fmla="*/ 0 w 3308"/>
                <a:gd name="T113" fmla="*/ 0 h 3663"/>
                <a:gd name="T114" fmla="*/ 0 w 3308"/>
                <a:gd name="T115" fmla="*/ 0 h 36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308" h="3663">
                  <a:moveTo>
                    <a:pt x="6" y="2779"/>
                  </a:moveTo>
                  <a:lnTo>
                    <a:pt x="8" y="2836"/>
                  </a:lnTo>
                  <a:lnTo>
                    <a:pt x="13" y="2891"/>
                  </a:lnTo>
                  <a:lnTo>
                    <a:pt x="20" y="2944"/>
                  </a:lnTo>
                  <a:lnTo>
                    <a:pt x="31" y="2995"/>
                  </a:lnTo>
                  <a:lnTo>
                    <a:pt x="43" y="3044"/>
                  </a:lnTo>
                  <a:lnTo>
                    <a:pt x="60" y="3090"/>
                  </a:lnTo>
                  <a:lnTo>
                    <a:pt x="78" y="3135"/>
                  </a:lnTo>
                  <a:lnTo>
                    <a:pt x="99" y="3178"/>
                  </a:lnTo>
                  <a:lnTo>
                    <a:pt x="122" y="3219"/>
                  </a:lnTo>
                  <a:lnTo>
                    <a:pt x="147" y="3257"/>
                  </a:lnTo>
                  <a:lnTo>
                    <a:pt x="175" y="3295"/>
                  </a:lnTo>
                  <a:lnTo>
                    <a:pt x="204" y="3330"/>
                  </a:lnTo>
                  <a:lnTo>
                    <a:pt x="235" y="3363"/>
                  </a:lnTo>
                  <a:lnTo>
                    <a:pt x="269" y="3395"/>
                  </a:lnTo>
                  <a:lnTo>
                    <a:pt x="303" y="3424"/>
                  </a:lnTo>
                  <a:lnTo>
                    <a:pt x="340" y="3452"/>
                  </a:lnTo>
                  <a:lnTo>
                    <a:pt x="378" y="3478"/>
                  </a:lnTo>
                  <a:lnTo>
                    <a:pt x="417" y="3503"/>
                  </a:lnTo>
                  <a:lnTo>
                    <a:pt x="456" y="3525"/>
                  </a:lnTo>
                  <a:lnTo>
                    <a:pt x="498" y="3546"/>
                  </a:lnTo>
                  <a:lnTo>
                    <a:pt x="541" y="3565"/>
                  </a:lnTo>
                  <a:lnTo>
                    <a:pt x="584" y="3582"/>
                  </a:lnTo>
                  <a:lnTo>
                    <a:pt x="628" y="3597"/>
                  </a:lnTo>
                  <a:lnTo>
                    <a:pt x="673" y="3611"/>
                  </a:lnTo>
                  <a:lnTo>
                    <a:pt x="718" y="3623"/>
                  </a:lnTo>
                  <a:lnTo>
                    <a:pt x="764" y="3634"/>
                  </a:lnTo>
                  <a:lnTo>
                    <a:pt x="810" y="3642"/>
                  </a:lnTo>
                  <a:lnTo>
                    <a:pt x="857" y="3649"/>
                  </a:lnTo>
                  <a:lnTo>
                    <a:pt x="903" y="3656"/>
                  </a:lnTo>
                  <a:lnTo>
                    <a:pt x="950" y="3660"/>
                  </a:lnTo>
                  <a:lnTo>
                    <a:pt x="997" y="3662"/>
                  </a:lnTo>
                  <a:lnTo>
                    <a:pt x="1043" y="3663"/>
                  </a:lnTo>
                  <a:lnTo>
                    <a:pt x="1230" y="3663"/>
                  </a:lnTo>
                  <a:lnTo>
                    <a:pt x="1392" y="3663"/>
                  </a:lnTo>
                  <a:lnTo>
                    <a:pt x="1534" y="3663"/>
                  </a:lnTo>
                  <a:lnTo>
                    <a:pt x="1664" y="3663"/>
                  </a:lnTo>
                  <a:lnTo>
                    <a:pt x="1789" y="3663"/>
                  </a:lnTo>
                  <a:lnTo>
                    <a:pt x="1916" y="3663"/>
                  </a:lnTo>
                  <a:lnTo>
                    <a:pt x="2052" y="3663"/>
                  </a:lnTo>
                  <a:lnTo>
                    <a:pt x="2203" y="3663"/>
                  </a:lnTo>
                  <a:lnTo>
                    <a:pt x="2260" y="3661"/>
                  </a:lnTo>
                  <a:lnTo>
                    <a:pt x="2317" y="3656"/>
                  </a:lnTo>
                  <a:lnTo>
                    <a:pt x="2373" y="3647"/>
                  </a:lnTo>
                  <a:lnTo>
                    <a:pt x="2428" y="3636"/>
                  </a:lnTo>
                  <a:lnTo>
                    <a:pt x="2481" y="3623"/>
                  </a:lnTo>
                  <a:lnTo>
                    <a:pt x="2534" y="3606"/>
                  </a:lnTo>
                  <a:lnTo>
                    <a:pt x="2586" y="3586"/>
                  </a:lnTo>
                  <a:lnTo>
                    <a:pt x="2636" y="3564"/>
                  </a:lnTo>
                  <a:lnTo>
                    <a:pt x="2685" y="3538"/>
                  </a:lnTo>
                  <a:lnTo>
                    <a:pt x="2733" y="3512"/>
                  </a:lnTo>
                  <a:lnTo>
                    <a:pt x="2780" y="3482"/>
                  </a:lnTo>
                  <a:lnTo>
                    <a:pt x="2825" y="3451"/>
                  </a:lnTo>
                  <a:lnTo>
                    <a:pt x="2868" y="3416"/>
                  </a:lnTo>
                  <a:lnTo>
                    <a:pt x="2909" y="3381"/>
                  </a:lnTo>
                  <a:lnTo>
                    <a:pt x="2949" y="3343"/>
                  </a:lnTo>
                  <a:lnTo>
                    <a:pt x="2988" y="3303"/>
                  </a:lnTo>
                  <a:lnTo>
                    <a:pt x="3024" y="3263"/>
                  </a:lnTo>
                  <a:lnTo>
                    <a:pt x="3058" y="3220"/>
                  </a:lnTo>
                  <a:lnTo>
                    <a:pt x="3091" y="3176"/>
                  </a:lnTo>
                  <a:lnTo>
                    <a:pt x="3122" y="3130"/>
                  </a:lnTo>
                  <a:lnTo>
                    <a:pt x="3150" y="3083"/>
                  </a:lnTo>
                  <a:lnTo>
                    <a:pt x="3177" y="3035"/>
                  </a:lnTo>
                  <a:lnTo>
                    <a:pt x="3200" y="2987"/>
                  </a:lnTo>
                  <a:lnTo>
                    <a:pt x="3223" y="2937"/>
                  </a:lnTo>
                  <a:lnTo>
                    <a:pt x="3242" y="2886"/>
                  </a:lnTo>
                  <a:lnTo>
                    <a:pt x="3259" y="2834"/>
                  </a:lnTo>
                  <a:lnTo>
                    <a:pt x="3274" y="2782"/>
                  </a:lnTo>
                  <a:lnTo>
                    <a:pt x="3286" y="2730"/>
                  </a:lnTo>
                  <a:lnTo>
                    <a:pt x="3296" y="2676"/>
                  </a:lnTo>
                  <a:lnTo>
                    <a:pt x="3302" y="2623"/>
                  </a:lnTo>
                  <a:lnTo>
                    <a:pt x="3306" y="2570"/>
                  </a:lnTo>
                  <a:lnTo>
                    <a:pt x="3308" y="2516"/>
                  </a:lnTo>
                  <a:lnTo>
                    <a:pt x="3306" y="2458"/>
                  </a:lnTo>
                  <a:lnTo>
                    <a:pt x="3302" y="2401"/>
                  </a:lnTo>
                  <a:lnTo>
                    <a:pt x="3295" y="2345"/>
                  </a:lnTo>
                  <a:lnTo>
                    <a:pt x="3286" y="2290"/>
                  </a:lnTo>
                  <a:lnTo>
                    <a:pt x="3274" y="2236"/>
                  </a:lnTo>
                  <a:lnTo>
                    <a:pt x="3258" y="2183"/>
                  </a:lnTo>
                  <a:lnTo>
                    <a:pt x="3241" y="2131"/>
                  </a:lnTo>
                  <a:lnTo>
                    <a:pt x="3222" y="2080"/>
                  </a:lnTo>
                  <a:lnTo>
                    <a:pt x="3199" y="2032"/>
                  </a:lnTo>
                  <a:lnTo>
                    <a:pt x="3175" y="1983"/>
                  </a:lnTo>
                  <a:lnTo>
                    <a:pt x="3148" y="1936"/>
                  </a:lnTo>
                  <a:lnTo>
                    <a:pt x="3120" y="1891"/>
                  </a:lnTo>
                  <a:lnTo>
                    <a:pt x="3089" y="1847"/>
                  </a:lnTo>
                  <a:lnTo>
                    <a:pt x="3056" y="1805"/>
                  </a:lnTo>
                  <a:lnTo>
                    <a:pt x="3022" y="1765"/>
                  </a:lnTo>
                  <a:lnTo>
                    <a:pt x="2985" y="1726"/>
                  </a:lnTo>
                  <a:lnTo>
                    <a:pt x="2946" y="1688"/>
                  </a:lnTo>
                  <a:lnTo>
                    <a:pt x="2906" y="1654"/>
                  </a:lnTo>
                  <a:lnTo>
                    <a:pt x="2865" y="1620"/>
                  </a:lnTo>
                  <a:lnTo>
                    <a:pt x="2821" y="1589"/>
                  </a:lnTo>
                  <a:lnTo>
                    <a:pt x="2776" y="1560"/>
                  </a:lnTo>
                  <a:lnTo>
                    <a:pt x="2730" y="1533"/>
                  </a:lnTo>
                  <a:lnTo>
                    <a:pt x="2682" y="1507"/>
                  </a:lnTo>
                  <a:lnTo>
                    <a:pt x="2633" y="1485"/>
                  </a:lnTo>
                  <a:lnTo>
                    <a:pt x="2582" y="1464"/>
                  </a:lnTo>
                  <a:lnTo>
                    <a:pt x="2531" y="1446"/>
                  </a:lnTo>
                  <a:lnTo>
                    <a:pt x="2478" y="1430"/>
                  </a:lnTo>
                  <a:lnTo>
                    <a:pt x="2424" y="1417"/>
                  </a:lnTo>
                  <a:lnTo>
                    <a:pt x="2369" y="1405"/>
                  </a:lnTo>
                  <a:lnTo>
                    <a:pt x="2314" y="1397"/>
                  </a:lnTo>
                  <a:lnTo>
                    <a:pt x="2257" y="1392"/>
                  </a:lnTo>
                  <a:lnTo>
                    <a:pt x="2199" y="1389"/>
                  </a:lnTo>
                  <a:lnTo>
                    <a:pt x="1075" y="1389"/>
                  </a:lnTo>
                  <a:lnTo>
                    <a:pt x="1048" y="1383"/>
                  </a:lnTo>
                  <a:lnTo>
                    <a:pt x="1022" y="1375"/>
                  </a:lnTo>
                  <a:lnTo>
                    <a:pt x="998" y="1366"/>
                  </a:lnTo>
                  <a:lnTo>
                    <a:pt x="977" y="1353"/>
                  </a:lnTo>
                  <a:lnTo>
                    <a:pt x="957" y="1340"/>
                  </a:lnTo>
                  <a:lnTo>
                    <a:pt x="939" y="1326"/>
                  </a:lnTo>
                  <a:lnTo>
                    <a:pt x="922" y="1310"/>
                  </a:lnTo>
                  <a:lnTo>
                    <a:pt x="908" y="1291"/>
                  </a:lnTo>
                  <a:lnTo>
                    <a:pt x="895" y="1273"/>
                  </a:lnTo>
                  <a:lnTo>
                    <a:pt x="884" y="1254"/>
                  </a:lnTo>
                  <a:lnTo>
                    <a:pt x="875" y="1233"/>
                  </a:lnTo>
                  <a:lnTo>
                    <a:pt x="867" y="1212"/>
                  </a:lnTo>
                  <a:lnTo>
                    <a:pt x="862" y="1190"/>
                  </a:lnTo>
                  <a:lnTo>
                    <a:pt x="858" y="1168"/>
                  </a:lnTo>
                  <a:lnTo>
                    <a:pt x="856" y="1146"/>
                  </a:lnTo>
                  <a:lnTo>
                    <a:pt x="855" y="1123"/>
                  </a:lnTo>
                  <a:lnTo>
                    <a:pt x="856" y="1101"/>
                  </a:lnTo>
                  <a:lnTo>
                    <a:pt x="859" y="1078"/>
                  </a:lnTo>
                  <a:lnTo>
                    <a:pt x="864" y="1057"/>
                  </a:lnTo>
                  <a:lnTo>
                    <a:pt x="870" y="1035"/>
                  </a:lnTo>
                  <a:lnTo>
                    <a:pt x="879" y="1014"/>
                  </a:lnTo>
                  <a:lnTo>
                    <a:pt x="889" y="994"/>
                  </a:lnTo>
                  <a:lnTo>
                    <a:pt x="900" y="975"/>
                  </a:lnTo>
                  <a:lnTo>
                    <a:pt x="913" y="956"/>
                  </a:lnTo>
                  <a:lnTo>
                    <a:pt x="928" y="940"/>
                  </a:lnTo>
                  <a:lnTo>
                    <a:pt x="944" y="924"/>
                  </a:lnTo>
                  <a:lnTo>
                    <a:pt x="961" y="909"/>
                  </a:lnTo>
                  <a:lnTo>
                    <a:pt x="982" y="896"/>
                  </a:lnTo>
                  <a:lnTo>
                    <a:pt x="1002" y="886"/>
                  </a:lnTo>
                  <a:lnTo>
                    <a:pt x="1025" y="877"/>
                  </a:lnTo>
                  <a:lnTo>
                    <a:pt x="1049" y="870"/>
                  </a:lnTo>
                  <a:lnTo>
                    <a:pt x="1075" y="865"/>
                  </a:lnTo>
                  <a:lnTo>
                    <a:pt x="1233" y="865"/>
                  </a:lnTo>
                  <a:lnTo>
                    <a:pt x="1503" y="865"/>
                  </a:lnTo>
                  <a:lnTo>
                    <a:pt x="1845" y="865"/>
                  </a:lnTo>
                  <a:lnTo>
                    <a:pt x="2218" y="865"/>
                  </a:lnTo>
                  <a:lnTo>
                    <a:pt x="2579" y="865"/>
                  </a:lnTo>
                  <a:lnTo>
                    <a:pt x="2889" y="865"/>
                  </a:lnTo>
                  <a:lnTo>
                    <a:pt x="3105" y="865"/>
                  </a:lnTo>
                  <a:lnTo>
                    <a:pt x="3186" y="865"/>
                  </a:lnTo>
                  <a:lnTo>
                    <a:pt x="3185" y="820"/>
                  </a:lnTo>
                  <a:lnTo>
                    <a:pt x="3182" y="775"/>
                  </a:lnTo>
                  <a:lnTo>
                    <a:pt x="3177" y="731"/>
                  </a:lnTo>
                  <a:lnTo>
                    <a:pt x="3170" y="689"/>
                  </a:lnTo>
                  <a:lnTo>
                    <a:pt x="3160" y="647"/>
                  </a:lnTo>
                  <a:lnTo>
                    <a:pt x="3149" y="605"/>
                  </a:lnTo>
                  <a:lnTo>
                    <a:pt x="3136" y="565"/>
                  </a:lnTo>
                  <a:lnTo>
                    <a:pt x="3122" y="526"/>
                  </a:lnTo>
                  <a:lnTo>
                    <a:pt x="3104" y="487"/>
                  </a:lnTo>
                  <a:lnTo>
                    <a:pt x="3086" y="450"/>
                  </a:lnTo>
                  <a:lnTo>
                    <a:pt x="3065" y="414"/>
                  </a:lnTo>
                  <a:lnTo>
                    <a:pt x="3044" y="379"/>
                  </a:lnTo>
                  <a:lnTo>
                    <a:pt x="3021" y="344"/>
                  </a:lnTo>
                  <a:lnTo>
                    <a:pt x="2995" y="312"/>
                  </a:lnTo>
                  <a:lnTo>
                    <a:pt x="2969" y="281"/>
                  </a:lnTo>
                  <a:lnTo>
                    <a:pt x="2940" y="251"/>
                  </a:lnTo>
                  <a:lnTo>
                    <a:pt x="2910" y="222"/>
                  </a:lnTo>
                  <a:lnTo>
                    <a:pt x="2880" y="196"/>
                  </a:lnTo>
                  <a:lnTo>
                    <a:pt x="2847" y="170"/>
                  </a:lnTo>
                  <a:lnTo>
                    <a:pt x="2813" y="146"/>
                  </a:lnTo>
                  <a:lnTo>
                    <a:pt x="2777" y="123"/>
                  </a:lnTo>
                  <a:lnTo>
                    <a:pt x="2741" y="103"/>
                  </a:lnTo>
                  <a:lnTo>
                    <a:pt x="2702" y="85"/>
                  </a:lnTo>
                  <a:lnTo>
                    <a:pt x="2664" y="67"/>
                  </a:lnTo>
                  <a:lnTo>
                    <a:pt x="2624" y="52"/>
                  </a:lnTo>
                  <a:lnTo>
                    <a:pt x="2582" y="38"/>
                  </a:lnTo>
                  <a:lnTo>
                    <a:pt x="2539" y="27"/>
                  </a:lnTo>
                  <a:lnTo>
                    <a:pt x="2496" y="18"/>
                  </a:lnTo>
                  <a:lnTo>
                    <a:pt x="2451" y="9"/>
                  </a:lnTo>
                  <a:lnTo>
                    <a:pt x="2406" y="4"/>
                  </a:lnTo>
                  <a:lnTo>
                    <a:pt x="2360" y="1"/>
                  </a:lnTo>
                  <a:lnTo>
                    <a:pt x="2312" y="0"/>
                  </a:lnTo>
                  <a:lnTo>
                    <a:pt x="2121" y="0"/>
                  </a:lnTo>
                  <a:lnTo>
                    <a:pt x="1916" y="0"/>
                  </a:lnTo>
                  <a:lnTo>
                    <a:pt x="1710" y="0"/>
                  </a:lnTo>
                  <a:lnTo>
                    <a:pt x="1513" y="0"/>
                  </a:lnTo>
                  <a:lnTo>
                    <a:pt x="1340" y="0"/>
                  </a:lnTo>
                  <a:lnTo>
                    <a:pt x="1201" y="0"/>
                  </a:lnTo>
                  <a:lnTo>
                    <a:pt x="1108" y="0"/>
                  </a:lnTo>
                  <a:lnTo>
                    <a:pt x="1075" y="0"/>
                  </a:lnTo>
                  <a:lnTo>
                    <a:pt x="1016" y="1"/>
                  </a:lnTo>
                  <a:lnTo>
                    <a:pt x="958" y="6"/>
                  </a:lnTo>
                  <a:lnTo>
                    <a:pt x="901" y="14"/>
                  </a:lnTo>
                  <a:lnTo>
                    <a:pt x="846" y="25"/>
                  </a:lnTo>
                  <a:lnTo>
                    <a:pt x="792" y="38"/>
                  </a:lnTo>
                  <a:lnTo>
                    <a:pt x="740" y="54"/>
                  </a:lnTo>
                  <a:lnTo>
                    <a:pt x="688" y="74"/>
                  </a:lnTo>
                  <a:lnTo>
                    <a:pt x="639" y="95"/>
                  </a:lnTo>
                  <a:lnTo>
                    <a:pt x="590" y="118"/>
                  </a:lnTo>
                  <a:lnTo>
                    <a:pt x="544" y="145"/>
                  </a:lnTo>
                  <a:lnTo>
                    <a:pt x="499" y="173"/>
                  </a:lnTo>
                  <a:lnTo>
                    <a:pt x="455" y="205"/>
                  </a:lnTo>
                  <a:lnTo>
                    <a:pt x="413" y="237"/>
                  </a:lnTo>
                  <a:lnTo>
                    <a:pt x="374" y="272"/>
                  </a:lnTo>
                  <a:lnTo>
                    <a:pt x="335" y="309"/>
                  </a:lnTo>
                  <a:lnTo>
                    <a:pt x="299" y="347"/>
                  </a:lnTo>
                  <a:lnTo>
                    <a:pt x="265" y="388"/>
                  </a:lnTo>
                  <a:lnTo>
                    <a:pt x="232" y="430"/>
                  </a:lnTo>
                  <a:lnTo>
                    <a:pt x="201" y="473"/>
                  </a:lnTo>
                  <a:lnTo>
                    <a:pt x="173" y="517"/>
                  </a:lnTo>
                  <a:lnTo>
                    <a:pt x="145" y="564"/>
                  </a:lnTo>
                  <a:lnTo>
                    <a:pt x="121" y="611"/>
                  </a:lnTo>
                  <a:lnTo>
                    <a:pt x="98" y="660"/>
                  </a:lnTo>
                  <a:lnTo>
                    <a:pt x="79" y="710"/>
                  </a:lnTo>
                  <a:lnTo>
                    <a:pt x="61" y="761"/>
                  </a:lnTo>
                  <a:lnTo>
                    <a:pt x="44" y="812"/>
                  </a:lnTo>
                  <a:lnTo>
                    <a:pt x="31" y="865"/>
                  </a:lnTo>
                  <a:lnTo>
                    <a:pt x="20" y="918"/>
                  </a:lnTo>
                  <a:lnTo>
                    <a:pt x="12" y="971"/>
                  </a:lnTo>
                  <a:lnTo>
                    <a:pt x="5" y="1026"/>
                  </a:lnTo>
                  <a:lnTo>
                    <a:pt x="1" y="1080"/>
                  </a:lnTo>
                  <a:lnTo>
                    <a:pt x="0" y="1134"/>
                  </a:lnTo>
                  <a:lnTo>
                    <a:pt x="1" y="1192"/>
                  </a:lnTo>
                  <a:lnTo>
                    <a:pt x="5" y="1248"/>
                  </a:lnTo>
                  <a:lnTo>
                    <a:pt x="13" y="1302"/>
                  </a:lnTo>
                  <a:lnTo>
                    <a:pt x="22" y="1357"/>
                  </a:lnTo>
                  <a:lnTo>
                    <a:pt x="33" y="1411"/>
                  </a:lnTo>
                  <a:lnTo>
                    <a:pt x="47" y="1464"/>
                  </a:lnTo>
                  <a:lnTo>
                    <a:pt x="65" y="1515"/>
                  </a:lnTo>
                  <a:lnTo>
                    <a:pt x="84" y="1566"/>
                  </a:lnTo>
                  <a:lnTo>
                    <a:pt x="104" y="1616"/>
                  </a:lnTo>
                  <a:lnTo>
                    <a:pt x="129" y="1664"/>
                  </a:lnTo>
                  <a:lnTo>
                    <a:pt x="154" y="1711"/>
                  </a:lnTo>
                  <a:lnTo>
                    <a:pt x="182" y="1757"/>
                  </a:lnTo>
                  <a:lnTo>
                    <a:pt x="212" y="1800"/>
                  </a:lnTo>
                  <a:lnTo>
                    <a:pt x="243" y="1843"/>
                  </a:lnTo>
                  <a:lnTo>
                    <a:pt x="277" y="1884"/>
                  </a:lnTo>
                  <a:lnTo>
                    <a:pt x="312" y="1923"/>
                  </a:lnTo>
                  <a:lnTo>
                    <a:pt x="349" y="1960"/>
                  </a:lnTo>
                  <a:lnTo>
                    <a:pt x="389" y="1996"/>
                  </a:lnTo>
                  <a:lnTo>
                    <a:pt x="429" y="2029"/>
                  </a:lnTo>
                  <a:lnTo>
                    <a:pt x="472" y="2061"/>
                  </a:lnTo>
                  <a:lnTo>
                    <a:pt x="514" y="2091"/>
                  </a:lnTo>
                  <a:lnTo>
                    <a:pt x="559" y="2118"/>
                  </a:lnTo>
                  <a:lnTo>
                    <a:pt x="606" y="2142"/>
                  </a:lnTo>
                  <a:lnTo>
                    <a:pt x="654" y="2166"/>
                  </a:lnTo>
                  <a:lnTo>
                    <a:pt x="703" y="2186"/>
                  </a:lnTo>
                  <a:lnTo>
                    <a:pt x="753" y="2204"/>
                  </a:lnTo>
                  <a:lnTo>
                    <a:pt x="804" y="2219"/>
                  </a:lnTo>
                  <a:lnTo>
                    <a:pt x="856" y="2232"/>
                  </a:lnTo>
                  <a:lnTo>
                    <a:pt x="910" y="2242"/>
                  </a:lnTo>
                  <a:lnTo>
                    <a:pt x="964" y="2249"/>
                  </a:lnTo>
                  <a:lnTo>
                    <a:pt x="1019" y="2253"/>
                  </a:lnTo>
                  <a:lnTo>
                    <a:pt x="1075" y="2254"/>
                  </a:lnTo>
                  <a:lnTo>
                    <a:pt x="2203" y="2254"/>
                  </a:lnTo>
                  <a:lnTo>
                    <a:pt x="2228" y="2262"/>
                  </a:lnTo>
                  <a:lnTo>
                    <a:pt x="2253" y="2270"/>
                  </a:lnTo>
                  <a:lnTo>
                    <a:pt x="2276" y="2279"/>
                  </a:lnTo>
                  <a:lnTo>
                    <a:pt x="2297" y="2291"/>
                  </a:lnTo>
                  <a:lnTo>
                    <a:pt x="2318" y="2304"/>
                  </a:lnTo>
                  <a:lnTo>
                    <a:pt x="2336" y="2319"/>
                  </a:lnTo>
                  <a:lnTo>
                    <a:pt x="2352" y="2335"/>
                  </a:lnTo>
                  <a:lnTo>
                    <a:pt x="2368" y="2351"/>
                  </a:lnTo>
                  <a:lnTo>
                    <a:pt x="2381" y="2370"/>
                  </a:lnTo>
                  <a:lnTo>
                    <a:pt x="2393" y="2389"/>
                  </a:lnTo>
                  <a:lnTo>
                    <a:pt x="2403" y="2408"/>
                  </a:lnTo>
                  <a:lnTo>
                    <a:pt x="2413" y="2429"/>
                  </a:lnTo>
                  <a:lnTo>
                    <a:pt x="2420" y="2450"/>
                  </a:lnTo>
                  <a:lnTo>
                    <a:pt x="2425" y="2470"/>
                  </a:lnTo>
                  <a:lnTo>
                    <a:pt x="2428" y="2493"/>
                  </a:lnTo>
                  <a:lnTo>
                    <a:pt x="2430" y="2514"/>
                  </a:lnTo>
                  <a:lnTo>
                    <a:pt x="2430" y="2536"/>
                  </a:lnTo>
                  <a:lnTo>
                    <a:pt x="2428" y="2558"/>
                  </a:lnTo>
                  <a:lnTo>
                    <a:pt x="2424" y="2579"/>
                  </a:lnTo>
                  <a:lnTo>
                    <a:pt x="2419" y="2600"/>
                  </a:lnTo>
                  <a:lnTo>
                    <a:pt x="2412" y="2621"/>
                  </a:lnTo>
                  <a:lnTo>
                    <a:pt x="2402" y="2640"/>
                  </a:lnTo>
                  <a:lnTo>
                    <a:pt x="2391" y="2660"/>
                  </a:lnTo>
                  <a:lnTo>
                    <a:pt x="2378" y="2678"/>
                  </a:lnTo>
                  <a:lnTo>
                    <a:pt x="2363" y="2695"/>
                  </a:lnTo>
                  <a:lnTo>
                    <a:pt x="2346" y="2712"/>
                  </a:lnTo>
                  <a:lnTo>
                    <a:pt x="2327" y="2727"/>
                  </a:lnTo>
                  <a:lnTo>
                    <a:pt x="2307" y="2740"/>
                  </a:lnTo>
                  <a:lnTo>
                    <a:pt x="2283" y="2752"/>
                  </a:lnTo>
                  <a:lnTo>
                    <a:pt x="2259" y="2764"/>
                  </a:lnTo>
                  <a:lnTo>
                    <a:pt x="2231" y="2772"/>
                  </a:lnTo>
                  <a:lnTo>
                    <a:pt x="2203" y="2779"/>
                  </a:lnTo>
                  <a:lnTo>
                    <a:pt x="2021" y="2779"/>
                  </a:lnTo>
                  <a:lnTo>
                    <a:pt x="1732" y="2779"/>
                  </a:lnTo>
                  <a:lnTo>
                    <a:pt x="1375" y="2779"/>
                  </a:lnTo>
                  <a:lnTo>
                    <a:pt x="991" y="2779"/>
                  </a:lnTo>
                  <a:lnTo>
                    <a:pt x="622" y="2779"/>
                  </a:lnTo>
                  <a:lnTo>
                    <a:pt x="307" y="2779"/>
                  </a:lnTo>
                  <a:lnTo>
                    <a:pt x="88" y="2779"/>
                  </a:lnTo>
                  <a:lnTo>
                    <a:pt x="6" y="2779"/>
                  </a:lnTo>
                  <a:close/>
                </a:path>
              </a:pathLst>
            </a:custGeom>
            <a:solidFill>
              <a:schemeClr val="accent1"/>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62" name="Rectangle 14"/>
            <p:cNvSpPr>
              <a:spLocks noChangeArrowheads="1"/>
            </p:cNvSpPr>
            <p:nvPr userDrawn="1"/>
          </p:nvSpPr>
          <p:spPr bwMode="auto">
            <a:xfrm>
              <a:off x="5390" y="98"/>
              <a:ext cx="43" cy="184"/>
            </a:xfrm>
            <a:prstGeom prst="rect">
              <a:avLst/>
            </a:prstGeom>
            <a:solidFill>
              <a:schemeClr val="accent1"/>
            </a:solidFill>
            <a:ln>
              <a:noFill/>
            </a:ln>
            <a:extLst/>
          </p:spPr>
          <p:txBody>
            <a:bodyP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algn="ctr" eaLnBrk="1" fontAlgn="base" hangingPunct="1">
                <a:spcBef>
                  <a:spcPct val="20000"/>
                </a:spcBef>
                <a:spcAft>
                  <a:spcPct val="0"/>
                </a:spcAft>
                <a:buClr>
                  <a:srgbClr val="0084C2"/>
                </a:buClr>
                <a:buSzPct val="130000"/>
                <a:buFont typeface="Times New Roman" pitchFamily="18" charset="0"/>
                <a:buNone/>
                <a:defRPr/>
              </a:pPr>
              <a:endParaRPr lang="ru-RU" altLang="en-US" smtClean="0">
                <a:solidFill>
                  <a:srgbClr val="000000"/>
                </a:solidFill>
              </a:endParaRPr>
            </a:p>
          </p:txBody>
        </p:sp>
        <p:sp>
          <p:nvSpPr>
            <p:cNvPr id="2063" name="Freeform 15"/>
            <p:cNvSpPr>
              <a:spLocks/>
            </p:cNvSpPr>
            <p:nvPr userDrawn="1"/>
          </p:nvSpPr>
          <p:spPr bwMode="auto">
            <a:xfrm>
              <a:off x="5452" y="95"/>
              <a:ext cx="178" cy="191"/>
            </a:xfrm>
            <a:custGeom>
              <a:avLst/>
              <a:gdLst>
                <a:gd name="T0" fmla="*/ 0 w 3567"/>
                <a:gd name="T1" fmla="*/ 0 h 3816"/>
                <a:gd name="T2" fmla="*/ 0 w 3567"/>
                <a:gd name="T3" fmla="*/ 0 h 3816"/>
                <a:gd name="T4" fmla="*/ 0 w 3567"/>
                <a:gd name="T5" fmla="*/ 0 h 3816"/>
                <a:gd name="T6" fmla="*/ 0 w 3567"/>
                <a:gd name="T7" fmla="*/ 0 h 3816"/>
                <a:gd name="T8" fmla="*/ 0 w 3567"/>
                <a:gd name="T9" fmla="*/ 0 h 3816"/>
                <a:gd name="T10" fmla="*/ 0 w 3567"/>
                <a:gd name="T11" fmla="*/ 0 h 3816"/>
                <a:gd name="T12" fmla="*/ 0 w 3567"/>
                <a:gd name="T13" fmla="*/ 0 h 3816"/>
                <a:gd name="T14" fmla="*/ 0 w 3567"/>
                <a:gd name="T15" fmla="*/ 0 h 3816"/>
                <a:gd name="T16" fmla="*/ 0 w 3567"/>
                <a:gd name="T17" fmla="*/ 0 h 3816"/>
                <a:gd name="T18" fmla="*/ 0 w 3567"/>
                <a:gd name="T19" fmla="*/ 0 h 3816"/>
                <a:gd name="T20" fmla="*/ 0 w 3567"/>
                <a:gd name="T21" fmla="*/ 0 h 3816"/>
                <a:gd name="T22" fmla="*/ 0 w 3567"/>
                <a:gd name="T23" fmla="*/ 0 h 3816"/>
                <a:gd name="T24" fmla="*/ 0 w 3567"/>
                <a:gd name="T25" fmla="*/ 0 h 3816"/>
                <a:gd name="T26" fmla="*/ 0 w 3567"/>
                <a:gd name="T27" fmla="*/ 0 h 3816"/>
                <a:gd name="T28" fmla="*/ 0 w 3567"/>
                <a:gd name="T29" fmla="*/ 0 h 3816"/>
                <a:gd name="T30" fmla="*/ 0 w 3567"/>
                <a:gd name="T31" fmla="*/ 0 h 3816"/>
                <a:gd name="T32" fmla="*/ 0 w 3567"/>
                <a:gd name="T33" fmla="*/ 0 h 3816"/>
                <a:gd name="T34" fmla="*/ 0 w 3567"/>
                <a:gd name="T35" fmla="*/ 0 h 3816"/>
                <a:gd name="T36" fmla="*/ 0 w 3567"/>
                <a:gd name="T37" fmla="*/ 0 h 3816"/>
                <a:gd name="T38" fmla="*/ 0 w 3567"/>
                <a:gd name="T39" fmla="*/ 0 h 3816"/>
                <a:gd name="T40" fmla="*/ 0 w 3567"/>
                <a:gd name="T41" fmla="*/ 0 h 3816"/>
                <a:gd name="T42" fmla="*/ 0 w 3567"/>
                <a:gd name="T43" fmla="*/ 0 h 3816"/>
                <a:gd name="T44" fmla="*/ 0 w 3567"/>
                <a:gd name="T45" fmla="*/ 0 h 3816"/>
                <a:gd name="T46" fmla="*/ 0 w 3567"/>
                <a:gd name="T47" fmla="*/ 0 h 3816"/>
                <a:gd name="T48" fmla="*/ 0 w 3567"/>
                <a:gd name="T49" fmla="*/ 0 h 3816"/>
                <a:gd name="T50" fmla="*/ 0 w 3567"/>
                <a:gd name="T51" fmla="*/ 0 h 3816"/>
                <a:gd name="T52" fmla="*/ 0 w 3567"/>
                <a:gd name="T53" fmla="*/ 0 h 3816"/>
                <a:gd name="T54" fmla="*/ 0 w 3567"/>
                <a:gd name="T55" fmla="*/ 0 h 3816"/>
                <a:gd name="T56" fmla="*/ 0 w 3567"/>
                <a:gd name="T57" fmla="*/ 0 h 3816"/>
                <a:gd name="T58" fmla="*/ 0 w 3567"/>
                <a:gd name="T59" fmla="*/ 0 h 3816"/>
                <a:gd name="T60" fmla="*/ 0 w 3567"/>
                <a:gd name="T61" fmla="*/ 0 h 3816"/>
                <a:gd name="T62" fmla="*/ 0 w 3567"/>
                <a:gd name="T63" fmla="*/ 0 h 3816"/>
                <a:gd name="T64" fmla="*/ 0 w 3567"/>
                <a:gd name="T65" fmla="*/ 0 h 3816"/>
                <a:gd name="T66" fmla="*/ 0 w 3567"/>
                <a:gd name="T67" fmla="*/ 0 h 3816"/>
                <a:gd name="T68" fmla="*/ 0 w 3567"/>
                <a:gd name="T69" fmla="*/ 0 h 3816"/>
                <a:gd name="T70" fmla="*/ 0 w 3567"/>
                <a:gd name="T71" fmla="*/ 0 h 3816"/>
                <a:gd name="T72" fmla="*/ 0 w 3567"/>
                <a:gd name="T73" fmla="*/ 0 h 3816"/>
                <a:gd name="T74" fmla="*/ 0 w 3567"/>
                <a:gd name="T75" fmla="*/ 0 h 3816"/>
                <a:gd name="T76" fmla="*/ 0 w 3567"/>
                <a:gd name="T77" fmla="*/ 0 h 3816"/>
                <a:gd name="T78" fmla="*/ 0 w 3567"/>
                <a:gd name="T79" fmla="*/ 0 h 3816"/>
                <a:gd name="T80" fmla="*/ 0 w 3567"/>
                <a:gd name="T81" fmla="*/ 0 h 3816"/>
                <a:gd name="T82" fmla="*/ 0 w 3567"/>
                <a:gd name="T83" fmla="*/ 0 h 3816"/>
                <a:gd name="T84" fmla="*/ 0 w 3567"/>
                <a:gd name="T85" fmla="*/ 0 h 3816"/>
                <a:gd name="T86" fmla="*/ 0 w 3567"/>
                <a:gd name="T87" fmla="*/ 0 h 3816"/>
                <a:gd name="T88" fmla="*/ 0 w 3567"/>
                <a:gd name="T89" fmla="*/ 0 h 3816"/>
                <a:gd name="T90" fmla="*/ 0 w 3567"/>
                <a:gd name="T91" fmla="*/ 0 h 3816"/>
                <a:gd name="T92" fmla="*/ 0 w 3567"/>
                <a:gd name="T93" fmla="*/ 0 h 3816"/>
                <a:gd name="T94" fmla="*/ 0 w 3567"/>
                <a:gd name="T95" fmla="*/ 0 h 3816"/>
                <a:gd name="T96" fmla="*/ 0 w 3567"/>
                <a:gd name="T97" fmla="*/ 0 h 3816"/>
                <a:gd name="T98" fmla="*/ 0 w 3567"/>
                <a:gd name="T99" fmla="*/ 0 h 3816"/>
                <a:gd name="T100" fmla="*/ 0 w 3567"/>
                <a:gd name="T101" fmla="*/ 0 h 381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67" h="3816">
                  <a:moveTo>
                    <a:pt x="3567" y="2804"/>
                  </a:moveTo>
                  <a:lnTo>
                    <a:pt x="3535" y="2860"/>
                  </a:lnTo>
                  <a:lnTo>
                    <a:pt x="3503" y="2915"/>
                  </a:lnTo>
                  <a:lnTo>
                    <a:pt x="3469" y="2968"/>
                  </a:lnTo>
                  <a:lnTo>
                    <a:pt x="3433" y="3021"/>
                  </a:lnTo>
                  <a:lnTo>
                    <a:pt x="3396" y="3072"/>
                  </a:lnTo>
                  <a:lnTo>
                    <a:pt x="3356" y="3122"/>
                  </a:lnTo>
                  <a:lnTo>
                    <a:pt x="3315" y="3170"/>
                  </a:lnTo>
                  <a:lnTo>
                    <a:pt x="3272" y="3216"/>
                  </a:lnTo>
                  <a:lnTo>
                    <a:pt x="3228" y="3262"/>
                  </a:lnTo>
                  <a:lnTo>
                    <a:pt x="3183" y="3306"/>
                  </a:lnTo>
                  <a:lnTo>
                    <a:pt x="3136" y="3348"/>
                  </a:lnTo>
                  <a:lnTo>
                    <a:pt x="3087" y="3390"/>
                  </a:lnTo>
                  <a:lnTo>
                    <a:pt x="3039" y="3428"/>
                  </a:lnTo>
                  <a:lnTo>
                    <a:pt x="2988" y="3466"/>
                  </a:lnTo>
                  <a:lnTo>
                    <a:pt x="2935" y="3502"/>
                  </a:lnTo>
                  <a:lnTo>
                    <a:pt x="2881" y="3536"/>
                  </a:lnTo>
                  <a:lnTo>
                    <a:pt x="2827" y="3569"/>
                  </a:lnTo>
                  <a:lnTo>
                    <a:pt x="2771" y="3599"/>
                  </a:lnTo>
                  <a:lnTo>
                    <a:pt x="2714" y="3628"/>
                  </a:lnTo>
                  <a:lnTo>
                    <a:pt x="2656" y="3655"/>
                  </a:lnTo>
                  <a:lnTo>
                    <a:pt x="2598" y="3680"/>
                  </a:lnTo>
                  <a:lnTo>
                    <a:pt x="2538" y="3703"/>
                  </a:lnTo>
                  <a:lnTo>
                    <a:pt x="2476" y="3724"/>
                  </a:lnTo>
                  <a:lnTo>
                    <a:pt x="2415" y="3743"/>
                  </a:lnTo>
                  <a:lnTo>
                    <a:pt x="2352" y="3760"/>
                  </a:lnTo>
                  <a:lnTo>
                    <a:pt x="2289" y="3774"/>
                  </a:lnTo>
                  <a:lnTo>
                    <a:pt x="2225" y="3788"/>
                  </a:lnTo>
                  <a:lnTo>
                    <a:pt x="2159" y="3798"/>
                  </a:lnTo>
                  <a:lnTo>
                    <a:pt x="2094" y="3806"/>
                  </a:lnTo>
                  <a:lnTo>
                    <a:pt x="2028" y="3811"/>
                  </a:lnTo>
                  <a:lnTo>
                    <a:pt x="1960" y="3815"/>
                  </a:lnTo>
                  <a:lnTo>
                    <a:pt x="1893" y="3816"/>
                  </a:lnTo>
                  <a:lnTo>
                    <a:pt x="1795" y="3814"/>
                  </a:lnTo>
                  <a:lnTo>
                    <a:pt x="1699" y="3806"/>
                  </a:lnTo>
                  <a:lnTo>
                    <a:pt x="1604" y="3795"/>
                  </a:lnTo>
                  <a:lnTo>
                    <a:pt x="1511" y="3777"/>
                  </a:lnTo>
                  <a:lnTo>
                    <a:pt x="1420" y="3756"/>
                  </a:lnTo>
                  <a:lnTo>
                    <a:pt x="1330" y="3731"/>
                  </a:lnTo>
                  <a:lnTo>
                    <a:pt x="1241" y="3700"/>
                  </a:lnTo>
                  <a:lnTo>
                    <a:pt x="1156" y="3667"/>
                  </a:lnTo>
                  <a:lnTo>
                    <a:pt x="1072" y="3628"/>
                  </a:lnTo>
                  <a:lnTo>
                    <a:pt x="990" y="3586"/>
                  </a:lnTo>
                  <a:lnTo>
                    <a:pt x="911" y="3540"/>
                  </a:lnTo>
                  <a:lnTo>
                    <a:pt x="834" y="3490"/>
                  </a:lnTo>
                  <a:lnTo>
                    <a:pt x="760" y="3437"/>
                  </a:lnTo>
                  <a:lnTo>
                    <a:pt x="688" y="3380"/>
                  </a:lnTo>
                  <a:lnTo>
                    <a:pt x="620" y="3320"/>
                  </a:lnTo>
                  <a:lnTo>
                    <a:pt x="554" y="3257"/>
                  </a:lnTo>
                  <a:lnTo>
                    <a:pt x="492" y="3191"/>
                  </a:lnTo>
                  <a:lnTo>
                    <a:pt x="431" y="3122"/>
                  </a:lnTo>
                  <a:lnTo>
                    <a:pt x="375" y="3049"/>
                  </a:lnTo>
                  <a:lnTo>
                    <a:pt x="322" y="2975"/>
                  </a:lnTo>
                  <a:lnTo>
                    <a:pt x="273" y="2898"/>
                  </a:lnTo>
                  <a:lnTo>
                    <a:pt x="227" y="2817"/>
                  </a:lnTo>
                  <a:lnTo>
                    <a:pt x="186" y="2736"/>
                  </a:lnTo>
                  <a:lnTo>
                    <a:pt x="148" y="2650"/>
                  </a:lnTo>
                  <a:lnTo>
                    <a:pt x="114" y="2564"/>
                  </a:lnTo>
                  <a:lnTo>
                    <a:pt x="85" y="2475"/>
                  </a:lnTo>
                  <a:lnTo>
                    <a:pt x="59" y="2385"/>
                  </a:lnTo>
                  <a:lnTo>
                    <a:pt x="38" y="2293"/>
                  </a:lnTo>
                  <a:lnTo>
                    <a:pt x="21" y="2198"/>
                  </a:lnTo>
                  <a:lnTo>
                    <a:pt x="9" y="2104"/>
                  </a:lnTo>
                  <a:lnTo>
                    <a:pt x="2" y="2006"/>
                  </a:lnTo>
                  <a:lnTo>
                    <a:pt x="0" y="1908"/>
                  </a:lnTo>
                  <a:lnTo>
                    <a:pt x="2" y="1810"/>
                  </a:lnTo>
                  <a:lnTo>
                    <a:pt x="9" y="1713"/>
                  </a:lnTo>
                  <a:lnTo>
                    <a:pt x="21" y="1618"/>
                  </a:lnTo>
                  <a:lnTo>
                    <a:pt x="38" y="1523"/>
                  </a:lnTo>
                  <a:lnTo>
                    <a:pt x="59" y="1432"/>
                  </a:lnTo>
                  <a:lnTo>
                    <a:pt x="85" y="1341"/>
                  </a:lnTo>
                  <a:lnTo>
                    <a:pt x="114" y="1252"/>
                  </a:lnTo>
                  <a:lnTo>
                    <a:pt x="148" y="1166"/>
                  </a:lnTo>
                  <a:lnTo>
                    <a:pt x="186" y="1081"/>
                  </a:lnTo>
                  <a:lnTo>
                    <a:pt x="227" y="999"/>
                  </a:lnTo>
                  <a:lnTo>
                    <a:pt x="273" y="918"/>
                  </a:lnTo>
                  <a:lnTo>
                    <a:pt x="322" y="841"/>
                  </a:lnTo>
                  <a:lnTo>
                    <a:pt x="375" y="767"/>
                  </a:lnTo>
                  <a:lnTo>
                    <a:pt x="431" y="694"/>
                  </a:lnTo>
                  <a:lnTo>
                    <a:pt x="492" y="625"/>
                  </a:lnTo>
                  <a:lnTo>
                    <a:pt x="554" y="559"/>
                  </a:lnTo>
                  <a:lnTo>
                    <a:pt x="620" y="496"/>
                  </a:lnTo>
                  <a:lnTo>
                    <a:pt x="688" y="436"/>
                  </a:lnTo>
                  <a:lnTo>
                    <a:pt x="760" y="379"/>
                  </a:lnTo>
                  <a:lnTo>
                    <a:pt x="834" y="326"/>
                  </a:lnTo>
                  <a:lnTo>
                    <a:pt x="911" y="276"/>
                  </a:lnTo>
                  <a:lnTo>
                    <a:pt x="990" y="230"/>
                  </a:lnTo>
                  <a:lnTo>
                    <a:pt x="1072" y="188"/>
                  </a:lnTo>
                  <a:lnTo>
                    <a:pt x="1156" y="150"/>
                  </a:lnTo>
                  <a:lnTo>
                    <a:pt x="1241" y="116"/>
                  </a:lnTo>
                  <a:lnTo>
                    <a:pt x="1330" y="86"/>
                  </a:lnTo>
                  <a:lnTo>
                    <a:pt x="1420" y="60"/>
                  </a:lnTo>
                  <a:lnTo>
                    <a:pt x="1511" y="39"/>
                  </a:lnTo>
                  <a:lnTo>
                    <a:pt x="1604" y="22"/>
                  </a:lnTo>
                  <a:lnTo>
                    <a:pt x="1699" y="10"/>
                  </a:lnTo>
                  <a:lnTo>
                    <a:pt x="1795" y="2"/>
                  </a:lnTo>
                  <a:lnTo>
                    <a:pt x="1893" y="0"/>
                  </a:lnTo>
                  <a:lnTo>
                    <a:pt x="1959" y="1"/>
                  </a:lnTo>
                  <a:lnTo>
                    <a:pt x="2026" y="5"/>
                  </a:lnTo>
                  <a:lnTo>
                    <a:pt x="2092" y="10"/>
                  </a:lnTo>
                  <a:lnTo>
                    <a:pt x="2156" y="18"/>
                  </a:lnTo>
                  <a:lnTo>
                    <a:pt x="2221" y="29"/>
                  </a:lnTo>
                  <a:lnTo>
                    <a:pt x="2285" y="41"/>
                  </a:lnTo>
                  <a:lnTo>
                    <a:pt x="2348" y="56"/>
                  </a:lnTo>
                  <a:lnTo>
                    <a:pt x="2409" y="72"/>
                  </a:lnTo>
                  <a:lnTo>
                    <a:pt x="2470" y="91"/>
                  </a:lnTo>
                  <a:lnTo>
                    <a:pt x="2532" y="111"/>
                  </a:lnTo>
                  <a:lnTo>
                    <a:pt x="2591" y="134"/>
                  </a:lnTo>
                  <a:lnTo>
                    <a:pt x="2649" y="159"/>
                  </a:lnTo>
                  <a:lnTo>
                    <a:pt x="2706" y="185"/>
                  </a:lnTo>
                  <a:lnTo>
                    <a:pt x="2763" y="213"/>
                  </a:lnTo>
                  <a:lnTo>
                    <a:pt x="2818" y="243"/>
                  </a:lnTo>
                  <a:lnTo>
                    <a:pt x="2872" y="275"/>
                  </a:lnTo>
                  <a:lnTo>
                    <a:pt x="2925" y="309"/>
                  </a:lnTo>
                  <a:lnTo>
                    <a:pt x="2977" y="344"/>
                  </a:lnTo>
                  <a:lnTo>
                    <a:pt x="3027" y="381"/>
                  </a:lnTo>
                  <a:lnTo>
                    <a:pt x="3077" y="419"/>
                  </a:lnTo>
                  <a:lnTo>
                    <a:pt x="3125" y="459"/>
                  </a:lnTo>
                  <a:lnTo>
                    <a:pt x="3171" y="501"/>
                  </a:lnTo>
                  <a:lnTo>
                    <a:pt x="3217" y="545"/>
                  </a:lnTo>
                  <a:lnTo>
                    <a:pt x="3261" y="590"/>
                  </a:lnTo>
                  <a:lnTo>
                    <a:pt x="3303" y="635"/>
                  </a:lnTo>
                  <a:lnTo>
                    <a:pt x="3343" y="682"/>
                  </a:lnTo>
                  <a:lnTo>
                    <a:pt x="3383" y="731"/>
                  </a:lnTo>
                  <a:lnTo>
                    <a:pt x="3421" y="782"/>
                  </a:lnTo>
                  <a:lnTo>
                    <a:pt x="3457" y="833"/>
                  </a:lnTo>
                  <a:lnTo>
                    <a:pt x="3491" y="886"/>
                  </a:lnTo>
                  <a:lnTo>
                    <a:pt x="3524" y="940"/>
                  </a:lnTo>
                  <a:lnTo>
                    <a:pt x="3555" y="995"/>
                  </a:lnTo>
                  <a:lnTo>
                    <a:pt x="2779" y="1412"/>
                  </a:lnTo>
                  <a:lnTo>
                    <a:pt x="2762" y="1383"/>
                  </a:lnTo>
                  <a:lnTo>
                    <a:pt x="2745" y="1353"/>
                  </a:lnTo>
                  <a:lnTo>
                    <a:pt x="2726" y="1326"/>
                  </a:lnTo>
                  <a:lnTo>
                    <a:pt x="2707" y="1298"/>
                  </a:lnTo>
                  <a:lnTo>
                    <a:pt x="2687" y="1271"/>
                  </a:lnTo>
                  <a:lnTo>
                    <a:pt x="2665" y="1244"/>
                  </a:lnTo>
                  <a:lnTo>
                    <a:pt x="2643" y="1219"/>
                  </a:lnTo>
                  <a:lnTo>
                    <a:pt x="2620" y="1194"/>
                  </a:lnTo>
                  <a:lnTo>
                    <a:pt x="2597" y="1171"/>
                  </a:lnTo>
                  <a:lnTo>
                    <a:pt x="2572" y="1148"/>
                  </a:lnTo>
                  <a:lnTo>
                    <a:pt x="2548" y="1125"/>
                  </a:lnTo>
                  <a:lnTo>
                    <a:pt x="2522" y="1104"/>
                  </a:lnTo>
                  <a:lnTo>
                    <a:pt x="2496" y="1083"/>
                  </a:lnTo>
                  <a:lnTo>
                    <a:pt x="2468" y="1063"/>
                  </a:lnTo>
                  <a:lnTo>
                    <a:pt x="2441" y="1045"/>
                  </a:lnTo>
                  <a:lnTo>
                    <a:pt x="2412" y="1026"/>
                  </a:lnTo>
                  <a:lnTo>
                    <a:pt x="2384" y="1009"/>
                  </a:lnTo>
                  <a:lnTo>
                    <a:pt x="2354" y="994"/>
                  </a:lnTo>
                  <a:lnTo>
                    <a:pt x="2323" y="978"/>
                  </a:lnTo>
                  <a:lnTo>
                    <a:pt x="2293" y="964"/>
                  </a:lnTo>
                  <a:lnTo>
                    <a:pt x="2262" y="951"/>
                  </a:lnTo>
                  <a:lnTo>
                    <a:pt x="2231" y="939"/>
                  </a:lnTo>
                  <a:lnTo>
                    <a:pt x="2198" y="929"/>
                  </a:lnTo>
                  <a:lnTo>
                    <a:pt x="2166" y="918"/>
                  </a:lnTo>
                  <a:lnTo>
                    <a:pt x="2133" y="909"/>
                  </a:lnTo>
                  <a:lnTo>
                    <a:pt x="2100" y="902"/>
                  </a:lnTo>
                  <a:lnTo>
                    <a:pt x="2066" y="895"/>
                  </a:lnTo>
                  <a:lnTo>
                    <a:pt x="2032" y="890"/>
                  </a:lnTo>
                  <a:lnTo>
                    <a:pt x="1997" y="886"/>
                  </a:lnTo>
                  <a:lnTo>
                    <a:pt x="1962" y="883"/>
                  </a:lnTo>
                  <a:lnTo>
                    <a:pt x="1928" y="881"/>
                  </a:lnTo>
                  <a:lnTo>
                    <a:pt x="1893" y="880"/>
                  </a:lnTo>
                  <a:lnTo>
                    <a:pt x="1841" y="882"/>
                  </a:lnTo>
                  <a:lnTo>
                    <a:pt x="1790" y="886"/>
                  </a:lnTo>
                  <a:lnTo>
                    <a:pt x="1740" y="892"/>
                  </a:lnTo>
                  <a:lnTo>
                    <a:pt x="1691" y="901"/>
                  </a:lnTo>
                  <a:lnTo>
                    <a:pt x="1642" y="912"/>
                  </a:lnTo>
                  <a:lnTo>
                    <a:pt x="1594" y="926"/>
                  </a:lnTo>
                  <a:lnTo>
                    <a:pt x="1548" y="942"/>
                  </a:lnTo>
                  <a:lnTo>
                    <a:pt x="1502" y="960"/>
                  </a:lnTo>
                  <a:lnTo>
                    <a:pt x="1458" y="981"/>
                  </a:lnTo>
                  <a:lnTo>
                    <a:pt x="1414" y="1003"/>
                  </a:lnTo>
                  <a:lnTo>
                    <a:pt x="1372" y="1027"/>
                  </a:lnTo>
                  <a:lnTo>
                    <a:pt x="1330" y="1054"/>
                  </a:lnTo>
                  <a:lnTo>
                    <a:pt x="1290" y="1082"/>
                  </a:lnTo>
                  <a:lnTo>
                    <a:pt x="1252" y="1112"/>
                  </a:lnTo>
                  <a:lnTo>
                    <a:pt x="1216" y="1144"/>
                  </a:lnTo>
                  <a:lnTo>
                    <a:pt x="1180" y="1178"/>
                  </a:lnTo>
                  <a:lnTo>
                    <a:pt x="1146" y="1214"/>
                  </a:lnTo>
                  <a:lnTo>
                    <a:pt x="1115" y="1251"/>
                  </a:lnTo>
                  <a:lnTo>
                    <a:pt x="1084" y="1290"/>
                  </a:lnTo>
                  <a:lnTo>
                    <a:pt x="1056" y="1330"/>
                  </a:lnTo>
                  <a:lnTo>
                    <a:pt x="1029" y="1372"/>
                  </a:lnTo>
                  <a:lnTo>
                    <a:pt x="1005" y="1414"/>
                  </a:lnTo>
                  <a:lnTo>
                    <a:pt x="982" y="1459"/>
                  </a:lnTo>
                  <a:lnTo>
                    <a:pt x="962" y="1505"/>
                  </a:lnTo>
                  <a:lnTo>
                    <a:pt x="943" y="1552"/>
                  </a:lnTo>
                  <a:lnTo>
                    <a:pt x="927" y="1600"/>
                  </a:lnTo>
                  <a:lnTo>
                    <a:pt x="913" y="1648"/>
                  </a:lnTo>
                  <a:lnTo>
                    <a:pt x="902" y="1698"/>
                  </a:lnTo>
                  <a:lnTo>
                    <a:pt x="892" y="1749"/>
                  </a:lnTo>
                  <a:lnTo>
                    <a:pt x="886" y="1802"/>
                  </a:lnTo>
                  <a:lnTo>
                    <a:pt x="882" y="1854"/>
                  </a:lnTo>
                  <a:lnTo>
                    <a:pt x="881" y="1908"/>
                  </a:lnTo>
                  <a:lnTo>
                    <a:pt x="882" y="1962"/>
                  </a:lnTo>
                  <a:lnTo>
                    <a:pt x="886" y="2015"/>
                  </a:lnTo>
                  <a:lnTo>
                    <a:pt x="892" y="2067"/>
                  </a:lnTo>
                  <a:lnTo>
                    <a:pt x="902" y="2118"/>
                  </a:lnTo>
                  <a:lnTo>
                    <a:pt x="913" y="2168"/>
                  </a:lnTo>
                  <a:lnTo>
                    <a:pt x="927" y="2217"/>
                  </a:lnTo>
                  <a:lnTo>
                    <a:pt x="943" y="2264"/>
                  </a:lnTo>
                  <a:lnTo>
                    <a:pt x="962" y="2311"/>
                  </a:lnTo>
                  <a:lnTo>
                    <a:pt x="982" y="2357"/>
                  </a:lnTo>
                  <a:lnTo>
                    <a:pt x="1005" y="2402"/>
                  </a:lnTo>
                  <a:lnTo>
                    <a:pt x="1029" y="2445"/>
                  </a:lnTo>
                  <a:lnTo>
                    <a:pt x="1056" y="2486"/>
                  </a:lnTo>
                  <a:lnTo>
                    <a:pt x="1084" y="2526"/>
                  </a:lnTo>
                  <a:lnTo>
                    <a:pt x="1115" y="2566"/>
                  </a:lnTo>
                  <a:lnTo>
                    <a:pt x="1146" y="2603"/>
                  </a:lnTo>
                  <a:lnTo>
                    <a:pt x="1180" y="2638"/>
                  </a:lnTo>
                  <a:lnTo>
                    <a:pt x="1216" y="2672"/>
                  </a:lnTo>
                  <a:lnTo>
                    <a:pt x="1252" y="2704"/>
                  </a:lnTo>
                  <a:lnTo>
                    <a:pt x="1290" y="2734"/>
                  </a:lnTo>
                  <a:lnTo>
                    <a:pt x="1330" y="2762"/>
                  </a:lnTo>
                  <a:lnTo>
                    <a:pt x="1372" y="2789"/>
                  </a:lnTo>
                  <a:lnTo>
                    <a:pt x="1414" y="2813"/>
                  </a:lnTo>
                  <a:lnTo>
                    <a:pt x="1458" y="2837"/>
                  </a:lnTo>
                  <a:lnTo>
                    <a:pt x="1502" y="2856"/>
                  </a:lnTo>
                  <a:lnTo>
                    <a:pt x="1548" y="2874"/>
                  </a:lnTo>
                  <a:lnTo>
                    <a:pt x="1594" y="2891"/>
                  </a:lnTo>
                  <a:lnTo>
                    <a:pt x="1642" y="2904"/>
                  </a:lnTo>
                  <a:lnTo>
                    <a:pt x="1691" y="2916"/>
                  </a:lnTo>
                  <a:lnTo>
                    <a:pt x="1740" y="2924"/>
                  </a:lnTo>
                  <a:lnTo>
                    <a:pt x="1790" y="2931"/>
                  </a:lnTo>
                  <a:lnTo>
                    <a:pt x="1841" y="2934"/>
                  </a:lnTo>
                  <a:lnTo>
                    <a:pt x="1893" y="2936"/>
                  </a:lnTo>
                  <a:lnTo>
                    <a:pt x="1929" y="2935"/>
                  </a:lnTo>
                  <a:lnTo>
                    <a:pt x="1964" y="2933"/>
                  </a:lnTo>
                  <a:lnTo>
                    <a:pt x="2000" y="2930"/>
                  </a:lnTo>
                  <a:lnTo>
                    <a:pt x="2035" y="2926"/>
                  </a:lnTo>
                  <a:lnTo>
                    <a:pt x="2070" y="2920"/>
                  </a:lnTo>
                  <a:lnTo>
                    <a:pt x="2104" y="2914"/>
                  </a:lnTo>
                  <a:lnTo>
                    <a:pt x="2138" y="2906"/>
                  </a:lnTo>
                  <a:lnTo>
                    <a:pt x="2172" y="2897"/>
                  </a:lnTo>
                  <a:lnTo>
                    <a:pt x="2205" y="2887"/>
                  </a:lnTo>
                  <a:lnTo>
                    <a:pt x="2238" y="2874"/>
                  </a:lnTo>
                  <a:lnTo>
                    <a:pt x="2269" y="2862"/>
                  </a:lnTo>
                  <a:lnTo>
                    <a:pt x="2301" y="2849"/>
                  </a:lnTo>
                  <a:lnTo>
                    <a:pt x="2333" y="2835"/>
                  </a:lnTo>
                  <a:lnTo>
                    <a:pt x="2363" y="2818"/>
                  </a:lnTo>
                  <a:lnTo>
                    <a:pt x="2393" y="2802"/>
                  </a:lnTo>
                  <a:lnTo>
                    <a:pt x="2422" y="2784"/>
                  </a:lnTo>
                  <a:lnTo>
                    <a:pt x="2452" y="2765"/>
                  </a:lnTo>
                  <a:lnTo>
                    <a:pt x="2480" y="2746"/>
                  </a:lnTo>
                  <a:lnTo>
                    <a:pt x="2507" y="2726"/>
                  </a:lnTo>
                  <a:lnTo>
                    <a:pt x="2534" y="2704"/>
                  </a:lnTo>
                  <a:lnTo>
                    <a:pt x="2560" y="2682"/>
                  </a:lnTo>
                  <a:lnTo>
                    <a:pt x="2586" y="2659"/>
                  </a:lnTo>
                  <a:lnTo>
                    <a:pt x="2610" y="2635"/>
                  </a:lnTo>
                  <a:lnTo>
                    <a:pt x="2634" y="2610"/>
                  </a:lnTo>
                  <a:lnTo>
                    <a:pt x="2656" y="2584"/>
                  </a:lnTo>
                  <a:lnTo>
                    <a:pt x="2678" y="2558"/>
                  </a:lnTo>
                  <a:lnTo>
                    <a:pt x="2700" y="2531"/>
                  </a:lnTo>
                  <a:lnTo>
                    <a:pt x="2720" y="2503"/>
                  </a:lnTo>
                  <a:lnTo>
                    <a:pt x="2740" y="2474"/>
                  </a:lnTo>
                  <a:lnTo>
                    <a:pt x="2758" y="2445"/>
                  </a:lnTo>
                  <a:lnTo>
                    <a:pt x="2775" y="2415"/>
                  </a:lnTo>
                  <a:lnTo>
                    <a:pt x="2792" y="2385"/>
                  </a:lnTo>
                  <a:lnTo>
                    <a:pt x="3567" y="2804"/>
                  </a:lnTo>
                  <a:close/>
                </a:path>
              </a:pathLst>
            </a:custGeom>
            <a:solidFill>
              <a:schemeClr val="accent1"/>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64" name="Freeform 16"/>
            <p:cNvSpPr>
              <a:spLocks/>
            </p:cNvSpPr>
            <p:nvPr userDrawn="1"/>
          </p:nvSpPr>
          <p:spPr bwMode="auto">
            <a:xfrm>
              <a:off x="5646" y="98"/>
              <a:ext cx="160" cy="184"/>
            </a:xfrm>
            <a:custGeom>
              <a:avLst/>
              <a:gdLst>
                <a:gd name="T0" fmla="*/ 0 w 3202"/>
                <a:gd name="T1" fmla="*/ 0 h 3663"/>
                <a:gd name="T2" fmla="*/ 0 w 3202"/>
                <a:gd name="T3" fmla="*/ 0 h 3663"/>
                <a:gd name="T4" fmla="*/ 0 w 3202"/>
                <a:gd name="T5" fmla="*/ 0 h 3663"/>
                <a:gd name="T6" fmla="*/ 0 w 3202"/>
                <a:gd name="T7" fmla="*/ 0 h 3663"/>
                <a:gd name="T8" fmla="*/ 0 w 3202"/>
                <a:gd name="T9" fmla="*/ 0 h 3663"/>
                <a:gd name="T10" fmla="*/ 0 w 3202"/>
                <a:gd name="T11" fmla="*/ 0 h 3663"/>
                <a:gd name="T12" fmla="*/ 0 w 3202"/>
                <a:gd name="T13" fmla="*/ 0 h 3663"/>
                <a:gd name="T14" fmla="*/ 0 w 3202"/>
                <a:gd name="T15" fmla="*/ 0 h 3663"/>
                <a:gd name="T16" fmla="*/ 0 w 3202"/>
                <a:gd name="T17" fmla="*/ 0 h 3663"/>
                <a:gd name="T18" fmla="*/ 0 w 3202"/>
                <a:gd name="T19" fmla="*/ 0 h 3663"/>
                <a:gd name="T20" fmla="*/ 0 w 3202"/>
                <a:gd name="T21" fmla="*/ 0 h 3663"/>
                <a:gd name="T22" fmla="*/ 0 w 3202"/>
                <a:gd name="T23" fmla="*/ 0 h 3663"/>
                <a:gd name="T24" fmla="*/ 0 w 3202"/>
                <a:gd name="T25" fmla="*/ 0 h 3663"/>
                <a:gd name="T26" fmla="*/ 0 w 3202"/>
                <a:gd name="T27" fmla="*/ 0 h 36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202" h="3663">
                  <a:moveTo>
                    <a:pt x="0" y="0"/>
                  </a:moveTo>
                  <a:lnTo>
                    <a:pt x="0" y="3663"/>
                  </a:lnTo>
                  <a:lnTo>
                    <a:pt x="876" y="3663"/>
                  </a:lnTo>
                  <a:lnTo>
                    <a:pt x="876" y="2243"/>
                  </a:lnTo>
                  <a:lnTo>
                    <a:pt x="1184" y="2243"/>
                  </a:lnTo>
                  <a:lnTo>
                    <a:pt x="2107" y="3663"/>
                  </a:lnTo>
                  <a:lnTo>
                    <a:pt x="3184" y="3663"/>
                  </a:lnTo>
                  <a:lnTo>
                    <a:pt x="1961" y="1854"/>
                  </a:lnTo>
                  <a:lnTo>
                    <a:pt x="3202" y="0"/>
                  </a:lnTo>
                  <a:lnTo>
                    <a:pt x="2125" y="0"/>
                  </a:lnTo>
                  <a:lnTo>
                    <a:pt x="1214" y="1468"/>
                  </a:lnTo>
                  <a:lnTo>
                    <a:pt x="876" y="1468"/>
                  </a:lnTo>
                  <a:lnTo>
                    <a:pt x="876" y="0"/>
                  </a:lnTo>
                  <a:lnTo>
                    <a:pt x="0" y="0"/>
                  </a:lnTo>
                  <a:close/>
                </a:path>
              </a:pathLst>
            </a:custGeom>
            <a:solidFill>
              <a:schemeClr val="accent1"/>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65" name="Freeform 17"/>
            <p:cNvSpPr>
              <a:spLocks/>
            </p:cNvSpPr>
            <p:nvPr userDrawn="1"/>
          </p:nvSpPr>
          <p:spPr bwMode="auto">
            <a:xfrm>
              <a:off x="5207" y="344"/>
              <a:ext cx="53" cy="69"/>
            </a:xfrm>
            <a:custGeom>
              <a:avLst/>
              <a:gdLst>
                <a:gd name="T0" fmla="*/ 0 w 1062"/>
                <a:gd name="T1" fmla="*/ 0 h 1367"/>
                <a:gd name="T2" fmla="*/ 0 w 1062"/>
                <a:gd name="T3" fmla="*/ 0 h 1367"/>
                <a:gd name="T4" fmla="*/ 0 w 1062"/>
                <a:gd name="T5" fmla="*/ 0 h 1367"/>
                <a:gd name="T6" fmla="*/ 0 w 1062"/>
                <a:gd name="T7" fmla="*/ 0 h 1367"/>
                <a:gd name="T8" fmla="*/ 0 w 1062"/>
                <a:gd name="T9" fmla="*/ 0 h 1367"/>
                <a:gd name="T10" fmla="*/ 0 w 1062"/>
                <a:gd name="T11" fmla="*/ 0 h 1367"/>
                <a:gd name="T12" fmla="*/ 0 w 1062"/>
                <a:gd name="T13" fmla="*/ 0 h 1367"/>
                <a:gd name="T14" fmla="*/ 0 w 1062"/>
                <a:gd name="T15" fmla="*/ 0 h 1367"/>
                <a:gd name="T16" fmla="*/ 0 w 1062"/>
                <a:gd name="T17" fmla="*/ 0 h 1367"/>
                <a:gd name="T18" fmla="*/ 0 w 1062"/>
                <a:gd name="T19" fmla="*/ 0 h 1367"/>
                <a:gd name="T20" fmla="*/ 0 w 1062"/>
                <a:gd name="T21" fmla="*/ 0 h 1367"/>
                <a:gd name="T22" fmla="*/ 0 w 1062"/>
                <a:gd name="T23" fmla="*/ 0 h 1367"/>
                <a:gd name="T24" fmla="*/ 0 w 1062"/>
                <a:gd name="T25" fmla="*/ 0 h 1367"/>
                <a:gd name="T26" fmla="*/ 0 w 1062"/>
                <a:gd name="T27" fmla="*/ 0 h 1367"/>
                <a:gd name="T28" fmla="*/ 0 w 1062"/>
                <a:gd name="T29" fmla="*/ 0 h 1367"/>
                <a:gd name="T30" fmla="*/ 0 w 1062"/>
                <a:gd name="T31" fmla="*/ 0 h 1367"/>
                <a:gd name="T32" fmla="*/ 0 w 1062"/>
                <a:gd name="T33" fmla="*/ 0 h 1367"/>
                <a:gd name="T34" fmla="*/ 0 w 1062"/>
                <a:gd name="T35" fmla="*/ 0 h 1367"/>
                <a:gd name="T36" fmla="*/ 0 w 1062"/>
                <a:gd name="T37" fmla="*/ 0 h 1367"/>
                <a:gd name="T38" fmla="*/ 0 w 1062"/>
                <a:gd name="T39" fmla="*/ 0 h 1367"/>
                <a:gd name="T40" fmla="*/ 0 w 1062"/>
                <a:gd name="T41" fmla="*/ 0 h 1367"/>
                <a:gd name="T42" fmla="*/ 0 w 1062"/>
                <a:gd name="T43" fmla="*/ 0 h 1367"/>
                <a:gd name="T44" fmla="*/ 0 w 1062"/>
                <a:gd name="T45" fmla="*/ 0 h 1367"/>
                <a:gd name="T46" fmla="*/ 0 w 1062"/>
                <a:gd name="T47" fmla="*/ 0 h 1367"/>
                <a:gd name="T48" fmla="*/ 0 w 1062"/>
                <a:gd name="T49" fmla="*/ 0 h 1367"/>
                <a:gd name="T50" fmla="*/ 0 w 1062"/>
                <a:gd name="T51" fmla="*/ 0 h 1367"/>
                <a:gd name="T52" fmla="*/ 0 w 1062"/>
                <a:gd name="T53" fmla="*/ 0 h 1367"/>
                <a:gd name="T54" fmla="*/ 0 w 1062"/>
                <a:gd name="T55" fmla="*/ 0 h 1367"/>
                <a:gd name="T56" fmla="*/ 0 w 1062"/>
                <a:gd name="T57" fmla="*/ 0 h 1367"/>
                <a:gd name="T58" fmla="*/ 0 w 1062"/>
                <a:gd name="T59" fmla="*/ 0 h 1367"/>
                <a:gd name="T60" fmla="*/ 0 w 1062"/>
                <a:gd name="T61" fmla="*/ 0 h 1367"/>
                <a:gd name="T62" fmla="*/ 0 w 1062"/>
                <a:gd name="T63" fmla="*/ 0 h 1367"/>
                <a:gd name="T64" fmla="*/ 0 w 1062"/>
                <a:gd name="T65" fmla="*/ 0 h 1367"/>
                <a:gd name="T66" fmla="*/ 0 w 1062"/>
                <a:gd name="T67" fmla="*/ 0 h 1367"/>
                <a:gd name="T68" fmla="*/ 0 w 1062"/>
                <a:gd name="T69" fmla="*/ 0 h 1367"/>
                <a:gd name="T70" fmla="*/ 0 w 1062"/>
                <a:gd name="T71" fmla="*/ 0 h 1367"/>
                <a:gd name="T72" fmla="*/ 0 w 1062"/>
                <a:gd name="T73" fmla="*/ 0 h 1367"/>
                <a:gd name="T74" fmla="*/ 0 w 1062"/>
                <a:gd name="T75" fmla="*/ 0 h 1367"/>
                <a:gd name="T76" fmla="*/ 0 w 1062"/>
                <a:gd name="T77" fmla="*/ 0 h 1367"/>
                <a:gd name="T78" fmla="*/ 0 w 1062"/>
                <a:gd name="T79" fmla="*/ 0 h 1367"/>
                <a:gd name="T80" fmla="*/ 0 w 1062"/>
                <a:gd name="T81" fmla="*/ 0 h 1367"/>
                <a:gd name="T82" fmla="*/ 0 w 1062"/>
                <a:gd name="T83" fmla="*/ 0 h 1367"/>
                <a:gd name="T84" fmla="*/ 0 w 1062"/>
                <a:gd name="T85" fmla="*/ 0 h 1367"/>
                <a:gd name="T86" fmla="*/ 0 w 1062"/>
                <a:gd name="T87" fmla="*/ 0 h 1367"/>
                <a:gd name="T88" fmla="*/ 0 w 1062"/>
                <a:gd name="T89" fmla="*/ 0 h 1367"/>
                <a:gd name="T90" fmla="*/ 0 w 1062"/>
                <a:gd name="T91" fmla="*/ 0 h 1367"/>
                <a:gd name="T92" fmla="*/ 0 w 1062"/>
                <a:gd name="T93" fmla="*/ 0 h 1367"/>
                <a:gd name="T94" fmla="*/ 0 w 1062"/>
                <a:gd name="T95" fmla="*/ 0 h 1367"/>
                <a:gd name="T96" fmla="*/ 0 w 1062"/>
                <a:gd name="T97" fmla="*/ 0 h 1367"/>
                <a:gd name="T98" fmla="*/ 0 w 1062"/>
                <a:gd name="T99" fmla="*/ 0 h 1367"/>
                <a:gd name="T100" fmla="*/ 0 w 1062"/>
                <a:gd name="T101" fmla="*/ 0 h 1367"/>
                <a:gd name="T102" fmla="*/ 0 w 1062"/>
                <a:gd name="T103" fmla="*/ 0 h 1367"/>
                <a:gd name="T104" fmla="*/ 0 w 1062"/>
                <a:gd name="T105" fmla="*/ 0 h 1367"/>
                <a:gd name="T106" fmla="*/ 0 w 1062"/>
                <a:gd name="T107" fmla="*/ 0 h 1367"/>
                <a:gd name="T108" fmla="*/ 0 w 1062"/>
                <a:gd name="T109" fmla="*/ 0 h 1367"/>
                <a:gd name="T110" fmla="*/ 0 w 1062"/>
                <a:gd name="T111" fmla="*/ 0 h 1367"/>
                <a:gd name="T112" fmla="*/ 0 w 1062"/>
                <a:gd name="T113" fmla="*/ 0 h 1367"/>
                <a:gd name="T114" fmla="*/ 0 w 1062"/>
                <a:gd name="T115" fmla="*/ 0 h 1367"/>
                <a:gd name="T116" fmla="*/ 0 w 1062"/>
                <a:gd name="T117" fmla="*/ 0 h 1367"/>
                <a:gd name="T118" fmla="*/ 0 w 1062"/>
                <a:gd name="T119" fmla="*/ 0 h 1367"/>
                <a:gd name="T120" fmla="*/ 0 w 1062"/>
                <a:gd name="T121" fmla="*/ 0 h 13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62" h="1367">
                  <a:moveTo>
                    <a:pt x="0" y="1025"/>
                  </a:moveTo>
                  <a:lnTo>
                    <a:pt x="4" y="1040"/>
                  </a:lnTo>
                  <a:lnTo>
                    <a:pt x="8" y="1053"/>
                  </a:lnTo>
                  <a:lnTo>
                    <a:pt x="12" y="1067"/>
                  </a:lnTo>
                  <a:lnTo>
                    <a:pt x="17" y="1080"/>
                  </a:lnTo>
                  <a:lnTo>
                    <a:pt x="22" y="1094"/>
                  </a:lnTo>
                  <a:lnTo>
                    <a:pt x="28" y="1107"/>
                  </a:lnTo>
                  <a:lnTo>
                    <a:pt x="34" y="1120"/>
                  </a:lnTo>
                  <a:lnTo>
                    <a:pt x="41" y="1133"/>
                  </a:lnTo>
                  <a:lnTo>
                    <a:pt x="51" y="1150"/>
                  </a:lnTo>
                  <a:lnTo>
                    <a:pt x="62" y="1165"/>
                  </a:lnTo>
                  <a:lnTo>
                    <a:pt x="73" y="1180"/>
                  </a:lnTo>
                  <a:lnTo>
                    <a:pt x="86" y="1195"/>
                  </a:lnTo>
                  <a:lnTo>
                    <a:pt x="99" y="1209"/>
                  </a:lnTo>
                  <a:lnTo>
                    <a:pt x="112" y="1223"/>
                  </a:lnTo>
                  <a:lnTo>
                    <a:pt x="126" y="1236"/>
                  </a:lnTo>
                  <a:lnTo>
                    <a:pt x="141" y="1248"/>
                  </a:lnTo>
                  <a:lnTo>
                    <a:pt x="155" y="1259"/>
                  </a:lnTo>
                  <a:lnTo>
                    <a:pt x="169" y="1270"/>
                  </a:lnTo>
                  <a:lnTo>
                    <a:pt x="186" y="1281"/>
                  </a:lnTo>
                  <a:lnTo>
                    <a:pt x="203" y="1291"/>
                  </a:lnTo>
                  <a:lnTo>
                    <a:pt x="221" y="1301"/>
                  </a:lnTo>
                  <a:lnTo>
                    <a:pt x="242" y="1311"/>
                  </a:lnTo>
                  <a:lnTo>
                    <a:pt x="263" y="1321"/>
                  </a:lnTo>
                  <a:lnTo>
                    <a:pt x="287" y="1330"/>
                  </a:lnTo>
                  <a:lnTo>
                    <a:pt x="312" y="1338"/>
                  </a:lnTo>
                  <a:lnTo>
                    <a:pt x="339" y="1345"/>
                  </a:lnTo>
                  <a:lnTo>
                    <a:pt x="366" y="1352"/>
                  </a:lnTo>
                  <a:lnTo>
                    <a:pt x="397" y="1357"/>
                  </a:lnTo>
                  <a:lnTo>
                    <a:pt x="429" y="1361"/>
                  </a:lnTo>
                  <a:lnTo>
                    <a:pt x="463" y="1365"/>
                  </a:lnTo>
                  <a:lnTo>
                    <a:pt x="500" y="1367"/>
                  </a:lnTo>
                  <a:lnTo>
                    <a:pt x="539" y="1367"/>
                  </a:lnTo>
                  <a:lnTo>
                    <a:pt x="562" y="1367"/>
                  </a:lnTo>
                  <a:lnTo>
                    <a:pt x="584" y="1366"/>
                  </a:lnTo>
                  <a:lnTo>
                    <a:pt x="607" y="1365"/>
                  </a:lnTo>
                  <a:lnTo>
                    <a:pt x="628" y="1363"/>
                  </a:lnTo>
                  <a:lnTo>
                    <a:pt x="650" y="1360"/>
                  </a:lnTo>
                  <a:lnTo>
                    <a:pt x="669" y="1357"/>
                  </a:lnTo>
                  <a:lnTo>
                    <a:pt x="690" y="1354"/>
                  </a:lnTo>
                  <a:lnTo>
                    <a:pt x="708" y="1350"/>
                  </a:lnTo>
                  <a:lnTo>
                    <a:pt x="726" y="1346"/>
                  </a:lnTo>
                  <a:lnTo>
                    <a:pt x="745" y="1341"/>
                  </a:lnTo>
                  <a:lnTo>
                    <a:pt x="762" y="1336"/>
                  </a:lnTo>
                  <a:lnTo>
                    <a:pt x="778" y="1330"/>
                  </a:lnTo>
                  <a:lnTo>
                    <a:pt x="795" y="1325"/>
                  </a:lnTo>
                  <a:lnTo>
                    <a:pt x="810" y="1318"/>
                  </a:lnTo>
                  <a:lnTo>
                    <a:pt x="825" y="1311"/>
                  </a:lnTo>
                  <a:lnTo>
                    <a:pt x="839" y="1304"/>
                  </a:lnTo>
                  <a:lnTo>
                    <a:pt x="866" y="1290"/>
                  </a:lnTo>
                  <a:lnTo>
                    <a:pt x="890" y="1275"/>
                  </a:lnTo>
                  <a:lnTo>
                    <a:pt x="913" y="1260"/>
                  </a:lnTo>
                  <a:lnTo>
                    <a:pt x="933" y="1243"/>
                  </a:lnTo>
                  <a:lnTo>
                    <a:pt x="952" y="1227"/>
                  </a:lnTo>
                  <a:lnTo>
                    <a:pt x="968" y="1210"/>
                  </a:lnTo>
                  <a:lnTo>
                    <a:pt x="982" y="1193"/>
                  </a:lnTo>
                  <a:lnTo>
                    <a:pt x="995" y="1177"/>
                  </a:lnTo>
                  <a:lnTo>
                    <a:pt x="1005" y="1162"/>
                  </a:lnTo>
                  <a:lnTo>
                    <a:pt x="1016" y="1143"/>
                  </a:lnTo>
                  <a:lnTo>
                    <a:pt x="1027" y="1120"/>
                  </a:lnTo>
                  <a:lnTo>
                    <a:pt x="1037" y="1094"/>
                  </a:lnTo>
                  <a:lnTo>
                    <a:pt x="1042" y="1079"/>
                  </a:lnTo>
                  <a:lnTo>
                    <a:pt x="1048" y="1064"/>
                  </a:lnTo>
                  <a:lnTo>
                    <a:pt x="1052" y="1047"/>
                  </a:lnTo>
                  <a:lnTo>
                    <a:pt x="1055" y="1029"/>
                  </a:lnTo>
                  <a:lnTo>
                    <a:pt x="1058" y="1011"/>
                  </a:lnTo>
                  <a:lnTo>
                    <a:pt x="1060" y="993"/>
                  </a:lnTo>
                  <a:lnTo>
                    <a:pt x="1062" y="972"/>
                  </a:lnTo>
                  <a:lnTo>
                    <a:pt x="1062" y="952"/>
                  </a:lnTo>
                  <a:lnTo>
                    <a:pt x="1062" y="931"/>
                  </a:lnTo>
                  <a:lnTo>
                    <a:pt x="1060" y="910"/>
                  </a:lnTo>
                  <a:lnTo>
                    <a:pt x="1058" y="889"/>
                  </a:lnTo>
                  <a:lnTo>
                    <a:pt x="1054" y="869"/>
                  </a:lnTo>
                  <a:lnTo>
                    <a:pt x="1049" y="849"/>
                  </a:lnTo>
                  <a:lnTo>
                    <a:pt x="1043" y="829"/>
                  </a:lnTo>
                  <a:lnTo>
                    <a:pt x="1036" y="809"/>
                  </a:lnTo>
                  <a:lnTo>
                    <a:pt x="1028" y="790"/>
                  </a:lnTo>
                  <a:lnTo>
                    <a:pt x="1019" y="772"/>
                  </a:lnTo>
                  <a:lnTo>
                    <a:pt x="1009" y="755"/>
                  </a:lnTo>
                  <a:lnTo>
                    <a:pt x="998" y="737"/>
                  </a:lnTo>
                  <a:lnTo>
                    <a:pt x="985" y="720"/>
                  </a:lnTo>
                  <a:lnTo>
                    <a:pt x="972" y="705"/>
                  </a:lnTo>
                  <a:lnTo>
                    <a:pt x="958" y="689"/>
                  </a:lnTo>
                  <a:lnTo>
                    <a:pt x="941" y="675"/>
                  </a:lnTo>
                  <a:lnTo>
                    <a:pt x="925" y="662"/>
                  </a:lnTo>
                  <a:lnTo>
                    <a:pt x="903" y="647"/>
                  </a:lnTo>
                  <a:lnTo>
                    <a:pt x="879" y="632"/>
                  </a:lnTo>
                  <a:lnTo>
                    <a:pt x="856" y="621"/>
                  </a:lnTo>
                  <a:lnTo>
                    <a:pt x="830" y="610"/>
                  </a:lnTo>
                  <a:lnTo>
                    <a:pt x="805" y="601"/>
                  </a:lnTo>
                  <a:lnTo>
                    <a:pt x="779" y="593"/>
                  </a:lnTo>
                  <a:lnTo>
                    <a:pt x="753" y="584"/>
                  </a:lnTo>
                  <a:lnTo>
                    <a:pt x="726" y="577"/>
                  </a:lnTo>
                  <a:lnTo>
                    <a:pt x="708" y="572"/>
                  </a:lnTo>
                  <a:lnTo>
                    <a:pt x="690" y="566"/>
                  </a:lnTo>
                  <a:lnTo>
                    <a:pt x="671" y="562"/>
                  </a:lnTo>
                  <a:lnTo>
                    <a:pt x="653" y="557"/>
                  </a:lnTo>
                  <a:lnTo>
                    <a:pt x="634" y="552"/>
                  </a:lnTo>
                  <a:lnTo>
                    <a:pt x="616" y="548"/>
                  </a:lnTo>
                  <a:lnTo>
                    <a:pt x="598" y="543"/>
                  </a:lnTo>
                  <a:lnTo>
                    <a:pt x="580" y="538"/>
                  </a:lnTo>
                  <a:lnTo>
                    <a:pt x="542" y="529"/>
                  </a:lnTo>
                  <a:lnTo>
                    <a:pt x="508" y="521"/>
                  </a:lnTo>
                  <a:lnTo>
                    <a:pt x="478" y="515"/>
                  </a:lnTo>
                  <a:lnTo>
                    <a:pt x="454" y="508"/>
                  </a:lnTo>
                  <a:lnTo>
                    <a:pt x="430" y="501"/>
                  </a:lnTo>
                  <a:lnTo>
                    <a:pt x="411" y="493"/>
                  </a:lnTo>
                  <a:lnTo>
                    <a:pt x="401" y="489"/>
                  </a:lnTo>
                  <a:lnTo>
                    <a:pt x="392" y="483"/>
                  </a:lnTo>
                  <a:lnTo>
                    <a:pt x="383" y="477"/>
                  </a:lnTo>
                  <a:lnTo>
                    <a:pt x="373" y="470"/>
                  </a:lnTo>
                  <a:lnTo>
                    <a:pt x="364" y="463"/>
                  </a:lnTo>
                  <a:lnTo>
                    <a:pt x="356" y="455"/>
                  </a:lnTo>
                  <a:lnTo>
                    <a:pt x="348" y="447"/>
                  </a:lnTo>
                  <a:lnTo>
                    <a:pt x="342" y="439"/>
                  </a:lnTo>
                  <a:lnTo>
                    <a:pt x="336" y="432"/>
                  </a:lnTo>
                  <a:lnTo>
                    <a:pt x="330" y="424"/>
                  </a:lnTo>
                  <a:lnTo>
                    <a:pt x="326" y="415"/>
                  </a:lnTo>
                  <a:lnTo>
                    <a:pt x="322" y="408"/>
                  </a:lnTo>
                  <a:lnTo>
                    <a:pt x="317" y="393"/>
                  </a:lnTo>
                  <a:lnTo>
                    <a:pt x="313" y="380"/>
                  </a:lnTo>
                  <a:lnTo>
                    <a:pt x="311" y="368"/>
                  </a:lnTo>
                  <a:lnTo>
                    <a:pt x="310" y="358"/>
                  </a:lnTo>
                  <a:lnTo>
                    <a:pt x="310" y="351"/>
                  </a:lnTo>
                  <a:lnTo>
                    <a:pt x="311" y="343"/>
                  </a:lnTo>
                  <a:lnTo>
                    <a:pt x="312" y="334"/>
                  </a:lnTo>
                  <a:lnTo>
                    <a:pt x="314" y="324"/>
                  </a:lnTo>
                  <a:lnTo>
                    <a:pt x="318" y="313"/>
                  </a:lnTo>
                  <a:lnTo>
                    <a:pt x="323" y="300"/>
                  </a:lnTo>
                  <a:lnTo>
                    <a:pt x="329" y="288"/>
                  </a:lnTo>
                  <a:lnTo>
                    <a:pt x="338" y="276"/>
                  </a:lnTo>
                  <a:lnTo>
                    <a:pt x="342" y="270"/>
                  </a:lnTo>
                  <a:lnTo>
                    <a:pt x="347" y="264"/>
                  </a:lnTo>
                  <a:lnTo>
                    <a:pt x="352" y="259"/>
                  </a:lnTo>
                  <a:lnTo>
                    <a:pt x="357" y="253"/>
                  </a:lnTo>
                  <a:lnTo>
                    <a:pt x="363" y="247"/>
                  </a:lnTo>
                  <a:lnTo>
                    <a:pt x="368" y="243"/>
                  </a:lnTo>
                  <a:lnTo>
                    <a:pt x="374" y="238"/>
                  </a:lnTo>
                  <a:lnTo>
                    <a:pt x="381" y="234"/>
                  </a:lnTo>
                  <a:lnTo>
                    <a:pt x="392" y="228"/>
                  </a:lnTo>
                  <a:lnTo>
                    <a:pt x="404" y="223"/>
                  </a:lnTo>
                  <a:lnTo>
                    <a:pt x="416" y="218"/>
                  </a:lnTo>
                  <a:lnTo>
                    <a:pt x="428" y="214"/>
                  </a:lnTo>
                  <a:lnTo>
                    <a:pt x="454" y="207"/>
                  </a:lnTo>
                  <a:lnTo>
                    <a:pt x="478" y="203"/>
                  </a:lnTo>
                  <a:lnTo>
                    <a:pt x="501" y="200"/>
                  </a:lnTo>
                  <a:lnTo>
                    <a:pt x="520" y="198"/>
                  </a:lnTo>
                  <a:lnTo>
                    <a:pt x="534" y="197"/>
                  </a:lnTo>
                  <a:lnTo>
                    <a:pt x="543" y="197"/>
                  </a:lnTo>
                  <a:lnTo>
                    <a:pt x="559" y="198"/>
                  </a:lnTo>
                  <a:lnTo>
                    <a:pt x="574" y="198"/>
                  </a:lnTo>
                  <a:lnTo>
                    <a:pt x="591" y="200"/>
                  </a:lnTo>
                  <a:lnTo>
                    <a:pt x="606" y="202"/>
                  </a:lnTo>
                  <a:lnTo>
                    <a:pt x="621" y="205"/>
                  </a:lnTo>
                  <a:lnTo>
                    <a:pt x="636" y="209"/>
                  </a:lnTo>
                  <a:lnTo>
                    <a:pt x="652" y="213"/>
                  </a:lnTo>
                  <a:lnTo>
                    <a:pt x="666" y="219"/>
                  </a:lnTo>
                  <a:lnTo>
                    <a:pt x="680" y="225"/>
                  </a:lnTo>
                  <a:lnTo>
                    <a:pt x="694" y="232"/>
                  </a:lnTo>
                  <a:lnTo>
                    <a:pt x="706" y="241"/>
                  </a:lnTo>
                  <a:lnTo>
                    <a:pt x="718" y="251"/>
                  </a:lnTo>
                  <a:lnTo>
                    <a:pt x="730" y="261"/>
                  </a:lnTo>
                  <a:lnTo>
                    <a:pt x="741" y="273"/>
                  </a:lnTo>
                  <a:lnTo>
                    <a:pt x="751" y="286"/>
                  </a:lnTo>
                  <a:lnTo>
                    <a:pt x="760" y="299"/>
                  </a:lnTo>
                  <a:lnTo>
                    <a:pt x="762" y="302"/>
                  </a:lnTo>
                  <a:lnTo>
                    <a:pt x="764" y="307"/>
                  </a:lnTo>
                  <a:lnTo>
                    <a:pt x="767" y="312"/>
                  </a:lnTo>
                  <a:lnTo>
                    <a:pt x="770" y="317"/>
                  </a:lnTo>
                  <a:lnTo>
                    <a:pt x="773" y="323"/>
                  </a:lnTo>
                  <a:lnTo>
                    <a:pt x="776" y="330"/>
                  </a:lnTo>
                  <a:lnTo>
                    <a:pt x="779" y="337"/>
                  </a:lnTo>
                  <a:lnTo>
                    <a:pt x="782" y="345"/>
                  </a:lnTo>
                  <a:lnTo>
                    <a:pt x="796" y="342"/>
                  </a:lnTo>
                  <a:lnTo>
                    <a:pt x="808" y="339"/>
                  </a:lnTo>
                  <a:lnTo>
                    <a:pt x="821" y="336"/>
                  </a:lnTo>
                  <a:lnTo>
                    <a:pt x="834" y="333"/>
                  </a:lnTo>
                  <a:lnTo>
                    <a:pt x="847" y="331"/>
                  </a:lnTo>
                  <a:lnTo>
                    <a:pt x="859" y="327"/>
                  </a:lnTo>
                  <a:lnTo>
                    <a:pt x="872" y="324"/>
                  </a:lnTo>
                  <a:lnTo>
                    <a:pt x="884" y="321"/>
                  </a:lnTo>
                  <a:lnTo>
                    <a:pt x="900" y="317"/>
                  </a:lnTo>
                  <a:lnTo>
                    <a:pt x="915" y="313"/>
                  </a:lnTo>
                  <a:lnTo>
                    <a:pt x="929" y="308"/>
                  </a:lnTo>
                  <a:lnTo>
                    <a:pt x="945" y="303"/>
                  </a:lnTo>
                  <a:lnTo>
                    <a:pt x="960" y="299"/>
                  </a:lnTo>
                  <a:lnTo>
                    <a:pt x="974" y="294"/>
                  </a:lnTo>
                  <a:lnTo>
                    <a:pt x="989" y="290"/>
                  </a:lnTo>
                  <a:lnTo>
                    <a:pt x="1004" y="285"/>
                  </a:lnTo>
                  <a:lnTo>
                    <a:pt x="1003" y="280"/>
                  </a:lnTo>
                  <a:lnTo>
                    <a:pt x="1001" y="274"/>
                  </a:lnTo>
                  <a:lnTo>
                    <a:pt x="998" y="265"/>
                  </a:lnTo>
                  <a:lnTo>
                    <a:pt x="995" y="255"/>
                  </a:lnTo>
                  <a:lnTo>
                    <a:pt x="990" y="244"/>
                  </a:lnTo>
                  <a:lnTo>
                    <a:pt x="984" y="232"/>
                  </a:lnTo>
                  <a:lnTo>
                    <a:pt x="979" y="220"/>
                  </a:lnTo>
                  <a:lnTo>
                    <a:pt x="972" y="208"/>
                  </a:lnTo>
                  <a:lnTo>
                    <a:pt x="962" y="191"/>
                  </a:lnTo>
                  <a:lnTo>
                    <a:pt x="951" y="176"/>
                  </a:lnTo>
                  <a:lnTo>
                    <a:pt x="938" y="162"/>
                  </a:lnTo>
                  <a:lnTo>
                    <a:pt x="927" y="150"/>
                  </a:lnTo>
                  <a:lnTo>
                    <a:pt x="916" y="139"/>
                  </a:lnTo>
                  <a:lnTo>
                    <a:pt x="906" y="129"/>
                  </a:lnTo>
                  <a:lnTo>
                    <a:pt x="898" y="121"/>
                  </a:lnTo>
                  <a:lnTo>
                    <a:pt x="891" y="116"/>
                  </a:lnTo>
                  <a:lnTo>
                    <a:pt x="879" y="106"/>
                  </a:lnTo>
                  <a:lnTo>
                    <a:pt x="866" y="96"/>
                  </a:lnTo>
                  <a:lnTo>
                    <a:pt x="853" y="87"/>
                  </a:lnTo>
                  <a:lnTo>
                    <a:pt x="840" y="78"/>
                  </a:lnTo>
                  <a:lnTo>
                    <a:pt x="814" y="63"/>
                  </a:lnTo>
                  <a:lnTo>
                    <a:pt x="788" y="50"/>
                  </a:lnTo>
                  <a:lnTo>
                    <a:pt x="762" y="39"/>
                  </a:lnTo>
                  <a:lnTo>
                    <a:pt x="736" y="30"/>
                  </a:lnTo>
                  <a:lnTo>
                    <a:pt x="711" y="21"/>
                  </a:lnTo>
                  <a:lnTo>
                    <a:pt x="686" y="15"/>
                  </a:lnTo>
                  <a:lnTo>
                    <a:pt x="663" y="10"/>
                  </a:lnTo>
                  <a:lnTo>
                    <a:pt x="641" y="7"/>
                  </a:lnTo>
                  <a:lnTo>
                    <a:pt x="619" y="4"/>
                  </a:lnTo>
                  <a:lnTo>
                    <a:pt x="600" y="2"/>
                  </a:lnTo>
                  <a:lnTo>
                    <a:pt x="565" y="0"/>
                  </a:lnTo>
                  <a:lnTo>
                    <a:pt x="539" y="0"/>
                  </a:lnTo>
                  <a:lnTo>
                    <a:pt x="516" y="0"/>
                  </a:lnTo>
                  <a:lnTo>
                    <a:pt x="496" y="1"/>
                  </a:lnTo>
                  <a:lnTo>
                    <a:pt x="474" y="3"/>
                  </a:lnTo>
                  <a:lnTo>
                    <a:pt x="455" y="5"/>
                  </a:lnTo>
                  <a:lnTo>
                    <a:pt x="435" y="8"/>
                  </a:lnTo>
                  <a:lnTo>
                    <a:pt x="416" y="11"/>
                  </a:lnTo>
                  <a:lnTo>
                    <a:pt x="398" y="14"/>
                  </a:lnTo>
                  <a:lnTo>
                    <a:pt x="380" y="18"/>
                  </a:lnTo>
                  <a:lnTo>
                    <a:pt x="363" y="23"/>
                  </a:lnTo>
                  <a:lnTo>
                    <a:pt x="347" y="29"/>
                  </a:lnTo>
                  <a:lnTo>
                    <a:pt x="332" y="34"/>
                  </a:lnTo>
                  <a:lnTo>
                    <a:pt x="316" y="40"/>
                  </a:lnTo>
                  <a:lnTo>
                    <a:pt x="287" y="52"/>
                  </a:lnTo>
                  <a:lnTo>
                    <a:pt x="260" y="65"/>
                  </a:lnTo>
                  <a:lnTo>
                    <a:pt x="237" y="80"/>
                  </a:lnTo>
                  <a:lnTo>
                    <a:pt x="214" y="96"/>
                  </a:lnTo>
                  <a:lnTo>
                    <a:pt x="194" y="112"/>
                  </a:lnTo>
                  <a:lnTo>
                    <a:pt x="175" y="128"/>
                  </a:lnTo>
                  <a:lnTo>
                    <a:pt x="159" y="145"/>
                  </a:lnTo>
                  <a:lnTo>
                    <a:pt x="145" y="161"/>
                  </a:lnTo>
                  <a:lnTo>
                    <a:pt x="133" y="177"/>
                  </a:lnTo>
                  <a:lnTo>
                    <a:pt x="122" y="193"/>
                  </a:lnTo>
                  <a:lnTo>
                    <a:pt x="112" y="209"/>
                  </a:lnTo>
                  <a:lnTo>
                    <a:pt x="104" y="225"/>
                  </a:lnTo>
                  <a:lnTo>
                    <a:pt x="97" y="241"/>
                  </a:lnTo>
                  <a:lnTo>
                    <a:pt x="91" y="257"/>
                  </a:lnTo>
                  <a:lnTo>
                    <a:pt x="86" y="273"/>
                  </a:lnTo>
                  <a:lnTo>
                    <a:pt x="81" y="288"/>
                  </a:lnTo>
                  <a:lnTo>
                    <a:pt x="78" y="302"/>
                  </a:lnTo>
                  <a:lnTo>
                    <a:pt x="74" y="318"/>
                  </a:lnTo>
                  <a:lnTo>
                    <a:pt x="69" y="344"/>
                  </a:lnTo>
                  <a:lnTo>
                    <a:pt x="67" y="369"/>
                  </a:lnTo>
                  <a:lnTo>
                    <a:pt x="66" y="389"/>
                  </a:lnTo>
                  <a:lnTo>
                    <a:pt x="65" y="404"/>
                  </a:lnTo>
                  <a:lnTo>
                    <a:pt x="66" y="424"/>
                  </a:lnTo>
                  <a:lnTo>
                    <a:pt x="67" y="447"/>
                  </a:lnTo>
                  <a:lnTo>
                    <a:pt x="69" y="460"/>
                  </a:lnTo>
                  <a:lnTo>
                    <a:pt x="71" y="473"/>
                  </a:lnTo>
                  <a:lnTo>
                    <a:pt x="74" y="489"/>
                  </a:lnTo>
                  <a:lnTo>
                    <a:pt x="79" y="503"/>
                  </a:lnTo>
                  <a:lnTo>
                    <a:pt x="84" y="519"/>
                  </a:lnTo>
                  <a:lnTo>
                    <a:pt x="90" y="536"/>
                  </a:lnTo>
                  <a:lnTo>
                    <a:pt x="97" y="552"/>
                  </a:lnTo>
                  <a:lnTo>
                    <a:pt x="105" y="568"/>
                  </a:lnTo>
                  <a:lnTo>
                    <a:pt x="115" y="585"/>
                  </a:lnTo>
                  <a:lnTo>
                    <a:pt x="126" y="603"/>
                  </a:lnTo>
                  <a:lnTo>
                    <a:pt x="139" y="620"/>
                  </a:lnTo>
                  <a:lnTo>
                    <a:pt x="154" y="637"/>
                  </a:lnTo>
                  <a:lnTo>
                    <a:pt x="165" y="650"/>
                  </a:lnTo>
                  <a:lnTo>
                    <a:pt x="177" y="660"/>
                  </a:lnTo>
                  <a:lnTo>
                    <a:pt x="189" y="670"/>
                  </a:lnTo>
                  <a:lnTo>
                    <a:pt x="200" y="679"/>
                  </a:lnTo>
                  <a:lnTo>
                    <a:pt x="211" y="687"/>
                  </a:lnTo>
                  <a:lnTo>
                    <a:pt x="221" y="695"/>
                  </a:lnTo>
                  <a:lnTo>
                    <a:pt x="232" y="702"/>
                  </a:lnTo>
                  <a:lnTo>
                    <a:pt x="243" y="708"/>
                  </a:lnTo>
                  <a:lnTo>
                    <a:pt x="262" y="718"/>
                  </a:lnTo>
                  <a:lnTo>
                    <a:pt x="279" y="726"/>
                  </a:lnTo>
                  <a:lnTo>
                    <a:pt x="296" y="732"/>
                  </a:lnTo>
                  <a:lnTo>
                    <a:pt x="310" y="736"/>
                  </a:lnTo>
                  <a:lnTo>
                    <a:pt x="317" y="738"/>
                  </a:lnTo>
                  <a:lnTo>
                    <a:pt x="325" y="740"/>
                  </a:lnTo>
                  <a:lnTo>
                    <a:pt x="333" y="743"/>
                  </a:lnTo>
                  <a:lnTo>
                    <a:pt x="341" y="745"/>
                  </a:lnTo>
                  <a:lnTo>
                    <a:pt x="349" y="747"/>
                  </a:lnTo>
                  <a:lnTo>
                    <a:pt x="357" y="750"/>
                  </a:lnTo>
                  <a:lnTo>
                    <a:pt x="365" y="752"/>
                  </a:lnTo>
                  <a:lnTo>
                    <a:pt x="373" y="756"/>
                  </a:lnTo>
                  <a:lnTo>
                    <a:pt x="389" y="761"/>
                  </a:lnTo>
                  <a:lnTo>
                    <a:pt x="405" y="765"/>
                  </a:lnTo>
                  <a:lnTo>
                    <a:pt x="420" y="770"/>
                  </a:lnTo>
                  <a:lnTo>
                    <a:pt x="437" y="774"/>
                  </a:lnTo>
                  <a:lnTo>
                    <a:pt x="453" y="778"/>
                  </a:lnTo>
                  <a:lnTo>
                    <a:pt x="468" y="782"/>
                  </a:lnTo>
                  <a:lnTo>
                    <a:pt x="485" y="786"/>
                  </a:lnTo>
                  <a:lnTo>
                    <a:pt x="501" y="791"/>
                  </a:lnTo>
                  <a:lnTo>
                    <a:pt x="529" y="797"/>
                  </a:lnTo>
                  <a:lnTo>
                    <a:pt x="561" y="804"/>
                  </a:lnTo>
                  <a:lnTo>
                    <a:pt x="594" y="812"/>
                  </a:lnTo>
                  <a:lnTo>
                    <a:pt x="627" y="820"/>
                  </a:lnTo>
                  <a:lnTo>
                    <a:pt x="660" y="829"/>
                  </a:lnTo>
                  <a:lnTo>
                    <a:pt x="692" y="840"/>
                  </a:lnTo>
                  <a:lnTo>
                    <a:pt x="706" y="846"/>
                  </a:lnTo>
                  <a:lnTo>
                    <a:pt x="720" y="852"/>
                  </a:lnTo>
                  <a:lnTo>
                    <a:pt x="733" y="858"/>
                  </a:lnTo>
                  <a:lnTo>
                    <a:pt x="745" y="866"/>
                  </a:lnTo>
                  <a:lnTo>
                    <a:pt x="755" y="873"/>
                  </a:lnTo>
                  <a:lnTo>
                    <a:pt x="764" y="880"/>
                  </a:lnTo>
                  <a:lnTo>
                    <a:pt x="772" y="888"/>
                  </a:lnTo>
                  <a:lnTo>
                    <a:pt x="779" y="896"/>
                  </a:lnTo>
                  <a:lnTo>
                    <a:pt x="785" y="905"/>
                  </a:lnTo>
                  <a:lnTo>
                    <a:pt x="791" y="913"/>
                  </a:lnTo>
                  <a:lnTo>
                    <a:pt x="795" y="923"/>
                  </a:lnTo>
                  <a:lnTo>
                    <a:pt x="799" y="931"/>
                  </a:lnTo>
                  <a:lnTo>
                    <a:pt x="805" y="947"/>
                  </a:lnTo>
                  <a:lnTo>
                    <a:pt x="808" y="962"/>
                  </a:lnTo>
                  <a:lnTo>
                    <a:pt x="810" y="975"/>
                  </a:lnTo>
                  <a:lnTo>
                    <a:pt x="811" y="986"/>
                  </a:lnTo>
                  <a:lnTo>
                    <a:pt x="811" y="994"/>
                  </a:lnTo>
                  <a:lnTo>
                    <a:pt x="810" y="1004"/>
                  </a:lnTo>
                  <a:lnTo>
                    <a:pt x="808" y="1015"/>
                  </a:lnTo>
                  <a:lnTo>
                    <a:pt x="805" y="1027"/>
                  </a:lnTo>
                  <a:lnTo>
                    <a:pt x="801" y="1041"/>
                  </a:lnTo>
                  <a:lnTo>
                    <a:pt x="795" y="1054"/>
                  </a:lnTo>
                  <a:lnTo>
                    <a:pt x="787" y="1068"/>
                  </a:lnTo>
                  <a:lnTo>
                    <a:pt x="777" y="1083"/>
                  </a:lnTo>
                  <a:lnTo>
                    <a:pt x="770" y="1091"/>
                  </a:lnTo>
                  <a:lnTo>
                    <a:pt x="764" y="1097"/>
                  </a:lnTo>
                  <a:lnTo>
                    <a:pt x="757" y="1103"/>
                  </a:lnTo>
                  <a:lnTo>
                    <a:pt x="750" y="1109"/>
                  </a:lnTo>
                  <a:lnTo>
                    <a:pt x="743" y="1115"/>
                  </a:lnTo>
                  <a:lnTo>
                    <a:pt x="735" y="1120"/>
                  </a:lnTo>
                  <a:lnTo>
                    <a:pt x="728" y="1125"/>
                  </a:lnTo>
                  <a:lnTo>
                    <a:pt x="721" y="1130"/>
                  </a:lnTo>
                  <a:lnTo>
                    <a:pt x="708" y="1136"/>
                  </a:lnTo>
                  <a:lnTo>
                    <a:pt x="696" y="1141"/>
                  </a:lnTo>
                  <a:lnTo>
                    <a:pt x="681" y="1147"/>
                  </a:lnTo>
                  <a:lnTo>
                    <a:pt x="668" y="1151"/>
                  </a:lnTo>
                  <a:lnTo>
                    <a:pt x="641" y="1157"/>
                  </a:lnTo>
                  <a:lnTo>
                    <a:pt x="614" y="1161"/>
                  </a:lnTo>
                  <a:lnTo>
                    <a:pt x="590" y="1164"/>
                  </a:lnTo>
                  <a:lnTo>
                    <a:pt x="569" y="1165"/>
                  </a:lnTo>
                  <a:lnTo>
                    <a:pt x="554" y="1166"/>
                  </a:lnTo>
                  <a:lnTo>
                    <a:pt x="545" y="1166"/>
                  </a:lnTo>
                  <a:lnTo>
                    <a:pt x="514" y="1165"/>
                  </a:lnTo>
                  <a:lnTo>
                    <a:pt x="487" y="1163"/>
                  </a:lnTo>
                  <a:lnTo>
                    <a:pt x="460" y="1160"/>
                  </a:lnTo>
                  <a:lnTo>
                    <a:pt x="436" y="1156"/>
                  </a:lnTo>
                  <a:lnTo>
                    <a:pt x="413" y="1151"/>
                  </a:lnTo>
                  <a:lnTo>
                    <a:pt x="392" y="1144"/>
                  </a:lnTo>
                  <a:lnTo>
                    <a:pt x="372" y="1138"/>
                  </a:lnTo>
                  <a:lnTo>
                    <a:pt x="355" y="1130"/>
                  </a:lnTo>
                  <a:lnTo>
                    <a:pt x="338" y="1122"/>
                  </a:lnTo>
                  <a:lnTo>
                    <a:pt x="323" y="1113"/>
                  </a:lnTo>
                  <a:lnTo>
                    <a:pt x="309" y="1103"/>
                  </a:lnTo>
                  <a:lnTo>
                    <a:pt x="297" y="1093"/>
                  </a:lnTo>
                  <a:lnTo>
                    <a:pt x="286" y="1082"/>
                  </a:lnTo>
                  <a:lnTo>
                    <a:pt x="275" y="1071"/>
                  </a:lnTo>
                  <a:lnTo>
                    <a:pt x="267" y="1059"/>
                  </a:lnTo>
                  <a:lnTo>
                    <a:pt x="259" y="1048"/>
                  </a:lnTo>
                  <a:lnTo>
                    <a:pt x="254" y="1040"/>
                  </a:lnTo>
                  <a:lnTo>
                    <a:pt x="249" y="1031"/>
                  </a:lnTo>
                  <a:lnTo>
                    <a:pt x="245" y="1023"/>
                  </a:lnTo>
                  <a:lnTo>
                    <a:pt x="241" y="1015"/>
                  </a:lnTo>
                  <a:lnTo>
                    <a:pt x="238" y="1008"/>
                  </a:lnTo>
                  <a:lnTo>
                    <a:pt x="235" y="1000"/>
                  </a:lnTo>
                  <a:lnTo>
                    <a:pt x="232" y="991"/>
                  </a:lnTo>
                  <a:lnTo>
                    <a:pt x="228" y="983"/>
                  </a:lnTo>
                  <a:lnTo>
                    <a:pt x="0" y="1025"/>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66" name="Freeform 18"/>
            <p:cNvSpPr>
              <a:spLocks noEditPoints="1"/>
            </p:cNvSpPr>
            <p:nvPr userDrawn="1"/>
          </p:nvSpPr>
          <p:spPr bwMode="auto">
            <a:xfrm>
              <a:off x="5267" y="362"/>
              <a:ext cx="44" cy="50"/>
            </a:xfrm>
            <a:custGeom>
              <a:avLst/>
              <a:gdLst>
                <a:gd name="T0" fmla="*/ 0 w 873"/>
                <a:gd name="T1" fmla="*/ 0 h 1017"/>
                <a:gd name="T2" fmla="*/ 0 w 873"/>
                <a:gd name="T3" fmla="*/ 0 h 1017"/>
                <a:gd name="T4" fmla="*/ 0 w 873"/>
                <a:gd name="T5" fmla="*/ 0 h 1017"/>
                <a:gd name="T6" fmla="*/ 0 w 873"/>
                <a:gd name="T7" fmla="*/ 0 h 1017"/>
                <a:gd name="T8" fmla="*/ 0 w 873"/>
                <a:gd name="T9" fmla="*/ 0 h 1017"/>
                <a:gd name="T10" fmla="*/ 0 w 873"/>
                <a:gd name="T11" fmla="*/ 0 h 1017"/>
                <a:gd name="T12" fmla="*/ 0 w 873"/>
                <a:gd name="T13" fmla="*/ 0 h 1017"/>
                <a:gd name="T14" fmla="*/ 0 w 873"/>
                <a:gd name="T15" fmla="*/ 0 h 1017"/>
                <a:gd name="T16" fmla="*/ 0 w 873"/>
                <a:gd name="T17" fmla="*/ 0 h 1017"/>
                <a:gd name="T18" fmla="*/ 0 w 873"/>
                <a:gd name="T19" fmla="*/ 0 h 1017"/>
                <a:gd name="T20" fmla="*/ 0 w 873"/>
                <a:gd name="T21" fmla="*/ 0 h 1017"/>
                <a:gd name="T22" fmla="*/ 0 w 873"/>
                <a:gd name="T23" fmla="*/ 0 h 1017"/>
                <a:gd name="T24" fmla="*/ 0 w 873"/>
                <a:gd name="T25" fmla="*/ 0 h 1017"/>
                <a:gd name="T26" fmla="*/ 0 w 873"/>
                <a:gd name="T27" fmla="*/ 0 h 1017"/>
                <a:gd name="T28" fmla="*/ 0 w 873"/>
                <a:gd name="T29" fmla="*/ 0 h 1017"/>
                <a:gd name="T30" fmla="*/ 0 w 873"/>
                <a:gd name="T31" fmla="*/ 0 h 1017"/>
                <a:gd name="T32" fmla="*/ 0 w 873"/>
                <a:gd name="T33" fmla="*/ 0 h 1017"/>
                <a:gd name="T34" fmla="*/ 0 w 873"/>
                <a:gd name="T35" fmla="*/ 0 h 1017"/>
                <a:gd name="T36" fmla="*/ 0 w 873"/>
                <a:gd name="T37" fmla="*/ 0 h 1017"/>
                <a:gd name="T38" fmla="*/ 0 w 873"/>
                <a:gd name="T39" fmla="*/ 0 h 1017"/>
                <a:gd name="T40" fmla="*/ 0 w 873"/>
                <a:gd name="T41" fmla="*/ 0 h 1017"/>
                <a:gd name="T42" fmla="*/ 0 w 873"/>
                <a:gd name="T43" fmla="*/ 0 h 1017"/>
                <a:gd name="T44" fmla="*/ 0 w 873"/>
                <a:gd name="T45" fmla="*/ 0 h 1017"/>
                <a:gd name="T46" fmla="*/ 0 w 873"/>
                <a:gd name="T47" fmla="*/ 0 h 1017"/>
                <a:gd name="T48" fmla="*/ 0 w 873"/>
                <a:gd name="T49" fmla="*/ 0 h 1017"/>
                <a:gd name="T50" fmla="*/ 0 w 873"/>
                <a:gd name="T51" fmla="*/ 0 h 1017"/>
                <a:gd name="T52" fmla="*/ 0 w 873"/>
                <a:gd name="T53" fmla="*/ 0 h 1017"/>
                <a:gd name="T54" fmla="*/ 0 w 873"/>
                <a:gd name="T55" fmla="*/ 0 h 1017"/>
                <a:gd name="T56" fmla="*/ 0 w 873"/>
                <a:gd name="T57" fmla="*/ 0 h 1017"/>
                <a:gd name="T58" fmla="*/ 0 w 873"/>
                <a:gd name="T59" fmla="*/ 0 h 1017"/>
                <a:gd name="T60" fmla="*/ 0 w 873"/>
                <a:gd name="T61" fmla="*/ 0 h 1017"/>
                <a:gd name="T62" fmla="*/ 0 w 873"/>
                <a:gd name="T63" fmla="*/ 0 h 1017"/>
                <a:gd name="T64" fmla="*/ 0 w 873"/>
                <a:gd name="T65" fmla="*/ 0 h 1017"/>
                <a:gd name="T66" fmla="*/ 0 w 873"/>
                <a:gd name="T67" fmla="*/ 0 h 1017"/>
                <a:gd name="T68" fmla="*/ 0 w 873"/>
                <a:gd name="T69" fmla="*/ 0 h 1017"/>
                <a:gd name="T70" fmla="*/ 0 w 873"/>
                <a:gd name="T71" fmla="*/ 0 h 1017"/>
                <a:gd name="T72" fmla="*/ 0 w 873"/>
                <a:gd name="T73" fmla="*/ 0 h 1017"/>
                <a:gd name="T74" fmla="*/ 0 w 873"/>
                <a:gd name="T75" fmla="*/ 0 h 1017"/>
                <a:gd name="T76" fmla="*/ 0 w 873"/>
                <a:gd name="T77" fmla="*/ 0 h 1017"/>
                <a:gd name="T78" fmla="*/ 0 w 873"/>
                <a:gd name="T79" fmla="*/ 0 h 1017"/>
                <a:gd name="T80" fmla="*/ 0 w 873"/>
                <a:gd name="T81" fmla="*/ 0 h 1017"/>
                <a:gd name="T82" fmla="*/ 0 w 873"/>
                <a:gd name="T83" fmla="*/ 0 h 1017"/>
                <a:gd name="T84" fmla="*/ 0 w 873"/>
                <a:gd name="T85" fmla="*/ 0 h 1017"/>
                <a:gd name="T86" fmla="*/ 0 w 873"/>
                <a:gd name="T87" fmla="*/ 0 h 1017"/>
                <a:gd name="T88" fmla="*/ 0 w 873"/>
                <a:gd name="T89" fmla="*/ 0 h 1017"/>
                <a:gd name="T90" fmla="*/ 0 w 873"/>
                <a:gd name="T91" fmla="*/ 0 h 1017"/>
                <a:gd name="T92" fmla="*/ 0 w 873"/>
                <a:gd name="T93" fmla="*/ 0 h 1017"/>
                <a:gd name="T94" fmla="*/ 0 w 873"/>
                <a:gd name="T95" fmla="*/ 0 h 1017"/>
                <a:gd name="T96" fmla="*/ 0 w 873"/>
                <a:gd name="T97" fmla="*/ 0 h 1017"/>
                <a:gd name="T98" fmla="*/ 0 w 873"/>
                <a:gd name="T99" fmla="*/ 0 h 1017"/>
                <a:gd name="T100" fmla="*/ 0 w 873"/>
                <a:gd name="T101" fmla="*/ 0 h 1017"/>
                <a:gd name="T102" fmla="*/ 0 w 873"/>
                <a:gd name="T103" fmla="*/ 0 h 1017"/>
                <a:gd name="T104" fmla="*/ 0 w 873"/>
                <a:gd name="T105" fmla="*/ 0 h 1017"/>
                <a:gd name="T106" fmla="*/ 0 w 873"/>
                <a:gd name="T107" fmla="*/ 0 h 1017"/>
                <a:gd name="T108" fmla="*/ 0 w 873"/>
                <a:gd name="T109" fmla="*/ 0 h 1017"/>
                <a:gd name="T110" fmla="*/ 0 w 873"/>
                <a:gd name="T111" fmla="*/ 0 h 1017"/>
                <a:gd name="T112" fmla="*/ 0 w 873"/>
                <a:gd name="T113" fmla="*/ 0 h 1017"/>
                <a:gd name="T114" fmla="*/ 0 w 873"/>
                <a:gd name="T115" fmla="*/ 0 h 1017"/>
                <a:gd name="T116" fmla="*/ 0 w 873"/>
                <a:gd name="T117" fmla="*/ 0 h 1017"/>
                <a:gd name="T118" fmla="*/ 0 w 873"/>
                <a:gd name="T119" fmla="*/ 0 h 1017"/>
                <a:gd name="T120" fmla="*/ 0 w 873"/>
                <a:gd name="T121" fmla="*/ 0 h 1017"/>
                <a:gd name="T122" fmla="*/ 0 w 873"/>
                <a:gd name="T123" fmla="*/ 0 h 1017"/>
                <a:gd name="T124" fmla="*/ 0 w 873"/>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3" h="1017">
                  <a:moveTo>
                    <a:pt x="873" y="537"/>
                  </a:moveTo>
                  <a:lnTo>
                    <a:pt x="873" y="509"/>
                  </a:lnTo>
                  <a:lnTo>
                    <a:pt x="872" y="481"/>
                  </a:lnTo>
                  <a:lnTo>
                    <a:pt x="871" y="451"/>
                  </a:lnTo>
                  <a:lnTo>
                    <a:pt x="869" y="423"/>
                  </a:lnTo>
                  <a:lnTo>
                    <a:pt x="867" y="394"/>
                  </a:lnTo>
                  <a:lnTo>
                    <a:pt x="862" y="366"/>
                  </a:lnTo>
                  <a:lnTo>
                    <a:pt x="858" y="338"/>
                  </a:lnTo>
                  <a:lnTo>
                    <a:pt x="851" y="311"/>
                  </a:lnTo>
                  <a:lnTo>
                    <a:pt x="848" y="301"/>
                  </a:lnTo>
                  <a:lnTo>
                    <a:pt x="844" y="287"/>
                  </a:lnTo>
                  <a:lnTo>
                    <a:pt x="839" y="273"/>
                  </a:lnTo>
                  <a:lnTo>
                    <a:pt x="833" y="256"/>
                  </a:lnTo>
                  <a:lnTo>
                    <a:pt x="825" y="238"/>
                  </a:lnTo>
                  <a:lnTo>
                    <a:pt x="816" y="219"/>
                  </a:lnTo>
                  <a:lnTo>
                    <a:pt x="803" y="199"/>
                  </a:lnTo>
                  <a:lnTo>
                    <a:pt x="790" y="178"/>
                  </a:lnTo>
                  <a:lnTo>
                    <a:pt x="779" y="163"/>
                  </a:lnTo>
                  <a:lnTo>
                    <a:pt x="769" y="150"/>
                  </a:lnTo>
                  <a:lnTo>
                    <a:pt x="757" y="137"/>
                  </a:lnTo>
                  <a:lnTo>
                    <a:pt x="746" y="124"/>
                  </a:lnTo>
                  <a:lnTo>
                    <a:pt x="734" y="112"/>
                  </a:lnTo>
                  <a:lnTo>
                    <a:pt x="723" y="102"/>
                  </a:lnTo>
                  <a:lnTo>
                    <a:pt x="710" y="92"/>
                  </a:lnTo>
                  <a:lnTo>
                    <a:pt x="699" y="82"/>
                  </a:lnTo>
                  <a:lnTo>
                    <a:pt x="687" y="74"/>
                  </a:lnTo>
                  <a:lnTo>
                    <a:pt x="675" y="65"/>
                  </a:lnTo>
                  <a:lnTo>
                    <a:pt x="663" y="57"/>
                  </a:lnTo>
                  <a:lnTo>
                    <a:pt x="650" y="51"/>
                  </a:lnTo>
                  <a:lnTo>
                    <a:pt x="626" y="39"/>
                  </a:lnTo>
                  <a:lnTo>
                    <a:pt x="601" y="29"/>
                  </a:lnTo>
                  <a:lnTo>
                    <a:pt x="578" y="21"/>
                  </a:lnTo>
                  <a:lnTo>
                    <a:pt x="555" y="13"/>
                  </a:lnTo>
                  <a:lnTo>
                    <a:pt x="533" y="8"/>
                  </a:lnTo>
                  <a:lnTo>
                    <a:pt x="513" y="5"/>
                  </a:lnTo>
                  <a:lnTo>
                    <a:pt x="492" y="2"/>
                  </a:lnTo>
                  <a:lnTo>
                    <a:pt x="475" y="1"/>
                  </a:lnTo>
                  <a:lnTo>
                    <a:pt x="459" y="0"/>
                  </a:lnTo>
                  <a:lnTo>
                    <a:pt x="444" y="0"/>
                  </a:lnTo>
                  <a:lnTo>
                    <a:pt x="426" y="0"/>
                  </a:lnTo>
                  <a:lnTo>
                    <a:pt x="408" y="1"/>
                  </a:lnTo>
                  <a:lnTo>
                    <a:pt x="389" y="3"/>
                  </a:lnTo>
                  <a:lnTo>
                    <a:pt x="372" y="5"/>
                  </a:lnTo>
                  <a:lnTo>
                    <a:pt x="353" y="8"/>
                  </a:lnTo>
                  <a:lnTo>
                    <a:pt x="336" y="12"/>
                  </a:lnTo>
                  <a:lnTo>
                    <a:pt x="320" y="17"/>
                  </a:lnTo>
                  <a:lnTo>
                    <a:pt x="303" y="22"/>
                  </a:lnTo>
                  <a:lnTo>
                    <a:pt x="287" y="28"/>
                  </a:lnTo>
                  <a:lnTo>
                    <a:pt x="271" y="34"/>
                  </a:lnTo>
                  <a:lnTo>
                    <a:pt x="256" y="41"/>
                  </a:lnTo>
                  <a:lnTo>
                    <a:pt x="240" y="48"/>
                  </a:lnTo>
                  <a:lnTo>
                    <a:pt x="225" y="56"/>
                  </a:lnTo>
                  <a:lnTo>
                    <a:pt x="211" y="65"/>
                  </a:lnTo>
                  <a:lnTo>
                    <a:pt x="197" y="75"/>
                  </a:lnTo>
                  <a:lnTo>
                    <a:pt x="183" y="84"/>
                  </a:lnTo>
                  <a:lnTo>
                    <a:pt x="170" y="95"/>
                  </a:lnTo>
                  <a:lnTo>
                    <a:pt x="158" y="105"/>
                  </a:lnTo>
                  <a:lnTo>
                    <a:pt x="145" y="117"/>
                  </a:lnTo>
                  <a:lnTo>
                    <a:pt x="133" y="129"/>
                  </a:lnTo>
                  <a:lnTo>
                    <a:pt x="122" y="142"/>
                  </a:lnTo>
                  <a:lnTo>
                    <a:pt x="111" y="154"/>
                  </a:lnTo>
                  <a:lnTo>
                    <a:pt x="100" y="168"/>
                  </a:lnTo>
                  <a:lnTo>
                    <a:pt x="90" y="181"/>
                  </a:lnTo>
                  <a:lnTo>
                    <a:pt x="80" y="196"/>
                  </a:lnTo>
                  <a:lnTo>
                    <a:pt x="71" y="211"/>
                  </a:lnTo>
                  <a:lnTo>
                    <a:pt x="63" y="226"/>
                  </a:lnTo>
                  <a:lnTo>
                    <a:pt x="55" y="242"/>
                  </a:lnTo>
                  <a:lnTo>
                    <a:pt x="47" y="258"/>
                  </a:lnTo>
                  <a:lnTo>
                    <a:pt x="40" y="275"/>
                  </a:lnTo>
                  <a:lnTo>
                    <a:pt x="33" y="291"/>
                  </a:lnTo>
                  <a:lnTo>
                    <a:pt x="28" y="309"/>
                  </a:lnTo>
                  <a:lnTo>
                    <a:pt x="19" y="341"/>
                  </a:lnTo>
                  <a:lnTo>
                    <a:pt x="13" y="373"/>
                  </a:lnTo>
                  <a:lnTo>
                    <a:pt x="8" y="402"/>
                  </a:lnTo>
                  <a:lnTo>
                    <a:pt x="4" y="431"/>
                  </a:lnTo>
                  <a:lnTo>
                    <a:pt x="2" y="456"/>
                  </a:lnTo>
                  <a:lnTo>
                    <a:pt x="1" y="478"/>
                  </a:lnTo>
                  <a:lnTo>
                    <a:pt x="0" y="497"/>
                  </a:lnTo>
                  <a:lnTo>
                    <a:pt x="0" y="511"/>
                  </a:lnTo>
                  <a:lnTo>
                    <a:pt x="0" y="536"/>
                  </a:lnTo>
                  <a:lnTo>
                    <a:pt x="1" y="560"/>
                  </a:lnTo>
                  <a:lnTo>
                    <a:pt x="3" y="584"/>
                  </a:lnTo>
                  <a:lnTo>
                    <a:pt x="5" y="606"/>
                  </a:lnTo>
                  <a:lnTo>
                    <a:pt x="8" y="627"/>
                  </a:lnTo>
                  <a:lnTo>
                    <a:pt x="11" y="648"/>
                  </a:lnTo>
                  <a:lnTo>
                    <a:pt x="14" y="668"/>
                  </a:lnTo>
                  <a:lnTo>
                    <a:pt x="18" y="688"/>
                  </a:lnTo>
                  <a:lnTo>
                    <a:pt x="23" y="706"/>
                  </a:lnTo>
                  <a:lnTo>
                    <a:pt x="28" y="723"/>
                  </a:lnTo>
                  <a:lnTo>
                    <a:pt x="33" y="739"/>
                  </a:lnTo>
                  <a:lnTo>
                    <a:pt x="39" y="756"/>
                  </a:lnTo>
                  <a:lnTo>
                    <a:pt x="45" y="771"/>
                  </a:lnTo>
                  <a:lnTo>
                    <a:pt x="53" y="786"/>
                  </a:lnTo>
                  <a:lnTo>
                    <a:pt x="60" y="801"/>
                  </a:lnTo>
                  <a:lnTo>
                    <a:pt x="67" y="814"/>
                  </a:lnTo>
                  <a:lnTo>
                    <a:pt x="75" y="827"/>
                  </a:lnTo>
                  <a:lnTo>
                    <a:pt x="82" y="839"/>
                  </a:lnTo>
                  <a:lnTo>
                    <a:pt x="90" y="850"/>
                  </a:lnTo>
                  <a:lnTo>
                    <a:pt x="99" y="862"/>
                  </a:lnTo>
                  <a:lnTo>
                    <a:pt x="117" y="882"/>
                  </a:lnTo>
                  <a:lnTo>
                    <a:pt x="135" y="900"/>
                  </a:lnTo>
                  <a:lnTo>
                    <a:pt x="154" y="918"/>
                  </a:lnTo>
                  <a:lnTo>
                    <a:pt x="173" y="932"/>
                  </a:lnTo>
                  <a:lnTo>
                    <a:pt x="192" y="945"/>
                  </a:lnTo>
                  <a:lnTo>
                    <a:pt x="212" y="957"/>
                  </a:lnTo>
                  <a:lnTo>
                    <a:pt x="229" y="967"/>
                  </a:lnTo>
                  <a:lnTo>
                    <a:pt x="246" y="976"/>
                  </a:lnTo>
                  <a:lnTo>
                    <a:pt x="264" y="983"/>
                  </a:lnTo>
                  <a:lnTo>
                    <a:pt x="281" y="990"/>
                  </a:lnTo>
                  <a:lnTo>
                    <a:pt x="297" y="995"/>
                  </a:lnTo>
                  <a:lnTo>
                    <a:pt x="314" y="1000"/>
                  </a:lnTo>
                  <a:lnTo>
                    <a:pt x="329" y="1004"/>
                  </a:lnTo>
                  <a:lnTo>
                    <a:pt x="344" y="1007"/>
                  </a:lnTo>
                  <a:lnTo>
                    <a:pt x="372" y="1012"/>
                  </a:lnTo>
                  <a:lnTo>
                    <a:pt x="397" y="1015"/>
                  </a:lnTo>
                  <a:lnTo>
                    <a:pt x="420" y="1016"/>
                  </a:lnTo>
                  <a:lnTo>
                    <a:pt x="437" y="1017"/>
                  </a:lnTo>
                  <a:lnTo>
                    <a:pt x="464" y="1016"/>
                  </a:lnTo>
                  <a:lnTo>
                    <a:pt x="490" y="1014"/>
                  </a:lnTo>
                  <a:lnTo>
                    <a:pt x="517" y="1010"/>
                  </a:lnTo>
                  <a:lnTo>
                    <a:pt x="542" y="1005"/>
                  </a:lnTo>
                  <a:lnTo>
                    <a:pt x="568" y="999"/>
                  </a:lnTo>
                  <a:lnTo>
                    <a:pt x="592" y="991"/>
                  </a:lnTo>
                  <a:lnTo>
                    <a:pt x="617" y="982"/>
                  </a:lnTo>
                  <a:lnTo>
                    <a:pt x="640" y="972"/>
                  </a:lnTo>
                  <a:lnTo>
                    <a:pt x="664" y="959"/>
                  </a:lnTo>
                  <a:lnTo>
                    <a:pt x="685" y="946"/>
                  </a:lnTo>
                  <a:lnTo>
                    <a:pt x="706" y="932"/>
                  </a:lnTo>
                  <a:lnTo>
                    <a:pt x="727" y="916"/>
                  </a:lnTo>
                  <a:lnTo>
                    <a:pt x="746" y="898"/>
                  </a:lnTo>
                  <a:lnTo>
                    <a:pt x="765" y="880"/>
                  </a:lnTo>
                  <a:lnTo>
                    <a:pt x="782" y="861"/>
                  </a:lnTo>
                  <a:lnTo>
                    <a:pt x="797" y="839"/>
                  </a:lnTo>
                  <a:lnTo>
                    <a:pt x="809" y="821"/>
                  </a:lnTo>
                  <a:lnTo>
                    <a:pt x="820" y="802"/>
                  </a:lnTo>
                  <a:lnTo>
                    <a:pt x="830" y="783"/>
                  </a:lnTo>
                  <a:lnTo>
                    <a:pt x="839" y="765"/>
                  </a:lnTo>
                  <a:lnTo>
                    <a:pt x="847" y="748"/>
                  </a:lnTo>
                  <a:lnTo>
                    <a:pt x="853" y="733"/>
                  </a:lnTo>
                  <a:lnTo>
                    <a:pt x="858" y="722"/>
                  </a:lnTo>
                  <a:lnTo>
                    <a:pt x="861" y="715"/>
                  </a:lnTo>
                  <a:lnTo>
                    <a:pt x="660" y="683"/>
                  </a:lnTo>
                  <a:lnTo>
                    <a:pt x="657" y="692"/>
                  </a:lnTo>
                  <a:lnTo>
                    <a:pt x="654" y="700"/>
                  </a:lnTo>
                  <a:lnTo>
                    <a:pt x="651" y="708"/>
                  </a:lnTo>
                  <a:lnTo>
                    <a:pt x="648" y="715"/>
                  </a:lnTo>
                  <a:lnTo>
                    <a:pt x="645" y="723"/>
                  </a:lnTo>
                  <a:lnTo>
                    <a:pt x="641" y="730"/>
                  </a:lnTo>
                  <a:lnTo>
                    <a:pt x="637" y="737"/>
                  </a:lnTo>
                  <a:lnTo>
                    <a:pt x="632" y="746"/>
                  </a:lnTo>
                  <a:lnTo>
                    <a:pt x="624" y="757"/>
                  </a:lnTo>
                  <a:lnTo>
                    <a:pt x="616" y="767"/>
                  </a:lnTo>
                  <a:lnTo>
                    <a:pt x="606" y="776"/>
                  </a:lnTo>
                  <a:lnTo>
                    <a:pt x="596" y="786"/>
                  </a:lnTo>
                  <a:lnTo>
                    <a:pt x="586" y="794"/>
                  </a:lnTo>
                  <a:lnTo>
                    <a:pt x="575" y="803"/>
                  </a:lnTo>
                  <a:lnTo>
                    <a:pt x="564" y="810"/>
                  </a:lnTo>
                  <a:lnTo>
                    <a:pt x="552" y="817"/>
                  </a:lnTo>
                  <a:lnTo>
                    <a:pt x="540" y="823"/>
                  </a:lnTo>
                  <a:lnTo>
                    <a:pt x="528" y="828"/>
                  </a:lnTo>
                  <a:lnTo>
                    <a:pt x="516" y="832"/>
                  </a:lnTo>
                  <a:lnTo>
                    <a:pt x="502" y="836"/>
                  </a:lnTo>
                  <a:lnTo>
                    <a:pt x="490" y="839"/>
                  </a:lnTo>
                  <a:lnTo>
                    <a:pt x="477" y="841"/>
                  </a:lnTo>
                  <a:lnTo>
                    <a:pt x="464" y="842"/>
                  </a:lnTo>
                  <a:lnTo>
                    <a:pt x="450" y="842"/>
                  </a:lnTo>
                  <a:lnTo>
                    <a:pt x="439" y="842"/>
                  </a:lnTo>
                  <a:lnTo>
                    <a:pt x="426" y="841"/>
                  </a:lnTo>
                  <a:lnTo>
                    <a:pt x="412" y="839"/>
                  </a:lnTo>
                  <a:lnTo>
                    <a:pt x="395" y="835"/>
                  </a:lnTo>
                  <a:lnTo>
                    <a:pt x="387" y="833"/>
                  </a:lnTo>
                  <a:lnTo>
                    <a:pt x="379" y="829"/>
                  </a:lnTo>
                  <a:lnTo>
                    <a:pt x="370" y="826"/>
                  </a:lnTo>
                  <a:lnTo>
                    <a:pt x="362" y="821"/>
                  </a:lnTo>
                  <a:lnTo>
                    <a:pt x="352" y="816"/>
                  </a:lnTo>
                  <a:lnTo>
                    <a:pt x="343" y="810"/>
                  </a:lnTo>
                  <a:lnTo>
                    <a:pt x="334" y="803"/>
                  </a:lnTo>
                  <a:lnTo>
                    <a:pt x="324" y="794"/>
                  </a:lnTo>
                  <a:lnTo>
                    <a:pt x="310" y="781"/>
                  </a:lnTo>
                  <a:lnTo>
                    <a:pt x="297" y="767"/>
                  </a:lnTo>
                  <a:lnTo>
                    <a:pt x="286" y="753"/>
                  </a:lnTo>
                  <a:lnTo>
                    <a:pt x="277" y="737"/>
                  </a:lnTo>
                  <a:lnTo>
                    <a:pt x="269" y="723"/>
                  </a:lnTo>
                  <a:lnTo>
                    <a:pt x="262" y="708"/>
                  </a:lnTo>
                  <a:lnTo>
                    <a:pt x="256" y="694"/>
                  </a:lnTo>
                  <a:lnTo>
                    <a:pt x="250" y="679"/>
                  </a:lnTo>
                  <a:lnTo>
                    <a:pt x="246" y="666"/>
                  </a:lnTo>
                  <a:lnTo>
                    <a:pt x="243" y="653"/>
                  </a:lnTo>
                  <a:lnTo>
                    <a:pt x="240" y="641"/>
                  </a:lnTo>
                  <a:lnTo>
                    <a:pt x="238" y="629"/>
                  </a:lnTo>
                  <a:lnTo>
                    <a:pt x="236" y="609"/>
                  </a:lnTo>
                  <a:lnTo>
                    <a:pt x="234" y="594"/>
                  </a:lnTo>
                  <a:lnTo>
                    <a:pt x="234" y="587"/>
                  </a:lnTo>
                  <a:lnTo>
                    <a:pt x="233" y="580"/>
                  </a:lnTo>
                  <a:lnTo>
                    <a:pt x="232" y="572"/>
                  </a:lnTo>
                  <a:lnTo>
                    <a:pt x="232" y="565"/>
                  </a:lnTo>
                  <a:lnTo>
                    <a:pt x="231" y="559"/>
                  </a:lnTo>
                  <a:lnTo>
                    <a:pt x="231" y="552"/>
                  </a:lnTo>
                  <a:lnTo>
                    <a:pt x="231" y="546"/>
                  </a:lnTo>
                  <a:lnTo>
                    <a:pt x="231" y="540"/>
                  </a:lnTo>
                  <a:lnTo>
                    <a:pt x="873" y="537"/>
                  </a:lnTo>
                  <a:close/>
                  <a:moveTo>
                    <a:pt x="225" y="397"/>
                  </a:moveTo>
                  <a:lnTo>
                    <a:pt x="227" y="380"/>
                  </a:lnTo>
                  <a:lnTo>
                    <a:pt x="229" y="365"/>
                  </a:lnTo>
                  <a:lnTo>
                    <a:pt x="231" y="353"/>
                  </a:lnTo>
                  <a:lnTo>
                    <a:pt x="233" y="342"/>
                  </a:lnTo>
                  <a:lnTo>
                    <a:pt x="235" y="332"/>
                  </a:lnTo>
                  <a:lnTo>
                    <a:pt x="238" y="323"/>
                  </a:lnTo>
                  <a:lnTo>
                    <a:pt x="241" y="315"/>
                  </a:lnTo>
                  <a:lnTo>
                    <a:pt x="245" y="306"/>
                  </a:lnTo>
                  <a:lnTo>
                    <a:pt x="251" y="290"/>
                  </a:lnTo>
                  <a:lnTo>
                    <a:pt x="258" y="277"/>
                  </a:lnTo>
                  <a:lnTo>
                    <a:pt x="265" y="265"/>
                  </a:lnTo>
                  <a:lnTo>
                    <a:pt x="273" y="253"/>
                  </a:lnTo>
                  <a:lnTo>
                    <a:pt x="280" y="243"/>
                  </a:lnTo>
                  <a:lnTo>
                    <a:pt x="288" y="232"/>
                  </a:lnTo>
                  <a:lnTo>
                    <a:pt x="296" y="223"/>
                  </a:lnTo>
                  <a:lnTo>
                    <a:pt x="304" y="215"/>
                  </a:lnTo>
                  <a:lnTo>
                    <a:pt x="321" y="201"/>
                  </a:lnTo>
                  <a:lnTo>
                    <a:pt x="337" y="190"/>
                  </a:lnTo>
                  <a:lnTo>
                    <a:pt x="351" y="180"/>
                  </a:lnTo>
                  <a:lnTo>
                    <a:pt x="364" y="174"/>
                  </a:lnTo>
                  <a:lnTo>
                    <a:pt x="369" y="171"/>
                  </a:lnTo>
                  <a:lnTo>
                    <a:pt x="376" y="168"/>
                  </a:lnTo>
                  <a:lnTo>
                    <a:pt x="384" y="165"/>
                  </a:lnTo>
                  <a:lnTo>
                    <a:pt x="393" y="162"/>
                  </a:lnTo>
                  <a:lnTo>
                    <a:pt x="403" y="160"/>
                  </a:lnTo>
                  <a:lnTo>
                    <a:pt x="416" y="157"/>
                  </a:lnTo>
                  <a:lnTo>
                    <a:pt x="428" y="156"/>
                  </a:lnTo>
                  <a:lnTo>
                    <a:pt x="441" y="155"/>
                  </a:lnTo>
                  <a:lnTo>
                    <a:pt x="450" y="155"/>
                  </a:lnTo>
                  <a:lnTo>
                    <a:pt x="462" y="156"/>
                  </a:lnTo>
                  <a:lnTo>
                    <a:pt x="474" y="158"/>
                  </a:lnTo>
                  <a:lnTo>
                    <a:pt x="488" y="162"/>
                  </a:lnTo>
                  <a:lnTo>
                    <a:pt x="503" y="167"/>
                  </a:lnTo>
                  <a:lnTo>
                    <a:pt x="520" y="174"/>
                  </a:lnTo>
                  <a:lnTo>
                    <a:pt x="537" y="185"/>
                  </a:lnTo>
                  <a:lnTo>
                    <a:pt x="555" y="197"/>
                  </a:lnTo>
                  <a:lnTo>
                    <a:pt x="568" y="207"/>
                  </a:lnTo>
                  <a:lnTo>
                    <a:pt x="579" y="217"/>
                  </a:lnTo>
                  <a:lnTo>
                    <a:pt x="589" y="227"/>
                  </a:lnTo>
                  <a:lnTo>
                    <a:pt x="598" y="238"/>
                  </a:lnTo>
                  <a:lnTo>
                    <a:pt x="606" y="250"/>
                  </a:lnTo>
                  <a:lnTo>
                    <a:pt x="614" y="261"/>
                  </a:lnTo>
                  <a:lnTo>
                    <a:pt x="621" y="273"/>
                  </a:lnTo>
                  <a:lnTo>
                    <a:pt x="626" y="285"/>
                  </a:lnTo>
                  <a:lnTo>
                    <a:pt x="631" y="299"/>
                  </a:lnTo>
                  <a:lnTo>
                    <a:pt x="635" y="311"/>
                  </a:lnTo>
                  <a:lnTo>
                    <a:pt x="639" y="324"/>
                  </a:lnTo>
                  <a:lnTo>
                    <a:pt x="642" y="338"/>
                  </a:lnTo>
                  <a:lnTo>
                    <a:pt x="647" y="367"/>
                  </a:lnTo>
                  <a:lnTo>
                    <a:pt x="652" y="397"/>
                  </a:lnTo>
                  <a:lnTo>
                    <a:pt x="225" y="397"/>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67" name="Freeform 19"/>
            <p:cNvSpPr>
              <a:spLocks/>
            </p:cNvSpPr>
            <p:nvPr userDrawn="1"/>
          </p:nvSpPr>
          <p:spPr bwMode="auto">
            <a:xfrm>
              <a:off x="5320" y="361"/>
              <a:ext cx="40" cy="50"/>
            </a:xfrm>
            <a:custGeom>
              <a:avLst/>
              <a:gdLst>
                <a:gd name="T0" fmla="*/ 0 w 798"/>
                <a:gd name="T1" fmla="*/ 0 h 1000"/>
                <a:gd name="T2" fmla="*/ 0 w 798"/>
                <a:gd name="T3" fmla="*/ 0 h 1000"/>
                <a:gd name="T4" fmla="*/ 0 w 798"/>
                <a:gd name="T5" fmla="*/ 0 h 1000"/>
                <a:gd name="T6" fmla="*/ 0 w 798"/>
                <a:gd name="T7" fmla="*/ 0 h 1000"/>
                <a:gd name="T8" fmla="*/ 0 w 798"/>
                <a:gd name="T9" fmla="*/ 0 h 1000"/>
                <a:gd name="T10" fmla="*/ 0 w 798"/>
                <a:gd name="T11" fmla="*/ 0 h 1000"/>
                <a:gd name="T12" fmla="*/ 0 w 798"/>
                <a:gd name="T13" fmla="*/ 0 h 1000"/>
                <a:gd name="T14" fmla="*/ 0 w 798"/>
                <a:gd name="T15" fmla="*/ 0 h 1000"/>
                <a:gd name="T16" fmla="*/ 0 w 798"/>
                <a:gd name="T17" fmla="*/ 0 h 1000"/>
                <a:gd name="T18" fmla="*/ 0 w 798"/>
                <a:gd name="T19" fmla="*/ 0 h 1000"/>
                <a:gd name="T20" fmla="*/ 0 w 798"/>
                <a:gd name="T21" fmla="*/ 0 h 1000"/>
                <a:gd name="T22" fmla="*/ 0 w 798"/>
                <a:gd name="T23" fmla="*/ 0 h 1000"/>
                <a:gd name="T24" fmla="*/ 0 w 798"/>
                <a:gd name="T25" fmla="*/ 0 h 1000"/>
                <a:gd name="T26" fmla="*/ 0 w 798"/>
                <a:gd name="T27" fmla="*/ 0 h 1000"/>
                <a:gd name="T28" fmla="*/ 0 w 798"/>
                <a:gd name="T29" fmla="*/ 0 h 1000"/>
                <a:gd name="T30" fmla="*/ 0 w 798"/>
                <a:gd name="T31" fmla="*/ 0 h 1000"/>
                <a:gd name="T32" fmla="*/ 0 w 798"/>
                <a:gd name="T33" fmla="*/ 0 h 1000"/>
                <a:gd name="T34" fmla="*/ 0 w 798"/>
                <a:gd name="T35" fmla="*/ 0 h 1000"/>
                <a:gd name="T36" fmla="*/ 0 w 798"/>
                <a:gd name="T37" fmla="*/ 0 h 1000"/>
                <a:gd name="T38" fmla="*/ 0 w 798"/>
                <a:gd name="T39" fmla="*/ 0 h 1000"/>
                <a:gd name="T40" fmla="*/ 0 w 798"/>
                <a:gd name="T41" fmla="*/ 0 h 1000"/>
                <a:gd name="T42" fmla="*/ 0 w 798"/>
                <a:gd name="T43" fmla="*/ 0 h 1000"/>
                <a:gd name="T44" fmla="*/ 0 w 798"/>
                <a:gd name="T45" fmla="*/ 0 h 1000"/>
                <a:gd name="T46" fmla="*/ 0 w 798"/>
                <a:gd name="T47" fmla="*/ 0 h 1000"/>
                <a:gd name="T48" fmla="*/ 0 w 798"/>
                <a:gd name="T49" fmla="*/ 0 h 1000"/>
                <a:gd name="T50" fmla="*/ 0 w 798"/>
                <a:gd name="T51" fmla="*/ 0 h 1000"/>
                <a:gd name="T52" fmla="*/ 0 w 798"/>
                <a:gd name="T53" fmla="*/ 0 h 1000"/>
                <a:gd name="T54" fmla="*/ 0 w 798"/>
                <a:gd name="T55" fmla="*/ 0 h 1000"/>
                <a:gd name="T56" fmla="*/ 0 w 798"/>
                <a:gd name="T57" fmla="*/ 0 h 1000"/>
                <a:gd name="T58" fmla="*/ 0 w 798"/>
                <a:gd name="T59" fmla="*/ 0 h 1000"/>
                <a:gd name="T60" fmla="*/ 0 w 798"/>
                <a:gd name="T61" fmla="*/ 0 h 1000"/>
                <a:gd name="T62" fmla="*/ 0 w 798"/>
                <a:gd name="T63" fmla="*/ 0 h 1000"/>
                <a:gd name="T64" fmla="*/ 0 w 798"/>
                <a:gd name="T65" fmla="*/ 0 h 1000"/>
                <a:gd name="T66" fmla="*/ 0 w 798"/>
                <a:gd name="T67" fmla="*/ 0 h 1000"/>
                <a:gd name="T68" fmla="*/ 0 w 798"/>
                <a:gd name="T69" fmla="*/ 0 h 1000"/>
                <a:gd name="T70" fmla="*/ 0 w 798"/>
                <a:gd name="T71" fmla="*/ 0 h 1000"/>
                <a:gd name="T72" fmla="*/ 0 w 798"/>
                <a:gd name="T73" fmla="*/ 0 h 1000"/>
                <a:gd name="T74" fmla="*/ 0 w 798"/>
                <a:gd name="T75" fmla="*/ 0 h 1000"/>
                <a:gd name="T76" fmla="*/ 0 w 798"/>
                <a:gd name="T77" fmla="*/ 0 h 1000"/>
                <a:gd name="T78" fmla="*/ 0 w 798"/>
                <a:gd name="T79" fmla="*/ 0 h 1000"/>
                <a:gd name="T80" fmla="*/ 0 w 798"/>
                <a:gd name="T81" fmla="*/ 0 h 1000"/>
                <a:gd name="T82" fmla="*/ 0 w 798"/>
                <a:gd name="T83" fmla="*/ 0 h 1000"/>
                <a:gd name="T84" fmla="*/ 0 w 798"/>
                <a:gd name="T85" fmla="*/ 0 h 1000"/>
                <a:gd name="T86" fmla="*/ 0 w 798"/>
                <a:gd name="T87" fmla="*/ 0 h 1000"/>
                <a:gd name="T88" fmla="*/ 0 w 798"/>
                <a:gd name="T89" fmla="*/ 0 h 1000"/>
                <a:gd name="T90" fmla="*/ 0 w 798"/>
                <a:gd name="T91" fmla="*/ 0 h 1000"/>
                <a:gd name="T92" fmla="*/ 0 w 798"/>
                <a:gd name="T93" fmla="*/ 0 h 1000"/>
                <a:gd name="T94" fmla="*/ 0 w 798"/>
                <a:gd name="T95" fmla="*/ 0 h 1000"/>
                <a:gd name="T96" fmla="*/ 0 w 798"/>
                <a:gd name="T97" fmla="*/ 0 h 1000"/>
                <a:gd name="T98" fmla="*/ 0 w 798"/>
                <a:gd name="T99" fmla="*/ 0 h 1000"/>
                <a:gd name="T100" fmla="*/ 0 w 798"/>
                <a:gd name="T101" fmla="*/ 0 h 1000"/>
                <a:gd name="T102" fmla="*/ 0 w 798"/>
                <a:gd name="T103" fmla="*/ 0 h 1000"/>
                <a:gd name="T104" fmla="*/ 0 w 798"/>
                <a:gd name="T105" fmla="*/ 0 h 1000"/>
                <a:gd name="T106" fmla="*/ 0 w 798"/>
                <a:gd name="T107" fmla="*/ 0 h 10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8" h="1000">
                  <a:moveTo>
                    <a:pt x="0" y="23"/>
                  </a:moveTo>
                  <a:lnTo>
                    <a:pt x="0" y="993"/>
                  </a:lnTo>
                  <a:lnTo>
                    <a:pt x="220" y="1000"/>
                  </a:lnTo>
                  <a:lnTo>
                    <a:pt x="220" y="483"/>
                  </a:lnTo>
                  <a:lnTo>
                    <a:pt x="222" y="446"/>
                  </a:lnTo>
                  <a:lnTo>
                    <a:pt x="226" y="410"/>
                  </a:lnTo>
                  <a:lnTo>
                    <a:pt x="228" y="391"/>
                  </a:lnTo>
                  <a:lnTo>
                    <a:pt x="231" y="374"/>
                  </a:lnTo>
                  <a:lnTo>
                    <a:pt x="235" y="358"/>
                  </a:lnTo>
                  <a:lnTo>
                    <a:pt x="239" y="340"/>
                  </a:lnTo>
                  <a:lnTo>
                    <a:pt x="244" y="324"/>
                  </a:lnTo>
                  <a:lnTo>
                    <a:pt x="251" y="309"/>
                  </a:lnTo>
                  <a:lnTo>
                    <a:pt x="258" y="293"/>
                  </a:lnTo>
                  <a:lnTo>
                    <a:pt x="268" y="278"/>
                  </a:lnTo>
                  <a:lnTo>
                    <a:pt x="278" y="264"/>
                  </a:lnTo>
                  <a:lnTo>
                    <a:pt x="290" y="251"/>
                  </a:lnTo>
                  <a:lnTo>
                    <a:pt x="303" y="237"/>
                  </a:lnTo>
                  <a:lnTo>
                    <a:pt x="319" y="225"/>
                  </a:lnTo>
                  <a:lnTo>
                    <a:pt x="336" y="212"/>
                  </a:lnTo>
                  <a:lnTo>
                    <a:pt x="352" y="202"/>
                  </a:lnTo>
                  <a:lnTo>
                    <a:pt x="369" y="195"/>
                  </a:lnTo>
                  <a:lnTo>
                    <a:pt x="384" y="190"/>
                  </a:lnTo>
                  <a:lnTo>
                    <a:pt x="397" y="186"/>
                  </a:lnTo>
                  <a:lnTo>
                    <a:pt x="410" y="183"/>
                  </a:lnTo>
                  <a:lnTo>
                    <a:pt x="421" y="182"/>
                  </a:lnTo>
                  <a:lnTo>
                    <a:pt x="430" y="181"/>
                  </a:lnTo>
                  <a:lnTo>
                    <a:pt x="448" y="182"/>
                  </a:lnTo>
                  <a:lnTo>
                    <a:pt x="464" y="186"/>
                  </a:lnTo>
                  <a:lnTo>
                    <a:pt x="479" y="190"/>
                  </a:lnTo>
                  <a:lnTo>
                    <a:pt x="492" y="195"/>
                  </a:lnTo>
                  <a:lnTo>
                    <a:pt x="503" y="201"/>
                  </a:lnTo>
                  <a:lnTo>
                    <a:pt x="512" y="206"/>
                  </a:lnTo>
                  <a:lnTo>
                    <a:pt x="521" y="212"/>
                  </a:lnTo>
                  <a:lnTo>
                    <a:pt x="528" y="217"/>
                  </a:lnTo>
                  <a:lnTo>
                    <a:pt x="538" y="227"/>
                  </a:lnTo>
                  <a:lnTo>
                    <a:pt x="546" y="237"/>
                  </a:lnTo>
                  <a:lnTo>
                    <a:pt x="554" y="248"/>
                  </a:lnTo>
                  <a:lnTo>
                    <a:pt x="561" y="259"/>
                  </a:lnTo>
                  <a:lnTo>
                    <a:pt x="566" y="270"/>
                  </a:lnTo>
                  <a:lnTo>
                    <a:pt x="572" y="281"/>
                  </a:lnTo>
                  <a:lnTo>
                    <a:pt x="576" y="293"/>
                  </a:lnTo>
                  <a:lnTo>
                    <a:pt x="579" y="306"/>
                  </a:lnTo>
                  <a:lnTo>
                    <a:pt x="583" y="331"/>
                  </a:lnTo>
                  <a:lnTo>
                    <a:pt x="586" y="358"/>
                  </a:lnTo>
                  <a:lnTo>
                    <a:pt x="587" y="384"/>
                  </a:lnTo>
                  <a:lnTo>
                    <a:pt x="588" y="412"/>
                  </a:lnTo>
                  <a:lnTo>
                    <a:pt x="588" y="1000"/>
                  </a:lnTo>
                  <a:lnTo>
                    <a:pt x="798" y="1000"/>
                  </a:lnTo>
                  <a:lnTo>
                    <a:pt x="798" y="339"/>
                  </a:lnTo>
                  <a:lnTo>
                    <a:pt x="797" y="333"/>
                  </a:lnTo>
                  <a:lnTo>
                    <a:pt x="796" y="323"/>
                  </a:lnTo>
                  <a:lnTo>
                    <a:pt x="796" y="311"/>
                  </a:lnTo>
                  <a:lnTo>
                    <a:pt x="795" y="296"/>
                  </a:lnTo>
                  <a:lnTo>
                    <a:pt x="793" y="281"/>
                  </a:lnTo>
                  <a:lnTo>
                    <a:pt x="791" y="264"/>
                  </a:lnTo>
                  <a:lnTo>
                    <a:pt x="788" y="247"/>
                  </a:lnTo>
                  <a:lnTo>
                    <a:pt x="785" y="230"/>
                  </a:lnTo>
                  <a:lnTo>
                    <a:pt x="780" y="213"/>
                  </a:lnTo>
                  <a:lnTo>
                    <a:pt x="776" y="198"/>
                  </a:lnTo>
                  <a:lnTo>
                    <a:pt x="770" y="184"/>
                  </a:lnTo>
                  <a:lnTo>
                    <a:pt x="765" y="171"/>
                  </a:lnTo>
                  <a:lnTo>
                    <a:pt x="760" y="161"/>
                  </a:lnTo>
                  <a:lnTo>
                    <a:pt x="756" y="151"/>
                  </a:lnTo>
                  <a:lnTo>
                    <a:pt x="752" y="143"/>
                  </a:lnTo>
                  <a:lnTo>
                    <a:pt x="749" y="137"/>
                  </a:lnTo>
                  <a:lnTo>
                    <a:pt x="742" y="125"/>
                  </a:lnTo>
                  <a:lnTo>
                    <a:pt x="734" y="113"/>
                  </a:lnTo>
                  <a:lnTo>
                    <a:pt x="726" y="102"/>
                  </a:lnTo>
                  <a:lnTo>
                    <a:pt x="716" y="91"/>
                  </a:lnTo>
                  <a:lnTo>
                    <a:pt x="707" y="81"/>
                  </a:lnTo>
                  <a:lnTo>
                    <a:pt x="698" y="71"/>
                  </a:lnTo>
                  <a:lnTo>
                    <a:pt x="688" y="62"/>
                  </a:lnTo>
                  <a:lnTo>
                    <a:pt x="678" y="54"/>
                  </a:lnTo>
                  <a:lnTo>
                    <a:pt x="666" y="47"/>
                  </a:lnTo>
                  <a:lnTo>
                    <a:pt x="652" y="38"/>
                  </a:lnTo>
                  <a:lnTo>
                    <a:pt x="635" y="30"/>
                  </a:lnTo>
                  <a:lnTo>
                    <a:pt x="614" y="21"/>
                  </a:lnTo>
                  <a:lnTo>
                    <a:pt x="591" y="13"/>
                  </a:lnTo>
                  <a:lnTo>
                    <a:pt x="564" y="6"/>
                  </a:lnTo>
                  <a:lnTo>
                    <a:pt x="550" y="4"/>
                  </a:lnTo>
                  <a:lnTo>
                    <a:pt x="535" y="2"/>
                  </a:lnTo>
                  <a:lnTo>
                    <a:pt x="520" y="0"/>
                  </a:lnTo>
                  <a:lnTo>
                    <a:pt x="503" y="0"/>
                  </a:lnTo>
                  <a:lnTo>
                    <a:pt x="489" y="0"/>
                  </a:lnTo>
                  <a:lnTo>
                    <a:pt x="475" y="1"/>
                  </a:lnTo>
                  <a:lnTo>
                    <a:pt x="461" y="2"/>
                  </a:lnTo>
                  <a:lnTo>
                    <a:pt x="449" y="4"/>
                  </a:lnTo>
                  <a:lnTo>
                    <a:pt x="425" y="9"/>
                  </a:lnTo>
                  <a:lnTo>
                    <a:pt x="402" y="15"/>
                  </a:lnTo>
                  <a:lnTo>
                    <a:pt x="382" y="24"/>
                  </a:lnTo>
                  <a:lnTo>
                    <a:pt x="362" y="33"/>
                  </a:lnTo>
                  <a:lnTo>
                    <a:pt x="345" y="43"/>
                  </a:lnTo>
                  <a:lnTo>
                    <a:pt x="329" y="54"/>
                  </a:lnTo>
                  <a:lnTo>
                    <a:pt x="315" y="65"/>
                  </a:lnTo>
                  <a:lnTo>
                    <a:pt x="301" y="78"/>
                  </a:lnTo>
                  <a:lnTo>
                    <a:pt x="289" y="89"/>
                  </a:lnTo>
                  <a:lnTo>
                    <a:pt x="279" y="101"/>
                  </a:lnTo>
                  <a:lnTo>
                    <a:pt x="262" y="124"/>
                  </a:lnTo>
                  <a:lnTo>
                    <a:pt x="248" y="144"/>
                  </a:lnTo>
                  <a:lnTo>
                    <a:pt x="241" y="154"/>
                  </a:lnTo>
                  <a:lnTo>
                    <a:pt x="235" y="165"/>
                  </a:lnTo>
                  <a:lnTo>
                    <a:pt x="229" y="176"/>
                  </a:lnTo>
                  <a:lnTo>
                    <a:pt x="222" y="189"/>
                  </a:lnTo>
                  <a:lnTo>
                    <a:pt x="217" y="200"/>
                  </a:lnTo>
                  <a:lnTo>
                    <a:pt x="211" y="211"/>
                  </a:lnTo>
                  <a:lnTo>
                    <a:pt x="205" y="222"/>
                  </a:lnTo>
                  <a:lnTo>
                    <a:pt x="201" y="232"/>
                  </a:lnTo>
                  <a:lnTo>
                    <a:pt x="201" y="23"/>
                  </a:lnTo>
                  <a:lnTo>
                    <a:pt x="0" y="23"/>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68" name="Freeform 20"/>
            <p:cNvSpPr>
              <a:spLocks/>
            </p:cNvSpPr>
            <p:nvPr userDrawn="1"/>
          </p:nvSpPr>
          <p:spPr bwMode="auto">
            <a:xfrm>
              <a:off x="5369" y="361"/>
              <a:ext cx="42" cy="51"/>
            </a:xfrm>
            <a:custGeom>
              <a:avLst/>
              <a:gdLst>
                <a:gd name="T0" fmla="*/ 0 w 843"/>
                <a:gd name="T1" fmla="*/ 0 h 1019"/>
                <a:gd name="T2" fmla="*/ 0 w 843"/>
                <a:gd name="T3" fmla="*/ 0 h 1019"/>
                <a:gd name="T4" fmla="*/ 0 w 843"/>
                <a:gd name="T5" fmla="*/ 0 h 1019"/>
                <a:gd name="T6" fmla="*/ 0 w 843"/>
                <a:gd name="T7" fmla="*/ 0 h 1019"/>
                <a:gd name="T8" fmla="*/ 0 w 843"/>
                <a:gd name="T9" fmla="*/ 0 h 1019"/>
                <a:gd name="T10" fmla="*/ 0 w 843"/>
                <a:gd name="T11" fmla="*/ 0 h 1019"/>
                <a:gd name="T12" fmla="*/ 0 w 843"/>
                <a:gd name="T13" fmla="*/ 0 h 1019"/>
                <a:gd name="T14" fmla="*/ 0 w 843"/>
                <a:gd name="T15" fmla="*/ 0 h 1019"/>
                <a:gd name="T16" fmla="*/ 0 w 843"/>
                <a:gd name="T17" fmla="*/ 0 h 1019"/>
                <a:gd name="T18" fmla="*/ 0 w 843"/>
                <a:gd name="T19" fmla="*/ 0 h 1019"/>
                <a:gd name="T20" fmla="*/ 0 w 843"/>
                <a:gd name="T21" fmla="*/ 0 h 1019"/>
                <a:gd name="T22" fmla="*/ 0 w 843"/>
                <a:gd name="T23" fmla="*/ 0 h 1019"/>
                <a:gd name="T24" fmla="*/ 0 w 843"/>
                <a:gd name="T25" fmla="*/ 0 h 1019"/>
                <a:gd name="T26" fmla="*/ 0 w 843"/>
                <a:gd name="T27" fmla="*/ 0 h 1019"/>
                <a:gd name="T28" fmla="*/ 0 w 843"/>
                <a:gd name="T29" fmla="*/ 0 h 1019"/>
                <a:gd name="T30" fmla="*/ 0 w 843"/>
                <a:gd name="T31" fmla="*/ 0 h 1019"/>
                <a:gd name="T32" fmla="*/ 0 w 843"/>
                <a:gd name="T33" fmla="*/ 0 h 1019"/>
                <a:gd name="T34" fmla="*/ 0 w 843"/>
                <a:gd name="T35" fmla="*/ 0 h 1019"/>
                <a:gd name="T36" fmla="*/ 0 w 843"/>
                <a:gd name="T37" fmla="*/ 0 h 1019"/>
                <a:gd name="T38" fmla="*/ 0 w 843"/>
                <a:gd name="T39" fmla="*/ 0 h 1019"/>
                <a:gd name="T40" fmla="*/ 0 w 843"/>
                <a:gd name="T41" fmla="*/ 0 h 1019"/>
                <a:gd name="T42" fmla="*/ 0 w 843"/>
                <a:gd name="T43" fmla="*/ 0 h 1019"/>
                <a:gd name="T44" fmla="*/ 0 w 843"/>
                <a:gd name="T45" fmla="*/ 0 h 1019"/>
                <a:gd name="T46" fmla="*/ 0 w 843"/>
                <a:gd name="T47" fmla="*/ 0 h 1019"/>
                <a:gd name="T48" fmla="*/ 0 w 843"/>
                <a:gd name="T49" fmla="*/ 0 h 1019"/>
                <a:gd name="T50" fmla="*/ 0 w 843"/>
                <a:gd name="T51" fmla="*/ 0 h 1019"/>
                <a:gd name="T52" fmla="*/ 0 w 843"/>
                <a:gd name="T53" fmla="*/ 0 h 1019"/>
                <a:gd name="T54" fmla="*/ 0 w 843"/>
                <a:gd name="T55" fmla="*/ 0 h 1019"/>
                <a:gd name="T56" fmla="*/ 0 w 843"/>
                <a:gd name="T57" fmla="*/ 0 h 1019"/>
                <a:gd name="T58" fmla="*/ 0 w 843"/>
                <a:gd name="T59" fmla="*/ 0 h 1019"/>
                <a:gd name="T60" fmla="*/ 0 w 843"/>
                <a:gd name="T61" fmla="*/ 0 h 1019"/>
                <a:gd name="T62" fmla="*/ 0 w 843"/>
                <a:gd name="T63" fmla="*/ 0 h 1019"/>
                <a:gd name="T64" fmla="*/ 0 w 843"/>
                <a:gd name="T65" fmla="*/ 0 h 1019"/>
                <a:gd name="T66" fmla="*/ 0 w 843"/>
                <a:gd name="T67" fmla="*/ 0 h 1019"/>
                <a:gd name="T68" fmla="*/ 0 w 843"/>
                <a:gd name="T69" fmla="*/ 0 h 1019"/>
                <a:gd name="T70" fmla="*/ 0 w 843"/>
                <a:gd name="T71" fmla="*/ 0 h 1019"/>
                <a:gd name="T72" fmla="*/ 0 w 843"/>
                <a:gd name="T73" fmla="*/ 0 h 1019"/>
                <a:gd name="T74" fmla="*/ 0 w 843"/>
                <a:gd name="T75" fmla="*/ 0 h 1019"/>
                <a:gd name="T76" fmla="*/ 0 w 843"/>
                <a:gd name="T77" fmla="*/ 0 h 1019"/>
                <a:gd name="T78" fmla="*/ 0 w 843"/>
                <a:gd name="T79" fmla="*/ 0 h 1019"/>
                <a:gd name="T80" fmla="*/ 0 w 843"/>
                <a:gd name="T81" fmla="*/ 0 h 1019"/>
                <a:gd name="T82" fmla="*/ 0 w 843"/>
                <a:gd name="T83" fmla="*/ 0 h 1019"/>
                <a:gd name="T84" fmla="*/ 0 w 843"/>
                <a:gd name="T85" fmla="*/ 0 h 1019"/>
                <a:gd name="T86" fmla="*/ 0 w 843"/>
                <a:gd name="T87" fmla="*/ 0 h 1019"/>
                <a:gd name="T88" fmla="*/ 0 w 843"/>
                <a:gd name="T89" fmla="*/ 0 h 1019"/>
                <a:gd name="T90" fmla="*/ 0 w 843"/>
                <a:gd name="T91" fmla="*/ 0 h 1019"/>
                <a:gd name="T92" fmla="*/ 0 w 843"/>
                <a:gd name="T93" fmla="*/ 0 h 1019"/>
                <a:gd name="T94" fmla="*/ 0 w 843"/>
                <a:gd name="T95" fmla="*/ 0 h 1019"/>
                <a:gd name="T96" fmla="*/ 0 w 843"/>
                <a:gd name="T97" fmla="*/ 0 h 1019"/>
                <a:gd name="T98" fmla="*/ 0 w 843"/>
                <a:gd name="T99" fmla="*/ 0 h 1019"/>
                <a:gd name="T100" fmla="*/ 0 w 843"/>
                <a:gd name="T101" fmla="*/ 0 h 1019"/>
                <a:gd name="T102" fmla="*/ 0 w 843"/>
                <a:gd name="T103" fmla="*/ 0 h 1019"/>
                <a:gd name="T104" fmla="*/ 0 w 843"/>
                <a:gd name="T105" fmla="*/ 0 h 1019"/>
                <a:gd name="T106" fmla="*/ 0 w 843"/>
                <a:gd name="T107" fmla="*/ 0 h 1019"/>
                <a:gd name="T108" fmla="*/ 0 w 843"/>
                <a:gd name="T109" fmla="*/ 0 h 1019"/>
                <a:gd name="T110" fmla="*/ 0 w 843"/>
                <a:gd name="T111" fmla="*/ 0 h 10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43" h="1019">
                  <a:moveTo>
                    <a:pt x="498" y="635"/>
                  </a:moveTo>
                  <a:lnTo>
                    <a:pt x="515" y="639"/>
                  </a:lnTo>
                  <a:lnTo>
                    <a:pt x="531" y="643"/>
                  </a:lnTo>
                  <a:lnTo>
                    <a:pt x="546" y="648"/>
                  </a:lnTo>
                  <a:lnTo>
                    <a:pt x="561" y="654"/>
                  </a:lnTo>
                  <a:lnTo>
                    <a:pt x="575" y="661"/>
                  </a:lnTo>
                  <a:lnTo>
                    <a:pt x="587" y="669"/>
                  </a:lnTo>
                  <a:lnTo>
                    <a:pt x="593" y="674"/>
                  </a:lnTo>
                  <a:lnTo>
                    <a:pt x="598" y="679"/>
                  </a:lnTo>
                  <a:lnTo>
                    <a:pt x="602" y="685"/>
                  </a:lnTo>
                  <a:lnTo>
                    <a:pt x="606" y="691"/>
                  </a:lnTo>
                  <a:lnTo>
                    <a:pt x="609" y="699"/>
                  </a:lnTo>
                  <a:lnTo>
                    <a:pt x="612" y="705"/>
                  </a:lnTo>
                  <a:lnTo>
                    <a:pt x="614" y="712"/>
                  </a:lnTo>
                  <a:lnTo>
                    <a:pt x="616" y="718"/>
                  </a:lnTo>
                  <a:lnTo>
                    <a:pt x="617" y="723"/>
                  </a:lnTo>
                  <a:lnTo>
                    <a:pt x="618" y="728"/>
                  </a:lnTo>
                  <a:lnTo>
                    <a:pt x="618" y="732"/>
                  </a:lnTo>
                  <a:lnTo>
                    <a:pt x="618" y="736"/>
                  </a:lnTo>
                  <a:lnTo>
                    <a:pt x="618" y="746"/>
                  </a:lnTo>
                  <a:lnTo>
                    <a:pt x="616" y="756"/>
                  </a:lnTo>
                  <a:lnTo>
                    <a:pt x="613" y="765"/>
                  </a:lnTo>
                  <a:lnTo>
                    <a:pt x="610" y="773"/>
                  </a:lnTo>
                  <a:lnTo>
                    <a:pt x="607" y="780"/>
                  </a:lnTo>
                  <a:lnTo>
                    <a:pt x="603" y="787"/>
                  </a:lnTo>
                  <a:lnTo>
                    <a:pt x="598" y="794"/>
                  </a:lnTo>
                  <a:lnTo>
                    <a:pt x="593" y="799"/>
                  </a:lnTo>
                  <a:lnTo>
                    <a:pt x="584" y="811"/>
                  </a:lnTo>
                  <a:lnTo>
                    <a:pt x="574" y="819"/>
                  </a:lnTo>
                  <a:lnTo>
                    <a:pt x="565" y="825"/>
                  </a:lnTo>
                  <a:lnTo>
                    <a:pt x="558" y="828"/>
                  </a:lnTo>
                  <a:lnTo>
                    <a:pt x="549" y="833"/>
                  </a:lnTo>
                  <a:lnTo>
                    <a:pt x="538" y="837"/>
                  </a:lnTo>
                  <a:lnTo>
                    <a:pt x="524" y="842"/>
                  </a:lnTo>
                  <a:lnTo>
                    <a:pt x="507" y="846"/>
                  </a:lnTo>
                  <a:lnTo>
                    <a:pt x="489" y="850"/>
                  </a:lnTo>
                  <a:lnTo>
                    <a:pt x="469" y="853"/>
                  </a:lnTo>
                  <a:lnTo>
                    <a:pt x="446" y="855"/>
                  </a:lnTo>
                  <a:lnTo>
                    <a:pt x="423" y="856"/>
                  </a:lnTo>
                  <a:lnTo>
                    <a:pt x="414" y="856"/>
                  </a:lnTo>
                  <a:lnTo>
                    <a:pt x="398" y="855"/>
                  </a:lnTo>
                  <a:lnTo>
                    <a:pt x="378" y="853"/>
                  </a:lnTo>
                  <a:lnTo>
                    <a:pt x="353" y="849"/>
                  </a:lnTo>
                  <a:lnTo>
                    <a:pt x="341" y="846"/>
                  </a:lnTo>
                  <a:lnTo>
                    <a:pt x="328" y="843"/>
                  </a:lnTo>
                  <a:lnTo>
                    <a:pt x="315" y="839"/>
                  </a:lnTo>
                  <a:lnTo>
                    <a:pt x="302" y="834"/>
                  </a:lnTo>
                  <a:lnTo>
                    <a:pt x="289" y="829"/>
                  </a:lnTo>
                  <a:lnTo>
                    <a:pt x="277" y="822"/>
                  </a:lnTo>
                  <a:lnTo>
                    <a:pt x="265" y="815"/>
                  </a:lnTo>
                  <a:lnTo>
                    <a:pt x="254" y="806"/>
                  </a:lnTo>
                  <a:lnTo>
                    <a:pt x="247" y="800"/>
                  </a:lnTo>
                  <a:lnTo>
                    <a:pt x="242" y="794"/>
                  </a:lnTo>
                  <a:lnTo>
                    <a:pt x="236" y="788"/>
                  </a:lnTo>
                  <a:lnTo>
                    <a:pt x="231" y="781"/>
                  </a:lnTo>
                  <a:lnTo>
                    <a:pt x="225" y="772"/>
                  </a:lnTo>
                  <a:lnTo>
                    <a:pt x="219" y="762"/>
                  </a:lnTo>
                  <a:lnTo>
                    <a:pt x="213" y="750"/>
                  </a:lnTo>
                  <a:lnTo>
                    <a:pt x="205" y="734"/>
                  </a:lnTo>
                  <a:lnTo>
                    <a:pt x="0" y="778"/>
                  </a:lnTo>
                  <a:lnTo>
                    <a:pt x="14" y="803"/>
                  </a:lnTo>
                  <a:lnTo>
                    <a:pt x="26" y="827"/>
                  </a:lnTo>
                  <a:lnTo>
                    <a:pt x="37" y="846"/>
                  </a:lnTo>
                  <a:lnTo>
                    <a:pt x="47" y="864"/>
                  </a:lnTo>
                  <a:lnTo>
                    <a:pt x="57" y="879"/>
                  </a:lnTo>
                  <a:lnTo>
                    <a:pt x="66" y="892"/>
                  </a:lnTo>
                  <a:lnTo>
                    <a:pt x="75" y="903"/>
                  </a:lnTo>
                  <a:lnTo>
                    <a:pt x="85" y="914"/>
                  </a:lnTo>
                  <a:lnTo>
                    <a:pt x="100" y="928"/>
                  </a:lnTo>
                  <a:lnTo>
                    <a:pt x="117" y="940"/>
                  </a:lnTo>
                  <a:lnTo>
                    <a:pt x="134" y="952"/>
                  </a:lnTo>
                  <a:lnTo>
                    <a:pt x="153" y="962"/>
                  </a:lnTo>
                  <a:lnTo>
                    <a:pt x="173" y="973"/>
                  </a:lnTo>
                  <a:lnTo>
                    <a:pt x="194" y="981"/>
                  </a:lnTo>
                  <a:lnTo>
                    <a:pt x="215" y="989"/>
                  </a:lnTo>
                  <a:lnTo>
                    <a:pt x="237" y="995"/>
                  </a:lnTo>
                  <a:lnTo>
                    <a:pt x="260" y="1001"/>
                  </a:lnTo>
                  <a:lnTo>
                    <a:pt x="281" y="1006"/>
                  </a:lnTo>
                  <a:lnTo>
                    <a:pt x="303" y="1010"/>
                  </a:lnTo>
                  <a:lnTo>
                    <a:pt x="326" y="1013"/>
                  </a:lnTo>
                  <a:lnTo>
                    <a:pt x="348" y="1016"/>
                  </a:lnTo>
                  <a:lnTo>
                    <a:pt x="370" y="1018"/>
                  </a:lnTo>
                  <a:lnTo>
                    <a:pt x="391" y="1019"/>
                  </a:lnTo>
                  <a:lnTo>
                    <a:pt x="412" y="1019"/>
                  </a:lnTo>
                  <a:lnTo>
                    <a:pt x="431" y="1019"/>
                  </a:lnTo>
                  <a:lnTo>
                    <a:pt x="460" y="1017"/>
                  </a:lnTo>
                  <a:lnTo>
                    <a:pt x="478" y="1016"/>
                  </a:lnTo>
                  <a:lnTo>
                    <a:pt x="497" y="1014"/>
                  </a:lnTo>
                  <a:lnTo>
                    <a:pt x="519" y="1011"/>
                  </a:lnTo>
                  <a:lnTo>
                    <a:pt x="540" y="1007"/>
                  </a:lnTo>
                  <a:lnTo>
                    <a:pt x="563" y="1003"/>
                  </a:lnTo>
                  <a:lnTo>
                    <a:pt x="587" y="997"/>
                  </a:lnTo>
                  <a:lnTo>
                    <a:pt x="611" y="990"/>
                  </a:lnTo>
                  <a:lnTo>
                    <a:pt x="635" y="982"/>
                  </a:lnTo>
                  <a:lnTo>
                    <a:pt x="659" y="971"/>
                  </a:lnTo>
                  <a:lnTo>
                    <a:pt x="683" y="960"/>
                  </a:lnTo>
                  <a:lnTo>
                    <a:pt x="694" y="954"/>
                  </a:lnTo>
                  <a:lnTo>
                    <a:pt x="705" y="948"/>
                  </a:lnTo>
                  <a:lnTo>
                    <a:pt x="716" y="941"/>
                  </a:lnTo>
                  <a:lnTo>
                    <a:pt x="727" y="933"/>
                  </a:lnTo>
                  <a:lnTo>
                    <a:pt x="745" y="919"/>
                  </a:lnTo>
                  <a:lnTo>
                    <a:pt x="761" y="903"/>
                  </a:lnTo>
                  <a:lnTo>
                    <a:pt x="776" y="887"/>
                  </a:lnTo>
                  <a:lnTo>
                    <a:pt x="789" y="872"/>
                  </a:lnTo>
                  <a:lnTo>
                    <a:pt x="799" y="855"/>
                  </a:lnTo>
                  <a:lnTo>
                    <a:pt x="809" y="839"/>
                  </a:lnTo>
                  <a:lnTo>
                    <a:pt x="817" y="823"/>
                  </a:lnTo>
                  <a:lnTo>
                    <a:pt x="824" y="807"/>
                  </a:lnTo>
                  <a:lnTo>
                    <a:pt x="829" y="791"/>
                  </a:lnTo>
                  <a:lnTo>
                    <a:pt x="834" y="776"/>
                  </a:lnTo>
                  <a:lnTo>
                    <a:pt x="837" y="761"/>
                  </a:lnTo>
                  <a:lnTo>
                    <a:pt x="840" y="747"/>
                  </a:lnTo>
                  <a:lnTo>
                    <a:pt x="842" y="722"/>
                  </a:lnTo>
                  <a:lnTo>
                    <a:pt x="843" y="701"/>
                  </a:lnTo>
                  <a:lnTo>
                    <a:pt x="843" y="683"/>
                  </a:lnTo>
                  <a:lnTo>
                    <a:pt x="841" y="665"/>
                  </a:lnTo>
                  <a:lnTo>
                    <a:pt x="838" y="648"/>
                  </a:lnTo>
                  <a:lnTo>
                    <a:pt x="835" y="630"/>
                  </a:lnTo>
                  <a:lnTo>
                    <a:pt x="830" y="613"/>
                  </a:lnTo>
                  <a:lnTo>
                    <a:pt x="824" y="597"/>
                  </a:lnTo>
                  <a:lnTo>
                    <a:pt x="817" y="581"/>
                  </a:lnTo>
                  <a:lnTo>
                    <a:pt x="809" y="564"/>
                  </a:lnTo>
                  <a:lnTo>
                    <a:pt x="800" y="549"/>
                  </a:lnTo>
                  <a:lnTo>
                    <a:pt x="791" y="535"/>
                  </a:lnTo>
                  <a:lnTo>
                    <a:pt x="780" y="520"/>
                  </a:lnTo>
                  <a:lnTo>
                    <a:pt x="767" y="507"/>
                  </a:lnTo>
                  <a:lnTo>
                    <a:pt x="755" y="495"/>
                  </a:lnTo>
                  <a:lnTo>
                    <a:pt x="742" y="484"/>
                  </a:lnTo>
                  <a:lnTo>
                    <a:pt x="728" y="473"/>
                  </a:lnTo>
                  <a:lnTo>
                    <a:pt x="711" y="463"/>
                  </a:lnTo>
                  <a:lnTo>
                    <a:pt x="702" y="457"/>
                  </a:lnTo>
                  <a:lnTo>
                    <a:pt x="692" y="452"/>
                  </a:lnTo>
                  <a:lnTo>
                    <a:pt x="682" y="448"/>
                  </a:lnTo>
                  <a:lnTo>
                    <a:pt x="670" y="443"/>
                  </a:lnTo>
                  <a:lnTo>
                    <a:pt x="656" y="438"/>
                  </a:lnTo>
                  <a:lnTo>
                    <a:pt x="642" y="433"/>
                  </a:lnTo>
                  <a:lnTo>
                    <a:pt x="624" y="427"/>
                  </a:lnTo>
                  <a:lnTo>
                    <a:pt x="603" y="420"/>
                  </a:lnTo>
                  <a:lnTo>
                    <a:pt x="382" y="379"/>
                  </a:lnTo>
                  <a:lnTo>
                    <a:pt x="362" y="374"/>
                  </a:lnTo>
                  <a:lnTo>
                    <a:pt x="343" y="369"/>
                  </a:lnTo>
                  <a:lnTo>
                    <a:pt x="325" y="364"/>
                  </a:lnTo>
                  <a:lnTo>
                    <a:pt x="308" y="356"/>
                  </a:lnTo>
                  <a:lnTo>
                    <a:pt x="300" y="352"/>
                  </a:lnTo>
                  <a:lnTo>
                    <a:pt x="292" y="348"/>
                  </a:lnTo>
                  <a:lnTo>
                    <a:pt x="285" y="343"/>
                  </a:lnTo>
                  <a:lnTo>
                    <a:pt x="278" y="338"/>
                  </a:lnTo>
                  <a:lnTo>
                    <a:pt x="272" y="332"/>
                  </a:lnTo>
                  <a:lnTo>
                    <a:pt x="266" y="325"/>
                  </a:lnTo>
                  <a:lnTo>
                    <a:pt x="261" y="318"/>
                  </a:lnTo>
                  <a:lnTo>
                    <a:pt x="255" y="309"/>
                  </a:lnTo>
                  <a:lnTo>
                    <a:pt x="252" y="303"/>
                  </a:lnTo>
                  <a:lnTo>
                    <a:pt x="250" y="296"/>
                  </a:lnTo>
                  <a:lnTo>
                    <a:pt x="248" y="291"/>
                  </a:lnTo>
                  <a:lnTo>
                    <a:pt x="246" y="285"/>
                  </a:lnTo>
                  <a:lnTo>
                    <a:pt x="245" y="280"/>
                  </a:lnTo>
                  <a:lnTo>
                    <a:pt x="245" y="276"/>
                  </a:lnTo>
                  <a:lnTo>
                    <a:pt x="244" y="273"/>
                  </a:lnTo>
                  <a:lnTo>
                    <a:pt x="244" y="270"/>
                  </a:lnTo>
                  <a:lnTo>
                    <a:pt x="245" y="262"/>
                  </a:lnTo>
                  <a:lnTo>
                    <a:pt x="245" y="255"/>
                  </a:lnTo>
                  <a:lnTo>
                    <a:pt x="247" y="249"/>
                  </a:lnTo>
                  <a:lnTo>
                    <a:pt x="248" y="241"/>
                  </a:lnTo>
                  <a:lnTo>
                    <a:pt x="250" y="236"/>
                  </a:lnTo>
                  <a:lnTo>
                    <a:pt x="252" y="231"/>
                  </a:lnTo>
                  <a:lnTo>
                    <a:pt x="254" y="227"/>
                  </a:lnTo>
                  <a:lnTo>
                    <a:pt x="255" y="225"/>
                  </a:lnTo>
                  <a:lnTo>
                    <a:pt x="262" y="216"/>
                  </a:lnTo>
                  <a:lnTo>
                    <a:pt x="268" y="209"/>
                  </a:lnTo>
                  <a:lnTo>
                    <a:pt x="275" y="202"/>
                  </a:lnTo>
                  <a:lnTo>
                    <a:pt x="283" y="196"/>
                  </a:lnTo>
                  <a:lnTo>
                    <a:pt x="290" y="191"/>
                  </a:lnTo>
                  <a:lnTo>
                    <a:pt x="298" y="185"/>
                  </a:lnTo>
                  <a:lnTo>
                    <a:pt x="307" y="181"/>
                  </a:lnTo>
                  <a:lnTo>
                    <a:pt x="316" y="178"/>
                  </a:lnTo>
                  <a:lnTo>
                    <a:pt x="331" y="173"/>
                  </a:lnTo>
                  <a:lnTo>
                    <a:pt x="346" y="170"/>
                  </a:lnTo>
                  <a:lnTo>
                    <a:pt x="358" y="168"/>
                  </a:lnTo>
                  <a:lnTo>
                    <a:pt x="367" y="167"/>
                  </a:lnTo>
                  <a:lnTo>
                    <a:pt x="375" y="165"/>
                  </a:lnTo>
                  <a:lnTo>
                    <a:pt x="383" y="165"/>
                  </a:lnTo>
                  <a:lnTo>
                    <a:pt x="390" y="164"/>
                  </a:lnTo>
                  <a:lnTo>
                    <a:pt x="397" y="163"/>
                  </a:lnTo>
                  <a:lnTo>
                    <a:pt x="403" y="163"/>
                  </a:lnTo>
                  <a:lnTo>
                    <a:pt x="409" y="163"/>
                  </a:lnTo>
                  <a:lnTo>
                    <a:pt x="414" y="163"/>
                  </a:lnTo>
                  <a:lnTo>
                    <a:pt x="418" y="163"/>
                  </a:lnTo>
                  <a:lnTo>
                    <a:pt x="438" y="164"/>
                  </a:lnTo>
                  <a:lnTo>
                    <a:pt x="457" y="166"/>
                  </a:lnTo>
                  <a:lnTo>
                    <a:pt x="476" y="169"/>
                  </a:lnTo>
                  <a:lnTo>
                    <a:pt x="492" y="174"/>
                  </a:lnTo>
                  <a:lnTo>
                    <a:pt x="506" y="179"/>
                  </a:lnTo>
                  <a:lnTo>
                    <a:pt x="520" y="186"/>
                  </a:lnTo>
                  <a:lnTo>
                    <a:pt x="532" y="194"/>
                  </a:lnTo>
                  <a:lnTo>
                    <a:pt x="543" y="201"/>
                  </a:lnTo>
                  <a:lnTo>
                    <a:pt x="552" y="210"/>
                  </a:lnTo>
                  <a:lnTo>
                    <a:pt x="561" y="218"/>
                  </a:lnTo>
                  <a:lnTo>
                    <a:pt x="569" y="227"/>
                  </a:lnTo>
                  <a:lnTo>
                    <a:pt x="577" y="236"/>
                  </a:lnTo>
                  <a:lnTo>
                    <a:pt x="589" y="254"/>
                  </a:lnTo>
                  <a:lnTo>
                    <a:pt x="599" y="270"/>
                  </a:lnTo>
                  <a:lnTo>
                    <a:pt x="792" y="229"/>
                  </a:lnTo>
                  <a:lnTo>
                    <a:pt x="781" y="205"/>
                  </a:lnTo>
                  <a:lnTo>
                    <a:pt x="771" y="184"/>
                  </a:lnTo>
                  <a:lnTo>
                    <a:pt x="761" y="168"/>
                  </a:lnTo>
                  <a:lnTo>
                    <a:pt x="753" y="153"/>
                  </a:lnTo>
                  <a:lnTo>
                    <a:pt x="745" y="141"/>
                  </a:lnTo>
                  <a:lnTo>
                    <a:pt x="737" y="129"/>
                  </a:lnTo>
                  <a:lnTo>
                    <a:pt x="729" y="119"/>
                  </a:lnTo>
                  <a:lnTo>
                    <a:pt x="720" y="109"/>
                  </a:lnTo>
                  <a:lnTo>
                    <a:pt x="705" y="95"/>
                  </a:lnTo>
                  <a:lnTo>
                    <a:pt x="690" y="83"/>
                  </a:lnTo>
                  <a:lnTo>
                    <a:pt x="674" y="70"/>
                  </a:lnTo>
                  <a:lnTo>
                    <a:pt x="656" y="59"/>
                  </a:lnTo>
                  <a:lnTo>
                    <a:pt x="638" y="50"/>
                  </a:lnTo>
                  <a:lnTo>
                    <a:pt x="620" y="41"/>
                  </a:lnTo>
                  <a:lnTo>
                    <a:pt x="600" y="33"/>
                  </a:lnTo>
                  <a:lnTo>
                    <a:pt x="581" y="26"/>
                  </a:lnTo>
                  <a:lnTo>
                    <a:pt x="560" y="19"/>
                  </a:lnTo>
                  <a:lnTo>
                    <a:pt x="540" y="14"/>
                  </a:lnTo>
                  <a:lnTo>
                    <a:pt x="520" y="9"/>
                  </a:lnTo>
                  <a:lnTo>
                    <a:pt x="498" y="6"/>
                  </a:lnTo>
                  <a:lnTo>
                    <a:pt x="478" y="3"/>
                  </a:lnTo>
                  <a:lnTo>
                    <a:pt x="458" y="1"/>
                  </a:lnTo>
                  <a:lnTo>
                    <a:pt x="438" y="0"/>
                  </a:lnTo>
                  <a:lnTo>
                    <a:pt x="419" y="0"/>
                  </a:lnTo>
                  <a:lnTo>
                    <a:pt x="400" y="0"/>
                  </a:lnTo>
                  <a:lnTo>
                    <a:pt x="382" y="1"/>
                  </a:lnTo>
                  <a:lnTo>
                    <a:pt x="364" y="2"/>
                  </a:lnTo>
                  <a:lnTo>
                    <a:pt x="344" y="5"/>
                  </a:lnTo>
                  <a:lnTo>
                    <a:pt x="325" y="7"/>
                  </a:lnTo>
                  <a:lnTo>
                    <a:pt x="306" y="11"/>
                  </a:lnTo>
                  <a:lnTo>
                    <a:pt x="288" y="15"/>
                  </a:lnTo>
                  <a:lnTo>
                    <a:pt x="269" y="19"/>
                  </a:lnTo>
                  <a:lnTo>
                    <a:pt x="250" y="26"/>
                  </a:lnTo>
                  <a:lnTo>
                    <a:pt x="233" y="32"/>
                  </a:lnTo>
                  <a:lnTo>
                    <a:pt x="216" y="39"/>
                  </a:lnTo>
                  <a:lnTo>
                    <a:pt x="198" y="47"/>
                  </a:lnTo>
                  <a:lnTo>
                    <a:pt x="182" y="55"/>
                  </a:lnTo>
                  <a:lnTo>
                    <a:pt x="167" y="65"/>
                  </a:lnTo>
                  <a:lnTo>
                    <a:pt x="151" y="75"/>
                  </a:lnTo>
                  <a:lnTo>
                    <a:pt x="137" y="87"/>
                  </a:lnTo>
                  <a:lnTo>
                    <a:pt x="126" y="97"/>
                  </a:lnTo>
                  <a:lnTo>
                    <a:pt x="116" y="108"/>
                  </a:lnTo>
                  <a:lnTo>
                    <a:pt x="106" y="120"/>
                  </a:lnTo>
                  <a:lnTo>
                    <a:pt x="95" y="134"/>
                  </a:lnTo>
                  <a:lnTo>
                    <a:pt x="86" y="147"/>
                  </a:lnTo>
                  <a:lnTo>
                    <a:pt x="78" y="161"/>
                  </a:lnTo>
                  <a:lnTo>
                    <a:pt x="71" y="175"/>
                  </a:lnTo>
                  <a:lnTo>
                    <a:pt x="64" y="191"/>
                  </a:lnTo>
                  <a:lnTo>
                    <a:pt x="58" y="206"/>
                  </a:lnTo>
                  <a:lnTo>
                    <a:pt x="51" y="222"/>
                  </a:lnTo>
                  <a:lnTo>
                    <a:pt x="47" y="237"/>
                  </a:lnTo>
                  <a:lnTo>
                    <a:pt x="43" y="254"/>
                  </a:lnTo>
                  <a:lnTo>
                    <a:pt x="40" y="270"/>
                  </a:lnTo>
                  <a:lnTo>
                    <a:pt x="38" y="286"/>
                  </a:lnTo>
                  <a:lnTo>
                    <a:pt x="36" y="303"/>
                  </a:lnTo>
                  <a:lnTo>
                    <a:pt x="36" y="319"/>
                  </a:lnTo>
                  <a:lnTo>
                    <a:pt x="37" y="343"/>
                  </a:lnTo>
                  <a:lnTo>
                    <a:pt x="40" y="366"/>
                  </a:lnTo>
                  <a:lnTo>
                    <a:pt x="44" y="387"/>
                  </a:lnTo>
                  <a:lnTo>
                    <a:pt x="49" y="406"/>
                  </a:lnTo>
                  <a:lnTo>
                    <a:pt x="57" y="425"/>
                  </a:lnTo>
                  <a:lnTo>
                    <a:pt x="65" y="441"/>
                  </a:lnTo>
                  <a:lnTo>
                    <a:pt x="73" y="456"/>
                  </a:lnTo>
                  <a:lnTo>
                    <a:pt x="83" y="471"/>
                  </a:lnTo>
                  <a:lnTo>
                    <a:pt x="92" y="484"/>
                  </a:lnTo>
                  <a:lnTo>
                    <a:pt x="102" y="495"/>
                  </a:lnTo>
                  <a:lnTo>
                    <a:pt x="113" y="506"/>
                  </a:lnTo>
                  <a:lnTo>
                    <a:pt x="123" y="515"/>
                  </a:lnTo>
                  <a:lnTo>
                    <a:pt x="133" y="523"/>
                  </a:lnTo>
                  <a:lnTo>
                    <a:pt x="143" y="531"/>
                  </a:lnTo>
                  <a:lnTo>
                    <a:pt x="151" y="537"/>
                  </a:lnTo>
                  <a:lnTo>
                    <a:pt x="160" y="542"/>
                  </a:lnTo>
                  <a:lnTo>
                    <a:pt x="174" y="550"/>
                  </a:lnTo>
                  <a:lnTo>
                    <a:pt x="188" y="557"/>
                  </a:lnTo>
                  <a:lnTo>
                    <a:pt x="201" y="564"/>
                  </a:lnTo>
                  <a:lnTo>
                    <a:pt x="216" y="569"/>
                  </a:lnTo>
                  <a:lnTo>
                    <a:pt x="230" y="574"/>
                  </a:lnTo>
                  <a:lnTo>
                    <a:pt x="244" y="578"/>
                  </a:lnTo>
                  <a:lnTo>
                    <a:pt x="260" y="584"/>
                  </a:lnTo>
                  <a:lnTo>
                    <a:pt x="275" y="589"/>
                  </a:lnTo>
                  <a:lnTo>
                    <a:pt x="498" y="635"/>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69" name="Freeform 21"/>
            <p:cNvSpPr>
              <a:spLocks noEditPoints="1"/>
            </p:cNvSpPr>
            <p:nvPr userDrawn="1"/>
          </p:nvSpPr>
          <p:spPr bwMode="auto">
            <a:xfrm>
              <a:off x="5416" y="362"/>
              <a:ext cx="45" cy="50"/>
            </a:xfrm>
            <a:custGeom>
              <a:avLst/>
              <a:gdLst>
                <a:gd name="T0" fmla="*/ 0 w 902"/>
                <a:gd name="T1" fmla="*/ 0 h 1017"/>
                <a:gd name="T2" fmla="*/ 0 w 902"/>
                <a:gd name="T3" fmla="*/ 0 h 1017"/>
                <a:gd name="T4" fmla="*/ 0 w 902"/>
                <a:gd name="T5" fmla="*/ 0 h 1017"/>
                <a:gd name="T6" fmla="*/ 0 w 902"/>
                <a:gd name="T7" fmla="*/ 0 h 1017"/>
                <a:gd name="T8" fmla="*/ 0 w 902"/>
                <a:gd name="T9" fmla="*/ 0 h 1017"/>
                <a:gd name="T10" fmla="*/ 0 w 902"/>
                <a:gd name="T11" fmla="*/ 0 h 1017"/>
                <a:gd name="T12" fmla="*/ 0 w 902"/>
                <a:gd name="T13" fmla="*/ 0 h 1017"/>
                <a:gd name="T14" fmla="*/ 0 w 902"/>
                <a:gd name="T15" fmla="*/ 0 h 1017"/>
                <a:gd name="T16" fmla="*/ 0 w 902"/>
                <a:gd name="T17" fmla="*/ 0 h 1017"/>
                <a:gd name="T18" fmla="*/ 0 w 902"/>
                <a:gd name="T19" fmla="*/ 0 h 1017"/>
                <a:gd name="T20" fmla="*/ 0 w 902"/>
                <a:gd name="T21" fmla="*/ 0 h 1017"/>
                <a:gd name="T22" fmla="*/ 0 w 902"/>
                <a:gd name="T23" fmla="*/ 0 h 1017"/>
                <a:gd name="T24" fmla="*/ 0 w 902"/>
                <a:gd name="T25" fmla="*/ 0 h 1017"/>
                <a:gd name="T26" fmla="*/ 0 w 902"/>
                <a:gd name="T27" fmla="*/ 0 h 1017"/>
                <a:gd name="T28" fmla="*/ 0 w 902"/>
                <a:gd name="T29" fmla="*/ 0 h 1017"/>
                <a:gd name="T30" fmla="*/ 0 w 902"/>
                <a:gd name="T31" fmla="*/ 0 h 1017"/>
                <a:gd name="T32" fmla="*/ 0 w 902"/>
                <a:gd name="T33" fmla="*/ 0 h 1017"/>
                <a:gd name="T34" fmla="*/ 0 w 902"/>
                <a:gd name="T35" fmla="*/ 0 h 1017"/>
                <a:gd name="T36" fmla="*/ 0 w 902"/>
                <a:gd name="T37" fmla="*/ 0 h 1017"/>
                <a:gd name="T38" fmla="*/ 0 w 902"/>
                <a:gd name="T39" fmla="*/ 0 h 1017"/>
                <a:gd name="T40" fmla="*/ 0 w 902"/>
                <a:gd name="T41" fmla="*/ 0 h 1017"/>
                <a:gd name="T42" fmla="*/ 0 w 902"/>
                <a:gd name="T43" fmla="*/ 0 h 1017"/>
                <a:gd name="T44" fmla="*/ 0 w 902"/>
                <a:gd name="T45" fmla="*/ 0 h 1017"/>
                <a:gd name="T46" fmla="*/ 0 w 902"/>
                <a:gd name="T47" fmla="*/ 0 h 1017"/>
                <a:gd name="T48" fmla="*/ 0 w 902"/>
                <a:gd name="T49" fmla="*/ 0 h 1017"/>
                <a:gd name="T50" fmla="*/ 0 w 902"/>
                <a:gd name="T51" fmla="*/ 0 h 1017"/>
                <a:gd name="T52" fmla="*/ 0 w 902"/>
                <a:gd name="T53" fmla="*/ 0 h 1017"/>
                <a:gd name="T54" fmla="*/ 0 w 902"/>
                <a:gd name="T55" fmla="*/ 0 h 1017"/>
                <a:gd name="T56" fmla="*/ 0 w 902"/>
                <a:gd name="T57" fmla="*/ 0 h 1017"/>
                <a:gd name="T58" fmla="*/ 0 w 902"/>
                <a:gd name="T59" fmla="*/ 0 h 1017"/>
                <a:gd name="T60" fmla="*/ 0 w 902"/>
                <a:gd name="T61" fmla="*/ 0 h 1017"/>
                <a:gd name="T62" fmla="*/ 0 w 902"/>
                <a:gd name="T63" fmla="*/ 0 h 1017"/>
                <a:gd name="T64" fmla="*/ 0 w 902"/>
                <a:gd name="T65" fmla="*/ 0 h 1017"/>
                <a:gd name="T66" fmla="*/ 0 w 902"/>
                <a:gd name="T67" fmla="*/ 0 h 1017"/>
                <a:gd name="T68" fmla="*/ 0 w 902"/>
                <a:gd name="T69" fmla="*/ 0 h 1017"/>
                <a:gd name="T70" fmla="*/ 0 w 902"/>
                <a:gd name="T71" fmla="*/ 0 h 1017"/>
                <a:gd name="T72" fmla="*/ 0 w 902"/>
                <a:gd name="T73" fmla="*/ 0 h 1017"/>
                <a:gd name="T74" fmla="*/ 0 w 902"/>
                <a:gd name="T75" fmla="*/ 0 h 1017"/>
                <a:gd name="T76" fmla="*/ 0 w 902"/>
                <a:gd name="T77" fmla="*/ 0 h 1017"/>
                <a:gd name="T78" fmla="*/ 0 w 902"/>
                <a:gd name="T79" fmla="*/ 0 h 1017"/>
                <a:gd name="T80" fmla="*/ 0 w 902"/>
                <a:gd name="T81" fmla="*/ 0 h 1017"/>
                <a:gd name="T82" fmla="*/ 0 w 902"/>
                <a:gd name="T83" fmla="*/ 0 h 1017"/>
                <a:gd name="T84" fmla="*/ 0 w 902"/>
                <a:gd name="T85" fmla="*/ 0 h 1017"/>
                <a:gd name="T86" fmla="*/ 0 w 902"/>
                <a:gd name="T87" fmla="*/ 0 h 1017"/>
                <a:gd name="T88" fmla="*/ 0 w 902"/>
                <a:gd name="T89" fmla="*/ 0 h 1017"/>
                <a:gd name="T90" fmla="*/ 0 w 902"/>
                <a:gd name="T91" fmla="*/ 0 h 1017"/>
                <a:gd name="T92" fmla="*/ 0 w 902"/>
                <a:gd name="T93" fmla="*/ 0 h 1017"/>
                <a:gd name="T94" fmla="*/ 0 w 902"/>
                <a:gd name="T95" fmla="*/ 0 h 1017"/>
                <a:gd name="T96" fmla="*/ 0 w 902"/>
                <a:gd name="T97" fmla="*/ 0 h 1017"/>
                <a:gd name="T98" fmla="*/ 0 w 902"/>
                <a:gd name="T99" fmla="*/ 0 h 1017"/>
                <a:gd name="T100" fmla="*/ 0 w 902"/>
                <a:gd name="T101" fmla="*/ 0 h 1017"/>
                <a:gd name="T102" fmla="*/ 0 w 902"/>
                <a:gd name="T103" fmla="*/ 0 h 1017"/>
                <a:gd name="T104" fmla="*/ 0 w 902"/>
                <a:gd name="T105" fmla="*/ 0 h 1017"/>
                <a:gd name="T106" fmla="*/ 0 w 902"/>
                <a:gd name="T107" fmla="*/ 0 h 1017"/>
                <a:gd name="T108" fmla="*/ 0 w 902"/>
                <a:gd name="T109" fmla="*/ 0 h 1017"/>
                <a:gd name="T110" fmla="*/ 0 w 902"/>
                <a:gd name="T111" fmla="*/ 0 h 1017"/>
                <a:gd name="T112" fmla="*/ 0 w 902"/>
                <a:gd name="T113" fmla="*/ 0 h 1017"/>
                <a:gd name="T114" fmla="*/ 0 w 902"/>
                <a:gd name="T115" fmla="*/ 0 h 1017"/>
                <a:gd name="T116" fmla="*/ 0 w 902"/>
                <a:gd name="T117" fmla="*/ 0 h 1017"/>
                <a:gd name="T118" fmla="*/ 0 w 902"/>
                <a:gd name="T119" fmla="*/ 0 h 1017"/>
                <a:gd name="T120" fmla="*/ 0 w 902"/>
                <a:gd name="T121" fmla="*/ 0 h 1017"/>
                <a:gd name="T122" fmla="*/ 0 w 902"/>
                <a:gd name="T123" fmla="*/ 0 h 1017"/>
                <a:gd name="T124" fmla="*/ 0 w 902"/>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2" h="1017">
                  <a:moveTo>
                    <a:pt x="1" y="483"/>
                  </a:moveTo>
                  <a:lnTo>
                    <a:pt x="0" y="507"/>
                  </a:lnTo>
                  <a:lnTo>
                    <a:pt x="0" y="532"/>
                  </a:lnTo>
                  <a:lnTo>
                    <a:pt x="1" y="554"/>
                  </a:lnTo>
                  <a:lnTo>
                    <a:pt x="2" y="577"/>
                  </a:lnTo>
                  <a:lnTo>
                    <a:pt x="4" y="599"/>
                  </a:lnTo>
                  <a:lnTo>
                    <a:pt x="7" y="620"/>
                  </a:lnTo>
                  <a:lnTo>
                    <a:pt x="10" y="641"/>
                  </a:lnTo>
                  <a:lnTo>
                    <a:pt x="15" y="660"/>
                  </a:lnTo>
                  <a:lnTo>
                    <a:pt x="19" y="679"/>
                  </a:lnTo>
                  <a:lnTo>
                    <a:pt x="25" y="699"/>
                  </a:lnTo>
                  <a:lnTo>
                    <a:pt x="31" y="716"/>
                  </a:lnTo>
                  <a:lnTo>
                    <a:pt x="38" y="734"/>
                  </a:lnTo>
                  <a:lnTo>
                    <a:pt x="44" y="751"/>
                  </a:lnTo>
                  <a:lnTo>
                    <a:pt x="51" y="767"/>
                  </a:lnTo>
                  <a:lnTo>
                    <a:pt x="59" y="782"/>
                  </a:lnTo>
                  <a:lnTo>
                    <a:pt x="67" y="797"/>
                  </a:lnTo>
                  <a:lnTo>
                    <a:pt x="76" y="812"/>
                  </a:lnTo>
                  <a:lnTo>
                    <a:pt x="84" y="825"/>
                  </a:lnTo>
                  <a:lnTo>
                    <a:pt x="93" y="838"/>
                  </a:lnTo>
                  <a:lnTo>
                    <a:pt x="102" y="850"/>
                  </a:lnTo>
                  <a:lnTo>
                    <a:pt x="120" y="874"/>
                  </a:lnTo>
                  <a:lnTo>
                    <a:pt x="139" y="895"/>
                  </a:lnTo>
                  <a:lnTo>
                    <a:pt x="158" y="914"/>
                  </a:lnTo>
                  <a:lnTo>
                    <a:pt x="177" y="930"/>
                  </a:lnTo>
                  <a:lnTo>
                    <a:pt x="196" y="944"/>
                  </a:lnTo>
                  <a:lnTo>
                    <a:pt x="213" y="955"/>
                  </a:lnTo>
                  <a:lnTo>
                    <a:pt x="231" y="965"/>
                  </a:lnTo>
                  <a:lnTo>
                    <a:pt x="248" y="975"/>
                  </a:lnTo>
                  <a:lnTo>
                    <a:pt x="265" y="983"/>
                  </a:lnTo>
                  <a:lnTo>
                    <a:pt x="283" y="990"/>
                  </a:lnTo>
                  <a:lnTo>
                    <a:pt x="300" y="995"/>
                  </a:lnTo>
                  <a:lnTo>
                    <a:pt x="316" y="1000"/>
                  </a:lnTo>
                  <a:lnTo>
                    <a:pt x="333" y="1004"/>
                  </a:lnTo>
                  <a:lnTo>
                    <a:pt x="349" y="1008"/>
                  </a:lnTo>
                  <a:lnTo>
                    <a:pt x="379" y="1013"/>
                  </a:lnTo>
                  <a:lnTo>
                    <a:pt x="405" y="1015"/>
                  </a:lnTo>
                  <a:lnTo>
                    <a:pt x="427" y="1016"/>
                  </a:lnTo>
                  <a:lnTo>
                    <a:pt x="444" y="1017"/>
                  </a:lnTo>
                  <a:lnTo>
                    <a:pt x="458" y="1016"/>
                  </a:lnTo>
                  <a:lnTo>
                    <a:pt x="474" y="1016"/>
                  </a:lnTo>
                  <a:lnTo>
                    <a:pt x="492" y="1014"/>
                  </a:lnTo>
                  <a:lnTo>
                    <a:pt x="511" y="1012"/>
                  </a:lnTo>
                  <a:lnTo>
                    <a:pt x="533" y="1009"/>
                  </a:lnTo>
                  <a:lnTo>
                    <a:pt x="554" y="1005"/>
                  </a:lnTo>
                  <a:lnTo>
                    <a:pt x="577" y="999"/>
                  </a:lnTo>
                  <a:lnTo>
                    <a:pt x="601" y="991"/>
                  </a:lnTo>
                  <a:lnTo>
                    <a:pt x="625" y="982"/>
                  </a:lnTo>
                  <a:lnTo>
                    <a:pt x="650" y="971"/>
                  </a:lnTo>
                  <a:lnTo>
                    <a:pt x="675" y="957"/>
                  </a:lnTo>
                  <a:lnTo>
                    <a:pt x="700" y="941"/>
                  </a:lnTo>
                  <a:lnTo>
                    <a:pt x="712" y="933"/>
                  </a:lnTo>
                  <a:lnTo>
                    <a:pt x="724" y="923"/>
                  </a:lnTo>
                  <a:lnTo>
                    <a:pt x="737" y="913"/>
                  </a:lnTo>
                  <a:lnTo>
                    <a:pt x="749" y="901"/>
                  </a:lnTo>
                  <a:lnTo>
                    <a:pt x="761" y="890"/>
                  </a:lnTo>
                  <a:lnTo>
                    <a:pt x="772" y="878"/>
                  </a:lnTo>
                  <a:lnTo>
                    <a:pt x="783" y="865"/>
                  </a:lnTo>
                  <a:lnTo>
                    <a:pt x="795" y="850"/>
                  </a:lnTo>
                  <a:lnTo>
                    <a:pt x="809" y="831"/>
                  </a:lnTo>
                  <a:lnTo>
                    <a:pt x="821" y="812"/>
                  </a:lnTo>
                  <a:lnTo>
                    <a:pt x="832" y="792"/>
                  </a:lnTo>
                  <a:lnTo>
                    <a:pt x="844" y="772"/>
                  </a:lnTo>
                  <a:lnTo>
                    <a:pt x="853" y="752"/>
                  </a:lnTo>
                  <a:lnTo>
                    <a:pt x="862" y="730"/>
                  </a:lnTo>
                  <a:lnTo>
                    <a:pt x="869" y="709"/>
                  </a:lnTo>
                  <a:lnTo>
                    <a:pt x="876" y="688"/>
                  </a:lnTo>
                  <a:lnTo>
                    <a:pt x="882" y="665"/>
                  </a:lnTo>
                  <a:lnTo>
                    <a:pt x="888" y="644"/>
                  </a:lnTo>
                  <a:lnTo>
                    <a:pt x="893" y="621"/>
                  </a:lnTo>
                  <a:lnTo>
                    <a:pt x="896" y="599"/>
                  </a:lnTo>
                  <a:lnTo>
                    <a:pt x="899" y="576"/>
                  </a:lnTo>
                  <a:lnTo>
                    <a:pt x="901" y="553"/>
                  </a:lnTo>
                  <a:lnTo>
                    <a:pt x="902" y="531"/>
                  </a:lnTo>
                  <a:lnTo>
                    <a:pt x="902" y="507"/>
                  </a:lnTo>
                  <a:lnTo>
                    <a:pt x="902" y="483"/>
                  </a:lnTo>
                  <a:lnTo>
                    <a:pt x="900" y="458"/>
                  </a:lnTo>
                  <a:lnTo>
                    <a:pt x="898" y="434"/>
                  </a:lnTo>
                  <a:lnTo>
                    <a:pt x="895" y="411"/>
                  </a:lnTo>
                  <a:lnTo>
                    <a:pt x="891" y="387"/>
                  </a:lnTo>
                  <a:lnTo>
                    <a:pt x="885" y="364"/>
                  </a:lnTo>
                  <a:lnTo>
                    <a:pt x="880" y="340"/>
                  </a:lnTo>
                  <a:lnTo>
                    <a:pt x="873" y="318"/>
                  </a:lnTo>
                  <a:lnTo>
                    <a:pt x="866" y="296"/>
                  </a:lnTo>
                  <a:lnTo>
                    <a:pt x="858" y="274"/>
                  </a:lnTo>
                  <a:lnTo>
                    <a:pt x="849" y="253"/>
                  </a:lnTo>
                  <a:lnTo>
                    <a:pt x="839" y="231"/>
                  </a:lnTo>
                  <a:lnTo>
                    <a:pt x="827" y="212"/>
                  </a:lnTo>
                  <a:lnTo>
                    <a:pt x="816" y="192"/>
                  </a:lnTo>
                  <a:lnTo>
                    <a:pt x="803" y="173"/>
                  </a:lnTo>
                  <a:lnTo>
                    <a:pt x="790" y="155"/>
                  </a:lnTo>
                  <a:lnTo>
                    <a:pt x="775" y="138"/>
                  </a:lnTo>
                  <a:lnTo>
                    <a:pt x="761" y="121"/>
                  </a:lnTo>
                  <a:lnTo>
                    <a:pt x="745" y="106"/>
                  </a:lnTo>
                  <a:lnTo>
                    <a:pt x="728" y="91"/>
                  </a:lnTo>
                  <a:lnTo>
                    <a:pt x="710" y="78"/>
                  </a:lnTo>
                  <a:lnTo>
                    <a:pt x="693" y="64"/>
                  </a:lnTo>
                  <a:lnTo>
                    <a:pt x="673" y="53"/>
                  </a:lnTo>
                  <a:lnTo>
                    <a:pt x="653" y="42"/>
                  </a:lnTo>
                  <a:lnTo>
                    <a:pt x="633" y="33"/>
                  </a:lnTo>
                  <a:lnTo>
                    <a:pt x="611" y="25"/>
                  </a:lnTo>
                  <a:lnTo>
                    <a:pt x="589" y="17"/>
                  </a:lnTo>
                  <a:lnTo>
                    <a:pt x="566" y="11"/>
                  </a:lnTo>
                  <a:lnTo>
                    <a:pt x="543" y="6"/>
                  </a:lnTo>
                  <a:lnTo>
                    <a:pt x="518" y="2"/>
                  </a:lnTo>
                  <a:lnTo>
                    <a:pt x="493" y="0"/>
                  </a:lnTo>
                  <a:lnTo>
                    <a:pt x="466" y="0"/>
                  </a:lnTo>
                  <a:lnTo>
                    <a:pt x="441" y="0"/>
                  </a:lnTo>
                  <a:lnTo>
                    <a:pt x="408" y="4"/>
                  </a:lnTo>
                  <a:lnTo>
                    <a:pt x="390" y="6"/>
                  </a:lnTo>
                  <a:lnTo>
                    <a:pt x="369" y="10"/>
                  </a:lnTo>
                  <a:lnTo>
                    <a:pt x="349" y="16"/>
                  </a:lnTo>
                  <a:lnTo>
                    <a:pt x="327" y="22"/>
                  </a:lnTo>
                  <a:lnTo>
                    <a:pt x="304" y="30"/>
                  </a:lnTo>
                  <a:lnTo>
                    <a:pt x="281" y="39"/>
                  </a:lnTo>
                  <a:lnTo>
                    <a:pt x="257" y="50"/>
                  </a:lnTo>
                  <a:lnTo>
                    <a:pt x="233" y="63"/>
                  </a:lnTo>
                  <a:lnTo>
                    <a:pt x="209" y="78"/>
                  </a:lnTo>
                  <a:lnTo>
                    <a:pt x="186" y="95"/>
                  </a:lnTo>
                  <a:lnTo>
                    <a:pt x="174" y="105"/>
                  </a:lnTo>
                  <a:lnTo>
                    <a:pt x="162" y="114"/>
                  </a:lnTo>
                  <a:lnTo>
                    <a:pt x="151" y="125"/>
                  </a:lnTo>
                  <a:lnTo>
                    <a:pt x="140" y="137"/>
                  </a:lnTo>
                  <a:lnTo>
                    <a:pt x="129" y="149"/>
                  </a:lnTo>
                  <a:lnTo>
                    <a:pt x="118" y="161"/>
                  </a:lnTo>
                  <a:lnTo>
                    <a:pt x="108" y="174"/>
                  </a:lnTo>
                  <a:lnTo>
                    <a:pt x="98" y="187"/>
                  </a:lnTo>
                  <a:lnTo>
                    <a:pt x="82" y="213"/>
                  </a:lnTo>
                  <a:lnTo>
                    <a:pt x="66" y="238"/>
                  </a:lnTo>
                  <a:lnTo>
                    <a:pt x="53" y="264"/>
                  </a:lnTo>
                  <a:lnTo>
                    <a:pt x="42" y="289"/>
                  </a:lnTo>
                  <a:lnTo>
                    <a:pt x="33" y="315"/>
                  </a:lnTo>
                  <a:lnTo>
                    <a:pt x="25" y="338"/>
                  </a:lnTo>
                  <a:lnTo>
                    <a:pt x="18" y="362"/>
                  </a:lnTo>
                  <a:lnTo>
                    <a:pt x="13" y="384"/>
                  </a:lnTo>
                  <a:lnTo>
                    <a:pt x="9" y="405"/>
                  </a:lnTo>
                  <a:lnTo>
                    <a:pt x="6" y="425"/>
                  </a:lnTo>
                  <a:lnTo>
                    <a:pt x="2" y="457"/>
                  </a:lnTo>
                  <a:lnTo>
                    <a:pt x="1" y="483"/>
                  </a:lnTo>
                  <a:close/>
                  <a:moveTo>
                    <a:pt x="231" y="507"/>
                  </a:moveTo>
                  <a:lnTo>
                    <a:pt x="233" y="475"/>
                  </a:lnTo>
                  <a:lnTo>
                    <a:pt x="236" y="439"/>
                  </a:lnTo>
                  <a:lnTo>
                    <a:pt x="239" y="421"/>
                  </a:lnTo>
                  <a:lnTo>
                    <a:pt x="242" y="402"/>
                  </a:lnTo>
                  <a:lnTo>
                    <a:pt x="246" y="384"/>
                  </a:lnTo>
                  <a:lnTo>
                    <a:pt x="250" y="366"/>
                  </a:lnTo>
                  <a:lnTo>
                    <a:pt x="255" y="347"/>
                  </a:lnTo>
                  <a:lnTo>
                    <a:pt x="261" y="329"/>
                  </a:lnTo>
                  <a:lnTo>
                    <a:pt x="268" y="313"/>
                  </a:lnTo>
                  <a:lnTo>
                    <a:pt x="276" y="296"/>
                  </a:lnTo>
                  <a:lnTo>
                    <a:pt x="285" y="280"/>
                  </a:lnTo>
                  <a:lnTo>
                    <a:pt x="294" y="265"/>
                  </a:lnTo>
                  <a:lnTo>
                    <a:pt x="305" y="251"/>
                  </a:lnTo>
                  <a:lnTo>
                    <a:pt x="316" y="237"/>
                  </a:lnTo>
                  <a:lnTo>
                    <a:pt x="327" y="229"/>
                  </a:lnTo>
                  <a:lnTo>
                    <a:pt x="336" y="221"/>
                  </a:lnTo>
                  <a:lnTo>
                    <a:pt x="347" y="214"/>
                  </a:lnTo>
                  <a:lnTo>
                    <a:pt x="357" y="208"/>
                  </a:lnTo>
                  <a:lnTo>
                    <a:pt x="367" y="203"/>
                  </a:lnTo>
                  <a:lnTo>
                    <a:pt x="378" y="198"/>
                  </a:lnTo>
                  <a:lnTo>
                    <a:pt x="389" y="194"/>
                  </a:lnTo>
                  <a:lnTo>
                    <a:pt x="399" y="191"/>
                  </a:lnTo>
                  <a:lnTo>
                    <a:pt x="418" y="186"/>
                  </a:lnTo>
                  <a:lnTo>
                    <a:pt x="436" y="184"/>
                  </a:lnTo>
                  <a:lnTo>
                    <a:pt x="450" y="181"/>
                  </a:lnTo>
                  <a:lnTo>
                    <a:pt x="461" y="181"/>
                  </a:lnTo>
                  <a:lnTo>
                    <a:pt x="473" y="181"/>
                  </a:lnTo>
                  <a:lnTo>
                    <a:pt x="485" y="182"/>
                  </a:lnTo>
                  <a:lnTo>
                    <a:pt x="496" y="185"/>
                  </a:lnTo>
                  <a:lnTo>
                    <a:pt x="506" y="187"/>
                  </a:lnTo>
                  <a:lnTo>
                    <a:pt x="525" y="193"/>
                  </a:lnTo>
                  <a:lnTo>
                    <a:pt x="542" y="200"/>
                  </a:lnTo>
                  <a:lnTo>
                    <a:pt x="557" y="207"/>
                  </a:lnTo>
                  <a:lnTo>
                    <a:pt x="569" y="215"/>
                  </a:lnTo>
                  <a:lnTo>
                    <a:pt x="579" y="223"/>
                  </a:lnTo>
                  <a:lnTo>
                    <a:pt x="587" y="230"/>
                  </a:lnTo>
                  <a:lnTo>
                    <a:pt x="601" y="245"/>
                  </a:lnTo>
                  <a:lnTo>
                    <a:pt x="613" y="261"/>
                  </a:lnTo>
                  <a:lnTo>
                    <a:pt x="624" y="277"/>
                  </a:lnTo>
                  <a:lnTo>
                    <a:pt x="634" y="293"/>
                  </a:lnTo>
                  <a:lnTo>
                    <a:pt x="642" y="311"/>
                  </a:lnTo>
                  <a:lnTo>
                    <a:pt x="648" y="327"/>
                  </a:lnTo>
                  <a:lnTo>
                    <a:pt x="654" y="344"/>
                  </a:lnTo>
                  <a:lnTo>
                    <a:pt x="658" y="361"/>
                  </a:lnTo>
                  <a:lnTo>
                    <a:pt x="665" y="391"/>
                  </a:lnTo>
                  <a:lnTo>
                    <a:pt x="668" y="419"/>
                  </a:lnTo>
                  <a:lnTo>
                    <a:pt x="670" y="441"/>
                  </a:lnTo>
                  <a:lnTo>
                    <a:pt x="671" y="457"/>
                  </a:lnTo>
                  <a:lnTo>
                    <a:pt x="671" y="465"/>
                  </a:lnTo>
                  <a:lnTo>
                    <a:pt x="672" y="473"/>
                  </a:lnTo>
                  <a:lnTo>
                    <a:pt x="672" y="480"/>
                  </a:lnTo>
                  <a:lnTo>
                    <a:pt x="672" y="488"/>
                  </a:lnTo>
                  <a:lnTo>
                    <a:pt x="673" y="496"/>
                  </a:lnTo>
                  <a:lnTo>
                    <a:pt x="673" y="504"/>
                  </a:lnTo>
                  <a:lnTo>
                    <a:pt x="673" y="512"/>
                  </a:lnTo>
                  <a:lnTo>
                    <a:pt x="673" y="521"/>
                  </a:lnTo>
                  <a:lnTo>
                    <a:pt x="673" y="539"/>
                  </a:lnTo>
                  <a:lnTo>
                    <a:pt x="672" y="567"/>
                  </a:lnTo>
                  <a:lnTo>
                    <a:pt x="671" y="585"/>
                  </a:lnTo>
                  <a:lnTo>
                    <a:pt x="669" y="602"/>
                  </a:lnTo>
                  <a:lnTo>
                    <a:pt x="666" y="621"/>
                  </a:lnTo>
                  <a:lnTo>
                    <a:pt x="662" y="642"/>
                  </a:lnTo>
                  <a:lnTo>
                    <a:pt x="657" y="663"/>
                  </a:lnTo>
                  <a:lnTo>
                    <a:pt x="650" y="683"/>
                  </a:lnTo>
                  <a:lnTo>
                    <a:pt x="642" y="705"/>
                  </a:lnTo>
                  <a:lnTo>
                    <a:pt x="631" y="725"/>
                  </a:lnTo>
                  <a:lnTo>
                    <a:pt x="626" y="736"/>
                  </a:lnTo>
                  <a:lnTo>
                    <a:pt x="619" y="746"/>
                  </a:lnTo>
                  <a:lnTo>
                    <a:pt x="613" y="756"/>
                  </a:lnTo>
                  <a:lnTo>
                    <a:pt x="605" y="765"/>
                  </a:lnTo>
                  <a:lnTo>
                    <a:pt x="598" y="774"/>
                  </a:lnTo>
                  <a:lnTo>
                    <a:pt x="589" y="783"/>
                  </a:lnTo>
                  <a:lnTo>
                    <a:pt x="579" y="791"/>
                  </a:lnTo>
                  <a:lnTo>
                    <a:pt x="570" y="800"/>
                  </a:lnTo>
                  <a:lnTo>
                    <a:pt x="561" y="806"/>
                  </a:lnTo>
                  <a:lnTo>
                    <a:pt x="551" y="813"/>
                  </a:lnTo>
                  <a:lnTo>
                    <a:pt x="539" y="820"/>
                  </a:lnTo>
                  <a:lnTo>
                    <a:pt x="525" y="826"/>
                  </a:lnTo>
                  <a:lnTo>
                    <a:pt x="509" y="832"/>
                  </a:lnTo>
                  <a:lnTo>
                    <a:pt x="491" y="836"/>
                  </a:lnTo>
                  <a:lnTo>
                    <a:pt x="481" y="838"/>
                  </a:lnTo>
                  <a:lnTo>
                    <a:pt x="470" y="840"/>
                  </a:lnTo>
                  <a:lnTo>
                    <a:pt x="459" y="840"/>
                  </a:lnTo>
                  <a:lnTo>
                    <a:pt x="448" y="841"/>
                  </a:lnTo>
                  <a:lnTo>
                    <a:pt x="434" y="840"/>
                  </a:lnTo>
                  <a:lnTo>
                    <a:pt x="420" y="839"/>
                  </a:lnTo>
                  <a:lnTo>
                    <a:pt x="407" y="837"/>
                  </a:lnTo>
                  <a:lnTo>
                    <a:pt x="395" y="834"/>
                  </a:lnTo>
                  <a:lnTo>
                    <a:pt x="383" y="831"/>
                  </a:lnTo>
                  <a:lnTo>
                    <a:pt x="371" y="827"/>
                  </a:lnTo>
                  <a:lnTo>
                    <a:pt x="360" y="822"/>
                  </a:lnTo>
                  <a:lnTo>
                    <a:pt x="351" y="817"/>
                  </a:lnTo>
                  <a:lnTo>
                    <a:pt x="341" y="811"/>
                  </a:lnTo>
                  <a:lnTo>
                    <a:pt x="332" y="805"/>
                  </a:lnTo>
                  <a:lnTo>
                    <a:pt x="323" y="797"/>
                  </a:lnTo>
                  <a:lnTo>
                    <a:pt x="315" y="790"/>
                  </a:lnTo>
                  <a:lnTo>
                    <a:pt x="301" y="775"/>
                  </a:lnTo>
                  <a:lnTo>
                    <a:pt x="288" y="759"/>
                  </a:lnTo>
                  <a:lnTo>
                    <a:pt x="277" y="743"/>
                  </a:lnTo>
                  <a:lnTo>
                    <a:pt x="267" y="726"/>
                  </a:lnTo>
                  <a:lnTo>
                    <a:pt x="259" y="710"/>
                  </a:lnTo>
                  <a:lnTo>
                    <a:pt x="253" y="695"/>
                  </a:lnTo>
                  <a:lnTo>
                    <a:pt x="248" y="680"/>
                  </a:lnTo>
                  <a:lnTo>
                    <a:pt x="244" y="668"/>
                  </a:lnTo>
                  <a:lnTo>
                    <a:pt x="241" y="657"/>
                  </a:lnTo>
                  <a:lnTo>
                    <a:pt x="240" y="648"/>
                  </a:lnTo>
                  <a:lnTo>
                    <a:pt x="235" y="625"/>
                  </a:lnTo>
                  <a:lnTo>
                    <a:pt x="232" y="603"/>
                  </a:lnTo>
                  <a:lnTo>
                    <a:pt x="230" y="583"/>
                  </a:lnTo>
                  <a:lnTo>
                    <a:pt x="229" y="562"/>
                  </a:lnTo>
                  <a:lnTo>
                    <a:pt x="229" y="544"/>
                  </a:lnTo>
                  <a:lnTo>
                    <a:pt x="229" y="529"/>
                  </a:lnTo>
                  <a:lnTo>
                    <a:pt x="230" y="516"/>
                  </a:lnTo>
                  <a:lnTo>
                    <a:pt x="231" y="507"/>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70" name="Freeform 22"/>
            <p:cNvSpPr>
              <a:spLocks/>
            </p:cNvSpPr>
            <p:nvPr userDrawn="1"/>
          </p:nvSpPr>
          <p:spPr bwMode="auto">
            <a:xfrm>
              <a:off x="5472" y="362"/>
              <a:ext cx="25" cy="49"/>
            </a:xfrm>
            <a:custGeom>
              <a:avLst/>
              <a:gdLst>
                <a:gd name="T0" fmla="*/ 0 w 499"/>
                <a:gd name="T1" fmla="*/ 0 h 998"/>
                <a:gd name="T2" fmla="*/ 0 w 499"/>
                <a:gd name="T3" fmla="*/ 0 h 998"/>
                <a:gd name="T4" fmla="*/ 0 w 499"/>
                <a:gd name="T5" fmla="*/ 0 h 998"/>
                <a:gd name="T6" fmla="*/ 0 w 499"/>
                <a:gd name="T7" fmla="*/ 0 h 998"/>
                <a:gd name="T8" fmla="*/ 0 w 499"/>
                <a:gd name="T9" fmla="*/ 0 h 998"/>
                <a:gd name="T10" fmla="*/ 0 w 499"/>
                <a:gd name="T11" fmla="*/ 0 h 998"/>
                <a:gd name="T12" fmla="*/ 0 w 499"/>
                <a:gd name="T13" fmla="*/ 0 h 998"/>
                <a:gd name="T14" fmla="*/ 0 w 499"/>
                <a:gd name="T15" fmla="*/ 0 h 998"/>
                <a:gd name="T16" fmla="*/ 0 w 499"/>
                <a:gd name="T17" fmla="*/ 0 h 998"/>
                <a:gd name="T18" fmla="*/ 0 w 499"/>
                <a:gd name="T19" fmla="*/ 0 h 998"/>
                <a:gd name="T20" fmla="*/ 0 w 499"/>
                <a:gd name="T21" fmla="*/ 0 h 998"/>
                <a:gd name="T22" fmla="*/ 0 w 499"/>
                <a:gd name="T23" fmla="*/ 0 h 998"/>
                <a:gd name="T24" fmla="*/ 0 w 499"/>
                <a:gd name="T25" fmla="*/ 0 h 998"/>
                <a:gd name="T26" fmla="*/ 0 w 499"/>
                <a:gd name="T27" fmla="*/ 0 h 998"/>
                <a:gd name="T28" fmla="*/ 0 w 499"/>
                <a:gd name="T29" fmla="*/ 0 h 998"/>
                <a:gd name="T30" fmla="*/ 0 w 499"/>
                <a:gd name="T31" fmla="*/ 0 h 998"/>
                <a:gd name="T32" fmla="*/ 0 w 499"/>
                <a:gd name="T33" fmla="*/ 0 h 998"/>
                <a:gd name="T34" fmla="*/ 0 w 499"/>
                <a:gd name="T35" fmla="*/ 0 h 998"/>
                <a:gd name="T36" fmla="*/ 0 w 499"/>
                <a:gd name="T37" fmla="*/ 0 h 998"/>
                <a:gd name="T38" fmla="*/ 0 w 499"/>
                <a:gd name="T39" fmla="*/ 0 h 998"/>
                <a:gd name="T40" fmla="*/ 0 w 499"/>
                <a:gd name="T41" fmla="*/ 0 h 998"/>
                <a:gd name="T42" fmla="*/ 0 w 499"/>
                <a:gd name="T43" fmla="*/ 0 h 998"/>
                <a:gd name="T44" fmla="*/ 0 w 499"/>
                <a:gd name="T45" fmla="*/ 0 h 998"/>
                <a:gd name="T46" fmla="*/ 0 w 499"/>
                <a:gd name="T47" fmla="*/ 0 h 998"/>
                <a:gd name="T48" fmla="*/ 0 w 499"/>
                <a:gd name="T49" fmla="*/ 0 h 998"/>
                <a:gd name="T50" fmla="*/ 0 w 499"/>
                <a:gd name="T51" fmla="*/ 0 h 998"/>
                <a:gd name="T52" fmla="*/ 0 w 499"/>
                <a:gd name="T53" fmla="*/ 0 h 998"/>
                <a:gd name="T54" fmla="*/ 0 w 499"/>
                <a:gd name="T55" fmla="*/ 0 h 998"/>
                <a:gd name="T56" fmla="*/ 0 w 499"/>
                <a:gd name="T57" fmla="*/ 0 h 998"/>
                <a:gd name="T58" fmla="*/ 0 w 499"/>
                <a:gd name="T59" fmla="*/ 0 h 998"/>
                <a:gd name="T60" fmla="*/ 0 w 499"/>
                <a:gd name="T61" fmla="*/ 0 h 998"/>
                <a:gd name="T62" fmla="*/ 0 w 499"/>
                <a:gd name="T63" fmla="*/ 0 h 998"/>
                <a:gd name="T64" fmla="*/ 0 w 499"/>
                <a:gd name="T65" fmla="*/ 0 h 998"/>
                <a:gd name="T66" fmla="*/ 0 w 499"/>
                <a:gd name="T67" fmla="*/ 0 h 998"/>
                <a:gd name="T68" fmla="*/ 0 w 499"/>
                <a:gd name="T69" fmla="*/ 0 h 998"/>
                <a:gd name="T70" fmla="*/ 0 w 499"/>
                <a:gd name="T71" fmla="*/ 0 h 998"/>
                <a:gd name="T72" fmla="*/ 0 w 499"/>
                <a:gd name="T73" fmla="*/ 0 h 9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99" h="998">
                  <a:moveTo>
                    <a:pt x="0" y="21"/>
                  </a:moveTo>
                  <a:lnTo>
                    <a:pt x="0" y="998"/>
                  </a:lnTo>
                  <a:lnTo>
                    <a:pt x="78" y="993"/>
                  </a:lnTo>
                  <a:lnTo>
                    <a:pt x="96" y="992"/>
                  </a:lnTo>
                  <a:lnTo>
                    <a:pt x="112" y="992"/>
                  </a:lnTo>
                  <a:lnTo>
                    <a:pt x="129" y="992"/>
                  </a:lnTo>
                  <a:lnTo>
                    <a:pt x="147" y="992"/>
                  </a:lnTo>
                  <a:lnTo>
                    <a:pt x="164" y="993"/>
                  </a:lnTo>
                  <a:lnTo>
                    <a:pt x="181" y="993"/>
                  </a:lnTo>
                  <a:lnTo>
                    <a:pt x="199" y="994"/>
                  </a:lnTo>
                  <a:lnTo>
                    <a:pt x="215" y="995"/>
                  </a:lnTo>
                  <a:lnTo>
                    <a:pt x="215" y="592"/>
                  </a:lnTo>
                  <a:lnTo>
                    <a:pt x="216" y="571"/>
                  </a:lnTo>
                  <a:lnTo>
                    <a:pt x="216" y="543"/>
                  </a:lnTo>
                  <a:lnTo>
                    <a:pt x="217" y="526"/>
                  </a:lnTo>
                  <a:lnTo>
                    <a:pt x="219" y="507"/>
                  </a:lnTo>
                  <a:lnTo>
                    <a:pt x="221" y="488"/>
                  </a:lnTo>
                  <a:lnTo>
                    <a:pt x="225" y="468"/>
                  </a:lnTo>
                  <a:lnTo>
                    <a:pt x="229" y="446"/>
                  </a:lnTo>
                  <a:lnTo>
                    <a:pt x="236" y="425"/>
                  </a:lnTo>
                  <a:lnTo>
                    <a:pt x="243" y="403"/>
                  </a:lnTo>
                  <a:lnTo>
                    <a:pt x="252" y="381"/>
                  </a:lnTo>
                  <a:lnTo>
                    <a:pt x="263" y="360"/>
                  </a:lnTo>
                  <a:lnTo>
                    <a:pt x="276" y="339"/>
                  </a:lnTo>
                  <a:lnTo>
                    <a:pt x="283" y="328"/>
                  </a:lnTo>
                  <a:lnTo>
                    <a:pt x="292" y="319"/>
                  </a:lnTo>
                  <a:lnTo>
                    <a:pt x="300" y="309"/>
                  </a:lnTo>
                  <a:lnTo>
                    <a:pt x="309" y="300"/>
                  </a:lnTo>
                  <a:lnTo>
                    <a:pt x="319" y="289"/>
                  </a:lnTo>
                  <a:lnTo>
                    <a:pt x="329" y="281"/>
                  </a:lnTo>
                  <a:lnTo>
                    <a:pt x="340" y="274"/>
                  </a:lnTo>
                  <a:lnTo>
                    <a:pt x="349" y="267"/>
                  </a:lnTo>
                  <a:lnTo>
                    <a:pt x="359" y="262"/>
                  </a:lnTo>
                  <a:lnTo>
                    <a:pt x="368" y="257"/>
                  </a:lnTo>
                  <a:lnTo>
                    <a:pt x="377" y="253"/>
                  </a:lnTo>
                  <a:lnTo>
                    <a:pt x="386" y="250"/>
                  </a:lnTo>
                  <a:lnTo>
                    <a:pt x="403" y="246"/>
                  </a:lnTo>
                  <a:lnTo>
                    <a:pt x="419" y="243"/>
                  </a:lnTo>
                  <a:lnTo>
                    <a:pt x="433" y="241"/>
                  </a:lnTo>
                  <a:lnTo>
                    <a:pt x="447" y="240"/>
                  </a:lnTo>
                  <a:lnTo>
                    <a:pt x="453" y="240"/>
                  </a:lnTo>
                  <a:lnTo>
                    <a:pt x="459" y="238"/>
                  </a:lnTo>
                  <a:lnTo>
                    <a:pt x="465" y="238"/>
                  </a:lnTo>
                  <a:lnTo>
                    <a:pt x="471" y="238"/>
                  </a:lnTo>
                  <a:lnTo>
                    <a:pt x="478" y="238"/>
                  </a:lnTo>
                  <a:lnTo>
                    <a:pt x="484" y="237"/>
                  </a:lnTo>
                  <a:lnTo>
                    <a:pt x="491" y="237"/>
                  </a:lnTo>
                  <a:lnTo>
                    <a:pt x="497" y="237"/>
                  </a:lnTo>
                  <a:lnTo>
                    <a:pt x="499" y="0"/>
                  </a:lnTo>
                  <a:lnTo>
                    <a:pt x="487" y="0"/>
                  </a:lnTo>
                  <a:lnTo>
                    <a:pt x="473" y="1"/>
                  </a:lnTo>
                  <a:lnTo>
                    <a:pt x="457" y="2"/>
                  </a:lnTo>
                  <a:lnTo>
                    <a:pt x="438" y="5"/>
                  </a:lnTo>
                  <a:lnTo>
                    <a:pt x="418" y="9"/>
                  </a:lnTo>
                  <a:lnTo>
                    <a:pt x="396" y="16"/>
                  </a:lnTo>
                  <a:lnTo>
                    <a:pt x="385" y="20"/>
                  </a:lnTo>
                  <a:lnTo>
                    <a:pt x="373" y="25"/>
                  </a:lnTo>
                  <a:lnTo>
                    <a:pt x="362" y="31"/>
                  </a:lnTo>
                  <a:lnTo>
                    <a:pt x="351" y="37"/>
                  </a:lnTo>
                  <a:lnTo>
                    <a:pt x="335" y="47"/>
                  </a:lnTo>
                  <a:lnTo>
                    <a:pt x="321" y="57"/>
                  </a:lnTo>
                  <a:lnTo>
                    <a:pt x="308" y="69"/>
                  </a:lnTo>
                  <a:lnTo>
                    <a:pt x="296" y="81"/>
                  </a:lnTo>
                  <a:lnTo>
                    <a:pt x="284" y="94"/>
                  </a:lnTo>
                  <a:lnTo>
                    <a:pt x="274" y="107"/>
                  </a:lnTo>
                  <a:lnTo>
                    <a:pt x="264" y="120"/>
                  </a:lnTo>
                  <a:lnTo>
                    <a:pt x="255" y="135"/>
                  </a:lnTo>
                  <a:lnTo>
                    <a:pt x="247" y="150"/>
                  </a:lnTo>
                  <a:lnTo>
                    <a:pt x="239" y="165"/>
                  </a:lnTo>
                  <a:lnTo>
                    <a:pt x="231" y="180"/>
                  </a:lnTo>
                  <a:lnTo>
                    <a:pt x="224" y="196"/>
                  </a:lnTo>
                  <a:lnTo>
                    <a:pt x="210" y="228"/>
                  </a:lnTo>
                  <a:lnTo>
                    <a:pt x="197" y="262"/>
                  </a:lnTo>
                  <a:lnTo>
                    <a:pt x="197" y="21"/>
                  </a:lnTo>
                  <a:lnTo>
                    <a:pt x="0" y="21"/>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71" name="Freeform 23"/>
            <p:cNvSpPr>
              <a:spLocks/>
            </p:cNvSpPr>
            <p:nvPr userDrawn="1"/>
          </p:nvSpPr>
          <p:spPr bwMode="auto">
            <a:xfrm>
              <a:off x="5531" y="346"/>
              <a:ext cx="12" cy="65"/>
            </a:xfrm>
            <a:custGeom>
              <a:avLst/>
              <a:gdLst>
                <a:gd name="T0" fmla="*/ 0 w 244"/>
                <a:gd name="T1" fmla="*/ 0 h 1304"/>
                <a:gd name="T2" fmla="*/ 0 w 244"/>
                <a:gd name="T3" fmla="*/ 0 h 1304"/>
                <a:gd name="T4" fmla="*/ 0 w 244"/>
                <a:gd name="T5" fmla="*/ 0 h 1304"/>
                <a:gd name="T6" fmla="*/ 0 w 244"/>
                <a:gd name="T7" fmla="*/ 0 h 1304"/>
                <a:gd name="T8" fmla="*/ 0 w 244"/>
                <a:gd name="T9" fmla="*/ 0 h 1304"/>
                <a:gd name="T10" fmla="*/ 0 w 244"/>
                <a:gd name="T11" fmla="*/ 0 h 1304"/>
                <a:gd name="T12" fmla="*/ 0 w 244"/>
                <a:gd name="T13" fmla="*/ 0 h 130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4" h="1304">
                  <a:moveTo>
                    <a:pt x="0" y="1203"/>
                  </a:moveTo>
                  <a:lnTo>
                    <a:pt x="0" y="1304"/>
                  </a:lnTo>
                  <a:lnTo>
                    <a:pt x="244" y="1304"/>
                  </a:lnTo>
                  <a:lnTo>
                    <a:pt x="244" y="0"/>
                  </a:lnTo>
                  <a:lnTo>
                    <a:pt x="1" y="0"/>
                  </a:lnTo>
                  <a:lnTo>
                    <a:pt x="1" y="136"/>
                  </a:lnTo>
                  <a:lnTo>
                    <a:pt x="0" y="1203"/>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72" name="Freeform 24"/>
            <p:cNvSpPr>
              <a:spLocks/>
            </p:cNvSpPr>
            <p:nvPr userDrawn="1"/>
          </p:nvSpPr>
          <p:spPr bwMode="auto">
            <a:xfrm>
              <a:off x="5557" y="361"/>
              <a:ext cx="40" cy="50"/>
            </a:xfrm>
            <a:custGeom>
              <a:avLst/>
              <a:gdLst>
                <a:gd name="T0" fmla="*/ 0 w 798"/>
                <a:gd name="T1" fmla="*/ 0 h 1000"/>
                <a:gd name="T2" fmla="*/ 0 w 798"/>
                <a:gd name="T3" fmla="*/ 0 h 1000"/>
                <a:gd name="T4" fmla="*/ 0 w 798"/>
                <a:gd name="T5" fmla="*/ 0 h 1000"/>
                <a:gd name="T6" fmla="*/ 0 w 798"/>
                <a:gd name="T7" fmla="*/ 0 h 1000"/>
                <a:gd name="T8" fmla="*/ 0 w 798"/>
                <a:gd name="T9" fmla="*/ 0 h 1000"/>
                <a:gd name="T10" fmla="*/ 0 w 798"/>
                <a:gd name="T11" fmla="*/ 0 h 1000"/>
                <a:gd name="T12" fmla="*/ 0 w 798"/>
                <a:gd name="T13" fmla="*/ 0 h 1000"/>
                <a:gd name="T14" fmla="*/ 0 w 798"/>
                <a:gd name="T15" fmla="*/ 0 h 1000"/>
                <a:gd name="T16" fmla="*/ 0 w 798"/>
                <a:gd name="T17" fmla="*/ 0 h 1000"/>
                <a:gd name="T18" fmla="*/ 0 w 798"/>
                <a:gd name="T19" fmla="*/ 0 h 1000"/>
                <a:gd name="T20" fmla="*/ 0 w 798"/>
                <a:gd name="T21" fmla="*/ 0 h 1000"/>
                <a:gd name="T22" fmla="*/ 0 w 798"/>
                <a:gd name="T23" fmla="*/ 0 h 1000"/>
                <a:gd name="T24" fmla="*/ 0 w 798"/>
                <a:gd name="T25" fmla="*/ 0 h 1000"/>
                <a:gd name="T26" fmla="*/ 0 w 798"/>
                <a:gd name="T27" fmla="*/ 0 h 1000"/>
                <a:gd name="T28" fmla="*/ 0 w 798"/>
                <a:gd name="T29" fmla="*/ 0 h 1000"/>
                <a:gd name="T30" fmla="*/ 0 w 798"/>
                <a:gd name="T31" fmla="*/ 0 h 1000"/>
                <a:gd name="T32" fmla="*/ 0 w 798"/>
                <a:gd name="T33" fmla="*/ 0 h 1000"/>
                <a:gd name="T34" fmla="*/ 0 w 798"/>
                <a:gd name="T35" fmla="*/ 0 h 1000"/>
                <a:gd name="T36" fmla="*/ 0 w 798"/>
                <a:gd name="T37" fmla="*/ 0 h 1000"/>
                <a:gd name="T38" fmla="*/ 0 w 798"/>
                <a:gd name="T39" fmla="*/ 0 h 1000"/>
                <a:gd name="T40" fmla="*/ 0 w 798"/>
                <a:gd name="T41" fmla="*/ 0 h 1000"/>
                <a:gd name="T42" fmla="*/ 0 w 798"/>
                <a:gd name="T43" fmla="*/ 0 h 1000"/>
                <a:gd name="T44" fmla="*/ 0 w 798"/>
                <a:gd name="T45" fmla="*/ 0 h 1000"/>
                <a:gd name="T46" fmla="*/ 0 w 798"/>
                <a:gd name="T47" fmla="*/ 0 h 1000"/>
                <a:gd name="T48" fmla="*/ 0 w 798"/>
                <a:gd name="T49" fmla="*/ 0 h 1000"/>
                <a:gd name="T50" fmla="*/ 0 w 798"/>
                <a:gd name="T51" fmla="*/ 0 h 1000"/>
                <a:gd name="T52" fmla="*/ 0 w 798"/>
                <a:gd name="T53" fmla="*/ 0 h 1000"/>
                <a:gd name="T54" fmla="*/ 0 w 798"/>
                <a:gd name="T55" fmla="*/ 0 h 1000"/>
                <a:gd name="T56" fmla="*/ 0 w 798"/>
                <a:gd name="T57" fmla="*/ 0 h 1000"/>
                <a:gd name="T58" fmla="*/ 0 w 798"/>
                <a:gd name="T59" fmla="*/ 0 h 1000"/>
                <a:gd name="T60" fmla="*/ 0 w 798"/>
                <a:gd name="T61" fmla="*/ 0 h 1000"/>
                <a:gd name="T62" fmla="*/ 0 w 798"/>
                <a:gd name="T63" fmla="*/ 0 h 1000"/>
                <a:gd name="T64" fmla="*/ 0 w 798"/>
                <a:gd name="T65" fmla="*/ 0 h 1000"/>
                <a:gd name="T66" fmla="*/ 0 w 798"/>
                <a:gd name="T67" fmla="*/ 0 h 1000"/>
                <a:gd name="T68" fmla="*/ 0 w 798"/>
                <a:gd name="T69" fmla="*/ 0 h 1000"/>
                <a:gd name="T70" fmla="*/ 0 w 798"/>
                <a:gd name="T71" fmla="*/ 0 h 1000"/>
                <a:gd name="T72" fmla="*/ 0 w 798"/>
                <a:gd name="T73" fmla="*/ 0 h 1000"/>
                <a:gd name="T74" fmla="*/ 0 w 798"/>
                <a:gd name="T75" fmla="*/ 0 h 1000"/>
                <a:gd name="T76" fmla="*/ 0 w 798"/>
                <a:gd name="T77" fmla="*/ 0 h 1000"/>
                <a:gd name="T78" fmla="*/ 0 w 798"/>
                <a:gd name="T79" fmla="*/ 0 h 1000"/>
                <a:gd name="T80" fmla="*/ 0 w 798"/>
                <a:gd name="T81" fmla="*/ 0 h 1000"/>
                <a:gd name="T82" fmla="*/ 0 w 798"/>
                <a:gd name="T83" fmla="*/ 0 h 1000"/>
                <a:gd name="T84" fmla="*/ 0 w 798"/>
                <a:gd name="T85" fmla="*/ 0 h 1000"/>
                <a:gd name="T86" fmla="*/ 0 w 798"/>
                <a:gd name="T87" fmla="*/ 0 h 1000"/>
                <a:gd name="T88" fmla="*/ 0 w 798"/>
                <a:gd name="T89" fmla="*/ 0 h 1000"/>
                <a:gd name="T90" fmla="*/ 0 w 798"/>
                <a:gd name="T91" fmla="*/ 0 h 1000"/>
                <a:gd name="T92" fmla="*/ 0 w 798"/>
                <a:gd name="T93" fmla="*/ 0 h 1000"/>
                <a:gd name="T94" fmla="*/ 0 w 798"/>
                <a:gd name="T95" fmla="*/ 0 h 1000"/>
                <a:gd name="T96" fmla="*/ 0 w 798"/>
                <a:gd name="T97" fmla="*/ 0 h 1000"/>
                <a:gd name="T98" fmla="*/ 0 w 798"/>
                <a:gd name="T99" fmla="*/ 0 h 1000"/>
                <a:gd name="T100" fmla="*/ 0 w 798"/>
                <a:gd name="T101" fmla="*/ 0 h 1000"/>
                <a:gd name="T102" fmla="*/ 0 w 798"/>
                <a:gd name="T103" fmla="*/ 0 h 1000"/>
                <a:gd name="T104" fmla="*/ 0 w 798"/>
                <a:gd name="T105" fmla="*/ 0 h 1000"/>
                <a:gd name="T106" fmla="*/ 0 w 798"/>
                <a:gd name="T107" fmla="*/ 0 h 10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8" h="1000">
                  <a:moveTo>
                    <a:pt x="0" y="23"/>
                  </a:moveTo>
                  <a:lnTo>
                    <a:pt x="0" y="993"/>
                  </a:lnTo>
                  <a:lnTo>
                    <a:pt x="220" y="1000"/>
                  </a:lnTo>
                  <a:lnTo>
                    <a:pt x="220" y="483"/>
                  </a:lnTo>
                  <a:lnTo>
                    <a:pt x="222" y="446"/>
                  </a:lnTo>
                  <a:lnTo>
                    <a:pt x="226" y="410"/>
                  </a:lnTo>
                  <a:lnTo>
                    <a:pt x="229" y="391"/>
                  </a:lnTo>
                  <a:lnTo>
                    <a:pt x="232" y="374"/>
                  </a:lnTo>
                  <a:lnTo>
                    <a:pt x="235" y="358"/>
                  </a:lnTo>
                  <a:lnTo>
                    <a:pt x="240" y="340"/>
                  </a:lnTo>
                  <a:lnTo>
                    <a:pt x="245" y="324"/>
                  </a:lnTo>
                  <a:lnTo>
                    <a:pt x="251" y="309"/>
                  </a:lnTo>
                  <a:lnTo>
                    <a:pt x="259" y="293"/>
                  </a:lnTo>
                  <a:lnTo>
                    <a:pt x="268" y="278"/>
                  </a:lnTo>
                  <a:lnTo>
                    <a:pt x="279" y="264"/>
                  </a:lnTo>
                  <a:lnTo>
                    <a:pt x="291" y="251"/>
                  </a:lnTo>
                  <a:lnTo>
                    <a:pt x="304" y="237"/>
                  </a:lnTo>
                  <a:lnTo>
                    <a:pt x="319" y="225"/>
                  </a:lnTo>
                  <a:lnTo>
                    <a:pt x="337" y="212"/>
                  </a:lnTo>
                  <a:lnTo>
                    <a:pt x="353" y="202"/>
                  </a:lnTo>
                  <a:lnTo>
                    <a:pt x="368" y="195"/>
                  </a:lnTo>
                  <a:lnTo>
                    <a:pt x="384" y="190"/>
                  </a:lnTo>
                  <a:lnTo>
                    <a:pt x="398" y="186"/>
                  </a:lnTo>
                  <a:lnTo>
                    <a:pt x="410" y="183"/>
                  </a:lnTo>
                  <a:lnTo>
                    <a:pt x="421" y="182"/>
                  </a:lnTo>
                  <a:lnTo>
                    <a:pt x="431" y="181"/>
                  </a:lnTo>
                  <a:lnTo>
                    <a:pt x="448" y="182"/>
                  </a:lnTo>
                  <a:lnTo>
                    <a:pt x="464" y="186"/>
                  </a:lnTo>
                  <a:lnTo>
                    <a:pt x="480" y="190"/>
                  </a:lnTo>
                  <a:lnTo>
                    <a:pt x="493" y="195"/>
                  </a:lnTo>
                  <a:lnTo>
                    <a:pt x="504" y="201"/>
                  </a:lnTo>
                  <a:lnTo>
                    <a:pt x="513" y="206"/>
                  </a:lnTo>
                  <a:lnTo>
                    <a:pt x="521" y="212"/>
                  </a:lnTo>
                  <a:lnTo>
                    <a:pt x="527" y="217"/>
                  </a:lnTo>
                  <a:lnTo>
                    <a:pt x="538" y="227"/>
                  </a:lnTo>
                  <a:lnTo>
                    <a:pt x="547" y="237"/>
                  </a:lnTo>
                  <a:lnTo>
                    <a:pt x="555" y="248"/>
                  </a:lnTo>
                  <a:lnTo>
                    <a:pt x="561" y="259"/>
                  </a:lnTo>
                  <a:lnTo>
                    <a:pt x="567" y="270"/>
                  </a:lnTo>
                  <a:lnTo>
                    <a:pt x="572" y="281"/>
                  </a:lnTo>
                  <a:lnTo>
                    <a:pt x="575" y="293"/>
                  </a:lnTo>
                  <a:lnTo>
                    <a:pt x="578" y="306"/>
                  </a:lnTo>
                  <a:lnTo>
                    <a:pt x="584" y="331"/>
                  </a:lnTo>
                  <a:lnTo>
                    <a:pt x="586" y="358"/>
                  </a:lnTo>
                  <a:lnTo>
                    <a:pt x="587" y="384"/>
                  </a:lnTo>
                  <a:lnTo>
                    <a:pt x="588" y="412"/>
                  </a:lnTo>
                  <a:lnTo>
                    <a:pt x="588" y="1000"/>
                  </a:lnTo>
                  <a:lnTo>
                    <a:pt x="798" y="1000"/>
                  </a:lnTo>
                  <a:lnTo>
                    <a:pt x="798" y="339"/>
                  </a:lnTo>
                  <a:lnTo>
                    <a:pt x="798" y="333"/>
                  </a:lnTo>
                  <a:lnTo>
                    <a:pt x="797" y="323"/>
                  </a:lnTo>
                  <a:lnTo>
                    <a:pt x="796" y="311"/>
                  </a:lnTo>
                  <a:lnTo>
                    <a:pt x="795" y="296"/>
                  </a:lnTo>
                  <a:lnTo>
                    <a:pt x="794" y="281"/>
                  </a:lnTo>
                  <a:lnTo>
                    <a:pt x="792" y="264"/>
                  </a:lnTo>
                  <a:lnTo>
                    <a:pt x="789" y="247"/>
                  </a:lnTo>
                  <a:lnTo>
                    <a:pt x="785" y="230"/>
                  </a:lnTo>
                  <a:lnTo>
                    <a:pt x="780" y="213"/>
                  </a:lnTo>
                  <a:lnTo>
                    <a:pt x="775" y="198"/>
                  </a:lnTo>
                  <a:lnTo>
                    <a:pt x="770" y="184"/>
                  </a:lnTo>
                  <a:lnTo>
                    <a:pt x="766" y="171"/>
                  </a:lnTo>
                  <a:lnTo>
                    <a:pt x="761" y="161"/>
                  </a:lnTo>
                  <a:lnTo>
                    <a:pt x="756" y="151"/>
                  </a:lnTo>
                  <a:lnTo>
                    <a:pt x="753" y="143"/>
                  </a:lnTo>
                  <a:lnTo>
                    <a:pt x="749" y="137"/>
                  </a:lnTo>
                  <a:lnTo>
                    <a:pt x="742" y="125"/>
                  </a:lnTo>
                  <a:lnTo>
                    <a:pt x="735" y="113"/>
                  </a:lnTo>
                  <a:lnTo>
                    <a:pt x="726" y="102"/>
                  </a:lnTo>
                  <a:lnTo>
                    <a:pt x="717" y="91"/>
                  </a:lnTo>
                  <a:lnTo>
                    <a:pt x="708" y="81"/>
                  </a:lnTo>
                  <a:lnTo>
                    <a:pt x="699" y="71"/>
                  </a:lnTo>
                  <a:lnTo>
                    <a:pt x="689" y="62"/>
                  </a:lnTo>
                  <a:lnTo>
                    <a:pt x="678" y="54"/>
                  </a:lnTo>
                  <a:lnTo>
                    <a:pt x="666" y="47"/>
                  </a:lnTo>
                  <a:lnTo>
                    <a:pt x="652" y="38"/>
                  </a:lnTo>
                  <a:lnTo>
                    <a:pt x="635" y="30"/>
                  </a:lnTo>
                  <a:lnTo>
                    <a:pt x="614" y="21"/>
                  </a:lnTo>
                  <a:lnTo>
                    <a:pt x="592" y="13"/>
                  </a:lnTo>
                  <a:lnTo>
                    <a:pt x="565" y="6"/>
                  </a:lnTo>
                  <a:lnTo>
                    <a:pt x="551" y="4"/>
                  </a:lnTo>
                  <a:lnTo>
                    <a:pt x="536" y="2"/>
                  </a:lnTo>
                  <a:lnTo>
                    <a:pt x="520" y="0"/>
                  </a:lnTo>
                  <a:lnTo>
                    <a:pt x="503" y="0"/>
                  </a:lnTo>
                  <a:lnTo>
                    <a:pt x="489" y="0"/>
                  </a:lnTo>
                  <a:lnTo>
                    <a:pt x="475" y="1"/>
                  </a:lnTo>
                  <a:lnTo>
                    <a:pt x="462" y="2"/>
                  </a:lnTo>
                  <a:lnTo>
                    <a:pt x="450" y="4"/>
                  </a:lnTo>
                  <a:lnTo>
                    <a:pt x="425" y="9"/>
                  </a:lnTo>
                  <a:lnTo>
                    <a:pt x="403" y="15"/>
                  </a:lnTo>
                  <a:lnTo>
                    <a:pt x="382" y="24"/>
                  </a:lnTo>
                  <a:lnTo>
                    <a:pt x="363" y="33"/>
                  </a:lnTo>
                  <a:lnTo>
                    <a:pt x="345" y="43"/>
                  </a:lnTo>
                  <a:lnTo>
                    <a:pt x="330" y="54"/>
                  </a:lnTo>
                  <a:lnTo>
                    <a:pt x="314" y="65"/>
                  </a:lnTo>
                  <a:lnTo>
                    <a:pt x="302" y="78"/>
                  </a:lnTo>
                  <a:lnTo>
                    <a:pt x="290" y="89"/>
                  </a:lnTo>
                  <a:lnTo>
                    <a:pt x="280" y="101"/>
                  </a:lnTo>
                  <a:lnTo>
                    <a:pt x="261" y="124"/>
                  </a:lnTo>
                  <a:lnTo>
                    <a:pt x="248" y="144"/>
                  </a:lnTo>
                  <a:lnTo>
                    <a:pt x="242" y="154"/>
                  </a:lnTo>
                  <a:lnTo>
                    <a:pt x="236" y="165"/>
                  </a:lnTo>
                  <a:lnTo>
                    <a:pt x="229" y="176"/>
                  </a:lnTo>
                  <a:lnTo>
                    <a:pt x="222" y="189"/>
                  </a:lnTo>
                  <a:lnTo>
                    <a:pt x="216" y="200"/>
                  </a:lnTo>
                  <a:lnTo>
                    <a:pt x="211" y="211"/>
                  </a:lnTo>
                  <a:lnTo>
                    <a:pt x="206" y="222"/>
                  </a:lnTo>
                  <a:lnTo>
                    <a:pt x="201" y="232"/>
                  </a:lnTo>
                  <a:lnTo>
                    <a:pt x="201" y="23"/>
                  </a:lnTo>
                  <a:lnTo>
                    <a:pt x="0" y="23"/>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73" name="Freeform 25"/>
            <p:cNvSpPr>
              <a:spLocks/>
            </p:cNvSpPr>
            <p:nvPr userDrawn="1"/>
          </p:nvSpPr>
          <p:spPr bwMode="auto">
            <a:xfrm>
              <a:off x="5604" y="349"/>
              <a:ext cx="27" cy="63"/>
            </a:xfrm>
            <a:custGeom>
              <a:avLst/>
              <a:gdLst>
                <a:gd name="T0" fmla="*/ 0 w 538"/>
                <a:gd name="T1" fmla="*/ 0 h 1259"/>
                <a:gd name="T2" fmla="*/ 0 w 538"/>
                <a:gd name="T3" fmla="*/ 0 h 1259"/>
                <a:gd name="T4" fmla="*/ 0 w 538"/>
                <a:gd name="T5" fmla="*/ 0 h 1259"/>
                <a:gd name="T6" fmla="*/ 0 w 538"/>
                <a:gd name="T7" fmla="*/ 0 h 1259"/>
                <a:gd name="T8" fmla="*/ 0 w 538"/>
                <a:gd name="T9" fmla="*/ 0 h 1259"/>
                <a:gd name="T10" fmla="*/ 0 w 538"/>
                <a:gd name="T11" fmla="*/ 0 h 1259"/>
                <a:gd name="T12" fmla="*/ 0 w 538"/>
                <a:gd name="T13" fmla="*/ 0 h 1259"/>
                <a:gd name="T14" fmla="*/ 0 w 538"/>
                <a:gd name="T15" fmla="*/ 0 h 1259"/>
                <a:gd name="T16" fmla="*/ 0 w 538"/>
                <a:gd name="T17" fmla="*/ 0 h 1259"/>
                <a:gd name="T18" fmla="*/ 0 w 538"/>
                <a:gd name="T19" fmla="*/ 0 h 1259"/>
                <a:gd name="T20" fmla="*/ 0 w 538"/>
                <a:gd name="T21" fmla="*/ 0 h 1259"/>
                <a:gd name="T22" fmla="*/ 0 w 538"/>
                <a:gd name="T23" fmla="*/ 0 h 1259"/>
                <a:gd name="T24" fmla="*/ 0 w 538"/>
                <a:gd name="T25" fmla="*/ 0 h 1259"/>
                <a:gd name="T26" fmla="*/ 0 w 538"/>
                <a:gd name="T27" fmla="*/ 0 h 1259"/>
                <a:gd name="T28" fmla="*/ 0 w 538"/>
                <a:gd name="T29" fmla="*/ 0 h 1259"/>
                <a:gd name="T30" fmla="*/ 0 w 538"/>
                <a:gd name="T31" fmla="*/ 0 h 1259"/>
                <a:gd name="T32" fmla="*/ 0 w 538"/>
                <a:gd name="T33" fmla="*/ 0 h 1259"/>
                <a:gd name="T34" fmla="*/ 0 w 538"/>
                <a:gd name="T35" fmla="*/ 0 h 1259"/>
                <a:gd name="T36" fmla="*/ 0 w 538"/>
                <a:gd name="T37" fmla="*/ 0 h 1259"/>
                <a:gd name="T38" fmla="*/ 0 w 538"/>
                <a:gd name="T39" fmla="*/ 0 h 1259"/>
                <a:gd name="T40" fmla="*/ 0 w 538"/>
                <a:gd name="T41" fmla="*/ 0 h 1259"/>
                <a:gd name="T42" fmla="*/ 0 w 538"/>
                <a:gd name="T43" fmla="*/ 0 h 1259"/>
                <a:gd name="T44" fmla="*/ 0 w 538"/>
                <a:gd name="T45" fmla="*/ 0 h 1259"/>
                <a:gd name="T46" fmla="*/ 0 w 538"/>
                <a:gd name="T47" fmla="*/ 0 h 1259"/>
                <a:gd name="T48" fmla="*/ 0 w 538"/>
                <a:gd name="T49" fmla="*/ 0 h 1259"/>
                <a:gd name="T50" fmla="*/ 0 w 538"/>
                <a:gd name="T51" fmla="*/ 0 h 1259"/>
                <a:gd name="T52" fmla="*/ 0 w 538"/>
                <a:gd name="T53" fmla="*/ 0 h 1259"/>
                <a:gd name="T54" fmla="*/ 0 w 538"/>
                <a:gd name="T55" fmla="*/ 0 h 1259"/>
                <a:gd name="T56" fmla="*/ 0 w 538"/>
                <a:gd name="T57" fmla="*/ 0 h 1259"/>
                <a:gd name="T58" fmla="*/ 0 w 538"/>
                <a:gd name="T59" fmla="*/ 0 h 1259"/>
                <a:gd name="T60" fmla="*/ 0 w 538"/>
                <a:gd name="T61" fmla="*/ 0 h 1259"/>
                <a:gd name="T62" fmla="*/ 0 w 538"/>
                <a:gd name="T63" fmla="*/ 0 h 1259"/>
                <a:gd name="T64" fmla="*/ 0 w 538"/>
                <a:gd name="T65" fmla="*/ 0 h 12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38" h="1259">
                  <a:moveTo>
                    <a:pt x="0" y="276"/>
                  </a:moveTo>
                  <a:lnTo>
                    <a:pt x="0" y="457"/>
                  </a:lnTo>
                  <a:lnTo>
                    <a:pt x="118" y="457"/>
                  </a:lnTo>
                  <a:lnTo>
                    <a:pt x="118" y="996"/>
                  </a:lnTo>
                  <a:lnTo>
                    <a:pt x="121" y="1025"/>
                  </a:lnTo>
                  <a:lnTo>
                    <a:pt x="125" y="1051"/>
                  </a:lnTo>
                  <a:lnTo>
                    <a:pt x="130" y="1077"/>
                  </a:lnTo>
                  <a:lnTo>
                    <a:pt x="136" y="1101"/>
                  </a:lnTo>
                  <a:lnTo>
                    <a:pt x="140" y="1114"/>
                  </a:lnTo>
                  <a:lnTo>
                    <a:pt x="146" y="1126"/>
                  </a:lnTo>
                  <a:lnTo>
                    <a:pt x="151" y="1137"/>
                  </a:lnTo>
                  <a:lnTo>
                    <a:pt x="157" y="1148"/>
                  </a:lnTo>
                  <a:lnTo>
                    <a:pt x="164" y="1159"/>
                  </a:lnTo>
                  <a:lnTo>
                    <a:pt x="172" y="1171"/>
                  </a:lnTo>
                  <a:lnTo>
                    <a:pt x="181" y="1181"/>
                  </a:lnTo>
                  <a:lnTo>
                    <a:pt x="190" y="1191"/>
                  </a:lnTo>
                  <a:lnTo>
                    <a:pt x="202" y="1202"/>
                  </a:lnTo>
                  <a:lnTo>
                    <a:pt x="212" y="1211"/>
                  </a:lnTo>
                  <a:lnTo>
                    <a:pt x="223" y="1219"/>
                  </a:lnTo>
                  <a:lnTo>
                    <a:pt x="235" y="1227"/>
                  </a:lnTo>
                  <a:lnTo>
                    <a:pt x="248" y="1233"/>
                  </a:lnTo>
                  <a:lnTo>
                    <a:pt x="260" y="1239"/>
                  </a:lnTo>
                  <a:lnTo>
                    <a:pt x="272" y="1243"/>
                  </a:lnTo>
                  <a:lnTo>
                    <a:pt x="285" y="1247"/>
                  </a:lnTo>
                  <a:lnTo>
                    <a:pt x="299" y="1250"/>
                  </a:lnTo>
                  <a:lnTo>
                    <a:pt x="313" y="1253"/>
                  </a:lnTo>
                  <a:lnTo>
                    <a:pt x="327" y="1255"/>
                  </a:lnTo>
                  <a:lnTo>
                    <a:pt x="341" y="1256"/>
                  </a:lnTo>
                  <a:lnTo>
                    <a:pt x="371" y="1258"/>
                  </a:lnTo>
                  <a:lnTo>
                    <a:pt x="402" y="1259"/>
                  </a:lnTo>
                  <a:lnTo>
                    <a:pt x="418" y="1259"/>
                  </a:lnTo>
                  <a:lnTo>
                    <a:pt x="435" y="1258"/>
                  </a:lnTo>
                  <a:lnTo>
                    <a:pt x="452" y="1258"/>
                  </a:lnTo>
                  <a:lnTo>
                    <a:pt x="469" y="1257"/>
                  </a:lnTo>
                  <a:lnTo>
                    <a:pt x="485" y="1256"/>
                  </a:lnTo>
                  <a:lnTo>
                    <a:pt x="503" y="1255"/>
                  </a:lnTo>
                  <a:lnTo>
                    <a:pt x="519" y="1254"/>
                  </a:lnTo>
                  <a:lnTo>
                    <a:pt x="536" y="1253"/>
                  </a:lnTo>
                  <a:lnTo>
                    <a:pt x="538" y="1074"/>
                  </a:lnTo>
                  <a:lnTo>
                    <a:pt x="515" y="1076"/>
                  </a:lnTo>
                  <a:lnTo>
                    <a:pt x="491" y="1077"/>
                  </a:lnTo>
                  <a:lnTo>
                    <a:pt x="467" y="1078"/>
                  </a:lnTo>
                  <a:lnTo>
                    <a:pt x="442" y="1076"/>
                  </a:lnTo>
                  <a:lnTo>
                    <a:pt x="431" y="1075"/>
                  </a:lnTo>
                  <a:lnTo>
                    <a:pt x="420" y="1072"/>
                  </a:lnTo>
                  <a:lnTo>
                    <a:pt x="409" y="1069"/>
                  </a:lnTo>
                  <a:lnTo>
                    <a:pt x="399" y="1065"/>
                  </a:lnTo>
                  <a:lnTo>
                    <a:pt x="388" y="1060"/>
                  </a:lnTo>
                  <a:lnTo>
                    <a:pt x="378" y="1054"/>
                  </a:lnTo>
                  <a:lnTo>
                    <a:pt x="370" y="1046"/>
                  </a:lnTo>
                  <a:lnTo>
                    <a:pt x="362" y="1038"/>
                  </a:lnTo>
                  <a:lnTo>
                    <a:pt x="356" y="1030"/>
                  </a:lnTo>
                  <a:lnTo>
                    <a:pt x="351" y="1022"/>
                  </a:lnTo>
                  <a:lnTo>
                    <a:pt x="347" y="1013"/>
                  </a:lnTo>
                  <a:lnTo>
                    <a:pt x="342" y="1003"/>
                  </a:lnTo>
                  <a:lnTo>
                    <a:pt x="339" y="991"/>
                  </a:lnTo>
                  <a:lnTo>
                    <a:pt x="337" y="978"/>
                  </a:lnTo>
                  <a:lnTo>
                    <a:pt x="335" y="963"/>
                  </a:lnTo>
                  <a:lnTo>
                    <a:pt x="333" y="945"/>
                  </a:lnTo>
                  <a:lnTo>
                    <a:pt x="333" y="455"/>
                  </a:lnTo>
                  <a:lnTo>
                    <a:pt x="527" y="455"/>
                  </a:lnTo>
                  <a:lnTo>
                    <a:pt x="527" y="274"/>
                  </a:lnTo>
                  <a:lnTo>
                    <a:pt x="331" y="274"/>
                  </a:lnTo>
                  <a:lnTo>
                    <a:pt x="331" y="0"/>
                  </a:lnTo>
                  <a:lnTo>
                    <a:pt x="156" y="13"/>
                  </a:lnTo>
                  <a:lnTo>
                    <a:pt x="131" y="276"/>
                  </a:lnTo>
                  <a:lnTo>
                    <a:pt x="0" y="276"/>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74" name="Freeform 26"/>
            <p:cNvSpPr>
              <a:spLocks noEditPoints="1"/>
            </p:cNvSpPr>
            <p:nvPr userDrawn="1"/>
          </p:nvSpPr>
          <p:spPr bwMode="auto">
            <a:xfrm>
              <a:off x="5635" y="362"/>
              <a:ext cx="44" cy="50"/>
            </a:xfrm>
            <a:custGeom>
              <a:avLst/>
              <a:gdLst>
                <a:gd name="T0" fmla="*/ 0 w 873"/>
                <a:gd name="T1" fmla="*/ 0 h 1017"/>
                <a:gd name="T2" fmla="*/ 0 w 873"/>
                <a:gd name="T3" fmla="*/ 0 h 1017"/>
                <a:gd name="T4" fmla="*/ 0 w 873"/>
                <a:gd name="T5" fmla="*/ 0 h 1017"/>
                <a:gd name="T6" fmla="*/ 0 w 873"/>
                <a:gd name="T7" fmla="*/ 0 h 1017"/>
                <a:gd name="T8" fmla="*/ 0 w 873"/>
                <a:gd name="T9" fmla="*/ 0 h 1017"/>
                <a:gd name="T10" fmla="*/ 0 w 873"/>
                <a:gd name="T11" fmla="*/ 0 h 1017"/>
                <a:gd name="T12" fmla="*/ 0 w 873"/>
                <a:gd name="T13" fmla="*/ 0 h 1017"/>
                <a:gd name="T14" fmla="*/ 0 w 873"/>
                <a:gd name="T15" fmla="*/ 0 h 1017"/>
                <a:gd name="T16" fmla="*/ 0 w 873"/>
                <a:gd name="T17" fmla="*/ 0 h 1017"/>
                <a:gd name="T18" fmla="*/ 0 w 873"/>
                <a:gd name="T19" fmla="*/ 0 h 1017"/>
                <a:gd name="T20" fmla="*/ 0 w 873"/>
                <a:gd name="T21" fmla="*/ 0 h 1017"/>
                <a:gd name="T22" fmla="*/ 0 w 873"/>
                <a:gd name="T23" fmla="*/ 0 h 1017"/>
                <a:gd name="T24" fmla="*/ 0 w 873"/>
                <a:gd name="T25" fmla="*/ 0 h 1017"/>
                <a:gd name="T26" fmla="*/ 0 w 873"/>
                <a:gd name="T27" fmla="*/ 0 h 1017"/>
                <a:gd name="T28" fmla="*/ 0 w 873"/>
                <a:gd name="T29" fmla="*/ 0 h 1017"/>
                <a:gd name="T30" fmla="*/ 0 w 873"/>
                <a:gd name="T31" fmla="*/ 0 h 1017"/>
                <a:gd name="T32" fmla="*/ 0 w 873"/>
                <a:gd name="T33" fmla="*/ 0 h 1017"/>
                <a:gd name="T34" fmla="*/ 0 w 873"/>
                <a:gd name="T35" fmla="*/ 0 h 1017"/>
                <a:gd name="T36" fmla="*/ 0 w 873"/>
                <a:gd name="T37" fmla="*/ 0 h 1017"/>
                <a:gd name="T38" fmla="*/ 0 w 873"/>
                <a:gd name="T39" fmla="*/ 0 h 1017"/>
                <a:gd name="T40" fmla="*/ 0 w 873"/>
                <a:gd name="T41" fmla="*/ 0 h 1017"/>
                <a:gd name="T42" fmla="*/ 0 w 873"/>
                <a:gd name="T43" fmla="*/ 0 h 1017"/>
                <a:gd name="T44" fmla="*/ 0 w 873"/>
                <a:gd name="T45" fmla="*/ 0 h 1017"/>
                <a:gd name="T46" fmla="*/ 0 w 873"/>
                <a:gd name="T47" fmla="*/ 0 h 1017"/>
                <a:gd name="T48" fmla="*/ 0 w 873"/>
                <a:gd name="T49" fmla="*/ 0 h 1017"/>
                <a:gd name="T50" fmla="*/ 0 w 873"/>
                <a:gd name="T51" fmla="*/ 0 h 1017"/>
                <a:gd name="T52" fmla="*/ 0 w 873"/>
                <a:gd name="T53" fmla="*/ 0 h 1017"/>
                <a:gd name="T54" fmla="*/ 0 w 873"/>
                <a:gd name="T55" fmla="*/ 0 h 1017"/>
                <a:gd name="T56" fmla="*/ 0 w 873"/>
                <a:gd name="T57" fmla="*/ 0 h 1017"/>
                <a:gd name="T58" fmla="*/ 0 w 873"/>
                <a:gd name="T59" fmla="*/ 0 h 1017"/>
                <a:gd name="T60" fmla="*/ 0 w 873"/>
                <a:gd name="T61" fmla="*/ 0 h 1017"/>
                <a:gd name="T62" fmla="*/ 0 w 873"/>
                <a:gd name="T63" fmla="*/ 0 h 1017"/>
                <a:gd name="T64" fmla="*/ 0 w 873"/>
                <a:gd name="T65" fmla="*/ 0 h 1017"/>
                <a:gd name="T66" fmla="*/ 0 w 873"/>
                <a:gd name="T67" fmla="*/ 0 h 1017"/>
                <a:gd name="T68" fmla="*/ 0 w 873"/>
                <a:gd name="T69" fmla="*/ 0 h 1017"/>
                <a:gd name="T70" fmla="*/ 0 w 873"/>
                <a:gd name="T71" fmla="*/ 0 h 1017"/>
                <a:gd name="T72" fmla="*/ 0 w 873"/>
                <a:gd name="T73" fmla="*/ 0 h 1017"/>
                <a:gd name="T74" fmla="*/ 0 w 873"/>
                <a:gd name="T75" fmla="*/ 0 h 1017"/>
                <a:gd name="T76" fmla="*/ 0 w 873"/>
                <a:gd name="T77" fmla="*/ 0 h 1017"/>
                <a:gd name="T78" fmla="*/ 0 w 873"/>
                <a:gd name="T79" fmla="*/ 0 h 1017"/>
                <a:gd name="T80" fmla="*/ 0 w 873"/>
                <a:gd name="T81" fmla="*/ 0 h 1017"/>
                <a:gd name="T82" fmla="*/ 0 w 873"/>
                <a:gd name="T83" fmla="*/ 0 h 1017"/>
                <a:gd name="T84" fmla="*/ 0 w 873"/>
                <a:gd name="T85" fmla="*/ 0 h 1017"/>
                <a:gd name="T86" fmla="*/ 0 w 873"/>
                <a:gd name="T87" fmla="*/ 0 h 1017"/>
                <a:gd name="T88" fmla="*/ 0 w 873"/>
                <a:gd name="T89" fmla="*/ 0 h 1017"/>
                <a:gd name="T90" fmla="*/ 0 w 873"/>
                <a:gd name="T91" fmla="*/ 0 h 1017"/>
                <a:gd name="T92" fmla="*/ 0 w 873"/>
                <a:gd name="T93" fmla="*/ 0 h 1017"/>
                <a:gd name="T94" fmla="*/ 0 w 873"/>
                <a:gd name="T95" fmla="*/ 0 h 1017"/>
                <a:gd name="T96" fmla="*/ 0 w 873"/>
                <a:gd name="T97" fmla="*/ 0 h 1017"/>
                <a:gd name="T98" fmla="*/ 0 w 873"/>
                <a:gd name="T99" fmla="*/ 0 h 1017"/>
                <a:gd name="T100" fmla="*/ 0 w 873"/>
                <a:gd name="T101" fmla="*/ 0 h 1017"/>
                <a:gd name="T102" fmla="*/ 0 w 873"/>
                <a:gd name="T103" fmla="*/ 0 h 1017"/>
                <a:gd name="T104" fmla="*/ 0 w 873"/>
                <a:gd name="T105" fmla="*/ 0 h 1017"/>
                <a:gd name="T106" fmla="*/ 0 w 873"/>
                <a:gd name="T107" fmla="*/ 0 h 1017"/>
                <a:gd name="T108" fmla="*/ 0 w 873"/>
                <a:gd name="T109" fmla="*/ 0 h 1017"/>
                <a:gd name="T110" fmla="*/ 0 w 873"/>
                <a:gd name="T111" fmla="*/ 0 h 1017"/>
                <a:gd name="T112" fmla="*/ 0 w 873"/>
                <a:gd name="T113" fmla="*/ 0 h 1017"/>
                <a:gd name="T114" fmla="*/ 0 w 873"/>
                <a:gd name="T115" fmla="*/ 0 h 1017"/>
                <a:gd name="T116" fmla="*/ 0 w 873"/>
                <a:gd name="T117" fmla="*/ 0 h 1017"/>
                <a:gd name="T118" fmla="*/ 0 w 873"/>
                <a:gd name="T119" fmla="*/ 0 h 1017"/>
                <a:gd name="T120" fmla="*/ 0 w 873"/>
                <a:gd name="T121" fmla="*/ 0 h 1017"/>
                <a:gd name="T122" fmla="*/ 0 w 873"/>
                <a:gd name="T123" fmla="*/ 0 h 1017"/>
                <a:gd name="T124" fmla="*/ 0 w 873"/>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3" h="1017">
                  <a:moveTo>
                    <a:pt x="873" y="537"/>
                  </a:moveTo>
                  <a:lnTo>
                    <a:pt x="873" y="509"/>
                  </a:lnTo>
                  <a:lnTo>
                    <a:pt x="872" y="481"/>
                  </a:lnTo>
                  <a:lnTo>
                    <a:pt x="871" y="451"/>
                  </a:lnTo>
                  <a:lnTo>
                    <a:pt x="870" y="423"/>
                  </a:lnTo>
                  <a:lnTo>
                    <a:pt x="867" y="394"/>
                  </a:lnTo>
                  <a:lnTo>
                    <a:pt x="863" y="366"/>
                  </a:lnTo>
                  <a:lnTo>
                    <a:pt x="859" y="338"/>
                  </a:lnTo>
                  <a:lnTo>
                    <a:pt x="853" y="311"/>
                  </a:lnTo>
                  <a:lnTo>
                    <a:pt x="849" y="301"/>
                  </a:lnTo>
                  <a:lnTo>
                    <a:pt x="845" y="287"/>
                  </a:lnTo>
                  <a:lnTo>
                    <a:pt x="839" y="273"/>
                  </a:lnTo>
                  <a:lnTo>
                    <a:pt x="833" y="256"/>
                  </a:lnTo>
                  <a:lnTo>
                    <a:pt x="825" y="238"/>
                  </a:lnTo>
                  <a:lnTo>
                    <a:pt x="816" y="219"/>
                  </a:lnTo>
                  <a:lnTo>
                    <a:pt x="804" y="199"/>
                  </a:lnTo>
                  <a:lnTo>
                    <a:pt x="791" y="178"/>
                  </a:lnTo>
                  <a:lnTo>
                    <a:pt x="780" y="163"/>
                  </a:lnTo>
                  <a:lnTo>
                    <a:pt x="769" y="150"/>
                  </a:lnTo>
                  <a:lnTo>
                    <a:pt x="758" y="137"/>
                  </a:lnTo>
                  <a:lnTo>
                    <a:pt x="747" y="124"/>
                  </a:lnTo>
                  <a:lnTo>
                    <a:pt x="735" y="112"/>
                  </a:lnTo>
                  <a:lnTo>
                    <a:pt x="723" y="102"/>
                  </a:lnTo>
                  <a:lnTo>
                    <a:pt x="711" y="92"/>
                  </a:lnTo>
                  <a:lnTo>
                    <a:pt x="700" y="82"/>
                  </a:lnTo>
                  <a:lnTo>
                    <a:pt x="687" y="74"/>
                  </a:lnTo>
                  <a:lnTo>
                    <a:pt x="675" y="65"/>
                  </a:lnTo>
                  <a:lnTo>
                    <a:pt x="663" y="57"/>
                  </a:lnTo>
                  <a:lnTo>
                    <a:pt x="651" y="51"/>
                  </a:lnTo>
                  <a:lnTo>
                    <a:pt x="626" y="39"/>
                  </a:lnTo>
                  <a:lnTo>
                    <a:pt x="602" y="29"/>
                  </a:lnTo>
                  <a:lnTo>
                    <a:pt x="578" y="21"/>
                  </a:lnTo>
                  <a:lnTo>
                    <a:pt x="556" y="13"/>
                  </a:lnTo>
                  <a:lnTo>
                    <a:pt x="533" y="8"/>
                  </a:lnTo>
                  <a:lnTo>
                    <a:pt x="513" y="5"/>
                  </a:lnTo>
                  <a:lnTo>
                    <a:pt x="494" y="2"/>
                  </a:lnTo>
                  <a:lnTo>
                    <a:pt x="475" y="1"/>
                  </a:lnTo>
                  <a:lnTo>
                    <a:pt x="459" y="0"/>
                  </a:lnTo>
                  <a:lnTo>
                    <a:pt x="445" y="0"/>
                  </a:lnTo>
                  <a:lnTo>
                    <a:pt x="426" y="0"/>
                  </a:lnTo>
                  <a:lnTo>
                    <a:pt x="408" y="1"/>
                  </a:lnTo>
                  <a:lnTo>
                    <a:pt x="390" y="3"/>
                  </a:lnTo>
                  <a:lnTo>
                    <a:pt x="372" y="5"/>
                  </a:lnTo>
                  <a:lnTo>
                    <a:pt x="354" y="8"/>
                  </a:lnTo>
                  <a:lnTo>
                    <a:pt x="338" y="12"/>
                  </a:lnTo>
                  <a:lnTo>
                    <a:pt x="320" y="17"/>
                  </a:lnTo>
                  <a:lnTo>
                    <a:pt x="304" y="22"/>
                  </a:lnTo>
                  <a:lnTo>
                    <a:pt x="288" y="28"/>
                  </a:lnTo>
                  <a:lnTo>
                    <a:pt x="271" y="34"/>
                  </a:lnTo>
                  <a:lnTo>
                    <a:pt x="256" y="41"/>
                  </a:lnTo>
                  <a:lnTo>
                    <a:pt x="241" y="48"/>
                  </a:lnTo>
                  <a:lnTo>
                    <a:pt x="225" y="56"/>
                  </a:lnTo>
                  <a:lnTo>
                    <a:pt x="211" y="65"/>
                  </a:lnTo>
                  <a:lnTo>
                    <a:pt x="198" y="75"/>
                  </a:lnTo>
                  <a:lnTo>
                    <a:pt x="184" y="84"/>
                  </a:lnTo>
                  <a:lnTo>
                    <a:pt x="170" y="95"/>
                  </a:lnTo>
                  <a:lnTo>
                    <a:pt x="158" y="105"/>
                  </a:lnTo>
                  <a:lnTo>
                    <a:pt x="146" y="117"/>
                  </a:lnTo>
                  <a:lnTo>
                    <a:pt x="134" y="129"/>
                  </a:lnTo>
                  <a:lnTo>
                    <a:pt x="122" y="142"/>
                  </a:lnTo>
                  <a:lnTo>
                    <a:pt x="111" y="154"/>
                  </a:lnTo>
                  <a:lnTo>
                    <a:pt x="101" y="168"/>
                  </a:lnTo>
                  <a:lnTo>
                    <a:pt x="91" y="181"/>
                  </a:lnTo>
                  <a:lnTo>
                    <a:pt x="81" y="196"/>
                  </a:lnTo>
                  <a:lnTo>
                    <a:pt x="71" y="211"/>
                  </a:lnTo>
                  <a:lnTo>
                    <a:pt x="63" y="226"/>
                  </a:lnTo>
                  <a:lnTo>
                    <a:pt x="55" y="242"/>
                  </a:lnTo>
                  <a:lnTo>
                    <a:pt x="48" y="258"/>
                  </a:lnTo>
                  <a:lnTo>
                    <a:pt x="41" y="275"/>
                  </a:lnTo>
                  <a:lnTo>
                    <a:pt x="35" y="291"/>
                  </a:lnTo>
                  <a:lnTo>
                    <a:pt x="29" y="309"/>
                  </a:lnTo>
                  <a:lnTo>
                    <a:pt x="19" y="341"/>
                  </a:lnTo>
                  <a:lnTo>
                    <a:pt x="13" y="373"/>
                  </a:lnTo>
                  <a:lnTo>
                    <a:pt x="8" y="402"/>
                  </a:lnTo>
                  <a:lnTo>
                    <a:pt x="4" y="431"/>
                  </a:lnTo>
                  <a:lnTo>
                    <a:pt x="2" y="456"/>
                  </a:lnTo>
                  <a:lnTo>
                    <a:pt x="1" y="478"/>
                  </a:lnTo>
                  <a:lnTo>
                    <a:pt x="0" y="497"/>
                  </a:lnTo>
                  <a:lnTo>
                    <a:pt x="0" y="511"/>
                  </a:lnTo>
                  <a:lnTo>
                    <a:pt x="0" y="536"/>
                  </a:lnTo>
                  <a:lnTo>
                    <a:pt x="1" y="560"/>
                  </a:lnTo>
                  <a:lnTo>
                    <a:pt x="3" y="584"/>
                  </a:lnTo>
                  <a:lnTo>
                    <a:pt x="5" y="606"/>
                  </a:lnTo>
                  <a:lnTo>
                    <a:pt x="7" y="627"/>
                  </a:lnTo>
                  <a:lnTo>
                    <a:pt x="11" y="648"/>
                  </a:lnTo>
                  <a:lnTo>
                    <a:pt x="14" y="668"/>
                  </a:lnTo>
                  <a:lnTo>
                    <a:pt x="18" y="688"/>
                  </a:lnTo>
                  <a:lnTo>
                    <a:pt x="23" y="706"/>
                  </a:lnTo>
                  <a:lnTo>
                    <a:pt x="29" y="723"/>
                  </a:lnTo>
                  <a:lnTo>
                    <a:pt x="34" y="739"/>
                  </a:lnTo>
                  <a:lnTo>
                    <a:pt x="40" y="756"/>
                  </a:lnTo>
                  <a:lnTo>
                    <a:pt x="46" y="771"/>
                  </a:lnTo>
                  <a:lnTo>
                    <a:pt x="53" y="786"/>
                  </a:lnTo>
                  <a:lnTo>
                    <a:pt x="60" y="801"/>
                  </a:lnTo>
                  <a:lnTo>
                    <a:pt x="67" y="814"/>
                  </a:lnTo>
                  <a:lnTo>
                    <a:pt x="75" y="827"/>
                  </a:lnTo>
                  <a:lnTo>
                    <a:pt x="83" y="839"/>
                  </a:lnTo>
                  <a:lnTo>
                    <a:pt x="91" y="850"/>
                  </a:lnTo>
                  <a:lnTo>
                    <a:pt x="100" y="862"/>
                  </a:lnTo>
                  <a:lnTo>
                    <a:pt x="117" y="882"/>
                  </a:lnTo>
                  <a:lnTo>
                    <a:pt x="136" y="900"/>
                  </a:lnTo>
                  <a:lnTo>
                    <a:pt x="154" y="918"/>
                  </a:lnTo>
                  <a:lnTo>
                    <a:pt x="173" y="932"/>
                  </a:lnTo>
                  <a:lnTo>
                    <a:pt x="193" y="945"/>
                  </a:lnTo>
                  <a:lnTo>
                    <a:pt x="212" y="957"/>
                  </a:lnTo>
                  <a:lnTo>
                    <a:pt x="230" y="967"/>
                  </a:lnTo>
                  <a:lnTo>
                    <a:pt x="247" y="976"/>
                  </a:lnTo>
                  <a:lnTo>
                    <a:pt x="264" y="983"/>
                  </a:lnTo>
                  <a:lnTo>
                    <a:pt x="282" y="990"/>
                  </a:lnTo>
                  <a:lnTo>
                    <a:pt x="298" y="995"/>
                  </a:lnTo>
                  <a:lnTo>
                    <a:pt x="314" y="1000"/>
                  </a:lnTo>
                  <a:lnTo>
                    <a:pt x="329" y="1004"/>
                  </a:lnTo>
                  <a:lnTo>
                    <a:pt x="345" y="1007"/>
                  </a:lnTo>
                  <a:lnTo>
                    <a:pt x="372" y="1012"/>
                  </a:lnTo>
                  <a:lnTo>
                    <a:pt x="398" y="1015"/>
                  </a:lnTo>
                  <a:lnTo>
                    <a:pt x="419" y="1016"/>
                  </a:lnTo>
                  <a:lnTo>
                    <a:pt x="438" y="1017"/>
                  </a:lnTo>
                  <a:lnTo>
                    <a:pt x="464" y="1016"/>
                  </a:lnTo>
                  <a:lnTo>
                    <a:pt x="491" y="1014"/>
                  </a:lnTo>
                  <a:lnTo>
                    <a:pt x="517" y="1010"/>
                  </a:lnTo>
                  <a:lnTo>
                    <a:pt x="543" y="1005"/>
                  </a:lnTo>
                  <a:lnTo>
                    <a:pt x="568" y="999"/>
                  </a:lnTo>
                  <a:lnTo>
                    <a:pt x="593" y="991"/>
                  </a:lnTo>
                  <a:lnTo>
                    <a:pt x="617" y="982"/>
                  </a:lnTo>
                  <a:lnTo>
                    <a:pt x="641" y="972"/>
                  </a:lnTo>
                  <a:lnTo>
                    <a:pt x="664" y="959"/>
                  </a:lnTo>
                  <a:lnTo>
                    <a:pt x="685" y="946"/>
                  </a:lnTo>
                  <a:lnTo>
                    <a:pt x="707" y="932"/>
                  </a:lnTo>
                  <a:lnTo>
                    <a:pt x="727" y="916"/>
                  </a:lnTo>
                  <a:lnTo>
                    <a:pt x="747" y="898"/>
                  </a:lnTo>
                  <a:lnTo>
                    <a:pt x="765" y="880"/>
                  </a:lnTo>
                  <a:lnTo>
                    <a:pt x="782" y="861"/>
                  </a:lnTo>
                  <a:lnTo>
                    <a:pt x="798" y="839"/>
                  </a:lnTo>
                  <a:lnTo>
                    <a:pt x="810" y="821"/>
                  </a:lnTo>
                  <a:lnTo>
                    <a:pt x="820" y="802"/>
                  </a:lnTo>
                  <a:lnTo>
                    <a:pt x="830" y="783"/>
                  </a:lnTo>
                  <a:lnTo>
                    <a:pt x="839" y="765"/>
                  </a:lnTo>
                  <a:lnTo>
                    <a:pt x="848" y="748"/>
                  </a:lnTo>
                  <a:lnTo>
                    <a:pt x="854" y="733"/>
                  </a:lnTo>
                  <a:lnTo>
                    <a:pt x="859" y="722"/>
                  </a:lnTo>
                  <a:lnTo>
                    <a:pt x="862" y="715"/>
                  </a:lnTo>
                  <a:lnTo>
                    <a:pt x="661" y="683"/>
                  </a:lnTo>
                  <a:lnTo>
                    <a:pt x="658" y="692"/>
                  </a:lnTo>
                  <a:lnTo>
                    <a:pt x="655" y="700"/>
                  </a:lnTo>
                  <a:lnTo>
                    <a:pt x="652" y="708"/>
                  </a:lnTo>
                  <a:lnTo>
                    <a:pt x="649" y="715"/>
                  </a:lnTo>
                  <a:lnTo>
                    <a:pt x="646" y="723"/>
                  </a:lnTo>
                  <a:lnTo>
                    <a:pt x="642" y="730"/>
                  </a:lnTo>
                  <a:lnTo>
                    <a:pt x="638" y="737"/>
                  </a:lnTo>
                  <a:lnTo>
                    <a:pt x="632" y="746"/>
                  </a:lnTo>
                  <a:lnTo>
                    <a:pt x="624" y="757"/>
                  </a:lnTo>
                  <a:lnTo>
                    <a:pt x="616" y="767"/>
                  </a:lnTo>
                  <a:lnTo>
                    <a:pt x="607" y="776"/>
                  </a:lnTo>
                  <a:lnTo>
                    <a:pt x="597" y="786"/>
                  </a:lnTo>
                  <a:lnTo>
                    <a:pt x="587" y="794"/>
                  </a:lnTo>
                  <a:lnTo>
                    <a:pt x="575" y="803"/>
                  </a:lnTo>
                  <a:lnTo>
                    <a:pt x="564" y="810"/>
                  </a:lnTo>
                  <a:lnTo>
                    <a:pt x="553" y="817"/>
                  </a:lnTo>
                  <a:lnTo>
                    <a:pt x="541" y="823"/>
                  </a:lnTo>
                  <a:lnTo>
                    <a:pt x="528" y="828"/>
                  </a:lnTo>
                  <a:lnTo>
                    <a:pt x="516" y="832"/>
                  </a:lnTo>
                  <a:lnTo>
                    <a:pt x="504" y="836"/>
                  </a:lnTo>
                  <a:lnTo>
                    <a:pt x="491" y="839"/>
                  </a:lnTo>
                  <a:lnTo>
                    <a:pt x="477" y="841"/>
                  </a:lnTo>
                  <a:lnTo>
                    <a:pt x="464" y="842"/>
                  </a:lnTo>
                  <a:lnTo>
                    <a:pt x="451" y="842"/>
                  </a:lnTo>
                  <a:lnTo>
                    <a:pt x="440" y="842"/>
                  </a:lnTo>
                  <a:lnTo>
                    <a:pt x="426" y="841"/>
                  </a:lnTo>
                  <a:lnTo>
                    <a:pt x="412" y="839"/>
                  </a:lnTo>
                  <a:lnTo>
                    <a:pt x="396" y="835"/>
                  </a:lnTo>
                  <a:lnTo>
                    <a:pt x="388" y="833"/>
                  </a:lnTo>
                  <a:lnTo>
                    <a:pt x="379" y="829"/>
                  </a:lnTo>
                  <a:lnTo>
                    <a:pt x="371" y="826"/>
                  </a:lnTo>
                  <a:lnTo>
                    <a:pt x="362" y="821"/>
                  </a:lnTo>
                  <a:lnTo>
                    <a:pt x="353" y="816"/>
                  </a:lnTo>
                  <a:lnTo>
                    <a:pt x="344" y="810"/>
                  </a:lnTo>
                  <a:lnTo>
                    <a:pt x="335" y="803"/>
                  </a:lnTo>
                  <a:lnTo>
                    <a:pt x="325" y="794"/>
                  </a:lnTo>
                  <a:lnTo>
                    <a:pt x="311" y="781"/>
                  </a:lnTo>
                  <a:lnTo>
                    <a:pt x="298" y="767"/>
                  </a:lnTo>
                  <a:lnTo>
                    <a:pt x="287" y="753"/>
                  </a:lnTo>
                  <a:lnTo>
                    <a:pt x="277" y="737"/>
                  </a:lnTo>
                  <a:lnTo>
                    <a:pt x="269" y="723"/>
                  </a:lnTo>
                  <a:lnTo>
                    <a:pt x="262" y="708"/>
                  </a:lnTo>
                  <a:lnTo>
                    <a:pt x="256" y="694"/>
                  </a:lnTo>
                  <a:lnTo>
                    <a:pt x="251" y="679"/>
                  </a:lnTo>
                  <a:lnTo>
                    <a:pt x="247" y="666"/>
                  </a:lnTo>
                  <a:lnTo>
                    <a:pt x="244" y="653"/>
                  </a:lnTo>
                  <a:lnTo>
                    <a:pt x="241" y="641"/>
                  </a:lnTo>
                  <a:lnTo>
                    <a:pt x="239" y="629"/>
                  </a:lnTo>
                  <a:lnTo>
                    <a:pt x="237" y="609"/>
                  </a:lnTo>
                  <a:lnTo>
                    <a:pt x="235" y="594"/>
                  </a:lnTo>
                  <a:lnTo>
                    <a:pt x="234" y="587"/>
                  </a:lnTo>
                  <a:lnTo>
                    <a:pt x="234" y="580"/>
                  </a:lnTo>
                  <a:lnTo>
                    <a:pt x="233" y="572"/>
                  </a:lnTo>
                  <a:lnTo>
                    <a:pt x="233" y="565"/>
                  </a:lnTo>
                  <a:lnTo>
                    <a:pt x="232" y="559"/>
                  </a:lnTo>
                  <a:lnTo>
                    <a:pt x="232" y="552"/>
                  </a:lnTo>
                  <a:lnTo>
                    <a:pt x="231" y="546"/>
                  </a:lnTo>
                  <a:lnTo>
                    <a:pt x="231" y="540"/>
                  </a:lnTo>
                  <a:lnTo>
                    <a:pt x="873" y="537"/>
                  </a:lnTo>
                  <a:close/>
                  <a:moveTo>
                    <a:pt x="225" y="397"/>
                  </a:moveTo>
                  <a:lnTo>
                    <a:pt x="227" y="380"/>
                  </a:lnTo>
                  <a:lnTo>
                    <a:pt x="230" y="365"/>
                  </a:lnTo>
                  <a:lnTo>
                    <a:pt x="232" y="353"/>
                  </a:lnTo>
                  <a:lnTo>
                    <a:pt x="234" y="342"/>
                  </a:lnTo>
                  <a:lnTo>
                    <a:pt x="236" y="332"/>
                  </a:lnTo>
                  <a:lnTo>
                    <a:pt x="239" y="323"/>
                  </a:lnTo>
                  <a:lnTo>
                    <a:pt x="242" y="315"/>
                  </a:lnTo>
                  <a:lnTo>
                    <a:pt x="246" y="306"/>
                  </a:lnTo>
                  <a:lnTo>
                    <a:pt x="252" y="290"/>
                  </a:lnTo>
                  <a:lnTo>
                    <a:pt x="258" y="277"/>
                  </a:lnTo>
                  <a:lnTo>
                    <a:pt x="265" y="265"/>
                  </a:lnTo>
                  <a:lnTo>
                    <a:pt x="273" y="253"/>
                  </a:lnTo>
                  <a:lnTo>
                    <a:pt x="281" y="243"/>
                  </a:lnTo>
                  <a:lnTo>
                    <a:pt x="289" y="232"/>
                  </a:lnTo>
                  <a:lnTo>
                    <a:pt x="297" y="223"/>
                  </a:lnTo>
                  <a:lnTo>
                    <a:pt x="305" y="215"/>
                  </a:lnTo>
                  <a:lnTo>
                    <a:pt x="321" y="201"/>
                  </a:lnTo>
                  <a:lnTo>
                    <a:pt x="338" y="190"/>
                  </a:lnTo>
                  <a:lnTo>
                    <a:pt x="352" y="180"/>
                  </a:lnTo>
                  <a:lnTo>
                    <a:pt x="364" y="174"/>
                  </a:lnTo>
                  <a:lnTo>
                    <a:pt x="369" y="171"/>
                  </a:lnTo>
                  <a:lnTo>
                    <a:pt x="376" y="168"/>
                  </a:lnTo>
                  <a:lnTo>
                    <a:pt x="385" y="165"/>
                  </a:lnTo>
                  <a:lnTo>
                    <a:pt x="394" y="162"/>
                  </a:lnTo>
                  <a:lnTo>
                    <a:pt x="404" y="160"/>
                  </a:lnTo>
                  <a:lnTo>
                    <a:pt x="416" y="157"/>
                  </a:lnTo>
                  <a:lnTo>
                    <a:pt x="428" y="156"/>
                  </a:lnTo>
                  <a:lnTo>
                    <a:pt x="442" y="155"/>
                  </a:lnTo>
                  <a:lnTo>
                    <a:pt x="451" y="155"/>
                  </a:lnTo>
                  <a:lnTo>
                    <a:pt x="462" y="156"/>
                  </a:lnTo>
                  <a:lnTo>
                    <a:pt x="474" y="158"/>
                  </a:lnTo>
                  <a:lnTo>
                    <a:pt x="489" y="162"/>
                  </a:lnTo>
                  <a:lnTo>
                    <a:pt x="504" y="167"/>
                  </a:lnTo>
                  <a:lnTo>
                    <a:pt x="520" y="174"/>
                  </a:lnTo>
                  <a:lnTo>
                    <a:pt x="538" y="185"/>
                  </a:lnTo>
                  <a:lnTo>
                    <a:pt x="556" y="197"/>
                  </a:lnTo>
                  <a:lnTo>
                    <a:pt x="568" y="207"/>
                  </a:lnTo>
                  <a:lnTo>
                    <a:pt x="580" y="217"/>
                  </a:lnTo>
                  <a:lnTo>
                    <a:pt x="590" y="227"/>
                  </a:lnTo>
                  <a:lnTo>
                    <a:pt x="599" y="238"/>
                  </a:lnTo>
                  <a:lnTo>
                    <a:pt x="607" y="250"/>
                  </a:lnTo>
                  <a:lnTo>
                    <a:pt x="614" y="261"/>
                  </a:lnTo>
                  <a:lnTo>
                    <a:pt x="621" y="273"/>
                  </a:lnTo>
                  <a:lnTo>
                    <a:pt x="626" y="285"/>
                  </a:lnTo>
                  <a:lnTo>
                    <a:pt x="631" y="299"/>
                  </a:lnTo>
                  <a:lnTo>
                    <a:pt x="635" y="311"/>
                  </a:lnTo>
                  <a:lnTo>
                    <a:pt x="640" y="324"/>
                  </a:lnTo>
                  <a:lnTo>
                    <a:pt x="643" y="338"/>
                  </a:lnTo>
                  <a:lnTo>
                    <a:pt x="649" y="367"/>
                  </a:lnTo>
                  <a:lnTo>
                    <a:pt x="654" y="397"/>
                  </a:lnTo>
                  <a:lnTo>
                    <a:pt x="225" y="397"/>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75" name="Rectangle 27"/>
            <p:cNvSpPr>
              <a:spLocks noChangeArrowheads="1"/>
            </p:cNvSpPr>
            <p:nvPr userDrawn="1"/>
          </p:nvSpPr>
          <p:spPr bwMode="auto">
            <a:xfrm>
              <a:off x="5688" y="345"/>
              <a:ext cx="12" cy="66"/>
            </a:xfrm>
            <a:prstGeom prst="rect">
              <a:avLst/>
            </a:prstGeom>
            <a:solidFill>
              <a:srgbClr val="5E737D"/>
            </a:solidFill>
            <a:ln>
              <a:noFill/>
            </a:ln>
            <a:extLst/>
          </p:spPr>
          <p:txBody>
            <a:bodyP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algn="ctr" eaLnBrk="1" fontAlgn="base" hangingPunct="1">
                <a:spcBef>
                  <a:spcPct val="20000"/>
                </a:spcBef>
                <a:spcAft>
                  <a:spcPct val="0"/>
                </a:spcAft>
                <a:buClr>
                  <a:srgbClr val="0084C2"/>
                </a:buClr>
                <a:buSzPct val="130000"/>
                <a:buFont typeface="Times New Roman" pitchFamily="18" charset="0"/>
                <a:buNone/>
                <a:defRPr/>
              </a:pPr>
              <a:endParaRPr lang="ru-RU" altLang="en-US" smtClean="0">
                <a:solidFill>
                  <a:srgbClr val="000000"/>
                </a:solidFill>
              </a:endParaRPr>
            </a:p>
          </p:txBody>
        </p:sp>
        <p:sp>
          <p:nvSpPr>
            <p:cNvPr id="2076" name="Rectangle 28"/>
            <p:cNvSpPr>
              <a:spLocks noChangeArrowheads="1"/>
            </p:cNvSpPr>
            <p:nvPr userDrawn="1"/>
          </p:nvSpPr>
          <p:spPr bwMode="auto">
            <a:xfrm>
              <a:off x="5712" y="345"/>
              <a:ext cx="11" cy="66"/>
            </a:xfrm>
            <a:prstGeom prst="rect">
              <a:avLst/>
            </a:prstGeom>
            <a:solidFill>
              <a:srgbClr val="5E737D"/>
            </a:solidFill>
            <a:ln>
              <a:noFill/>
            </a:ln>
            <a:extLst/>
          </p:spPr>
          <p:txBody>
            <a:bodyP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algn="ctr" eaLnBrk="1" fontAlgn="base" hangingPunct="1">
                <a:spcBef>
                  <a:spcPct val="20000"/>
                </a:spcBef>
                <a:spcAft>
                  <a:spcPct val="0"/>
                </a:spcAft>
                <a:buClr>
                  <a:srgbClr val="0084C2"/>
                </a:buClr>
                <a:buSzPct val="130000"/>
                <a:buFont typeface="Times New Roman" pitchFamily="18" charset="0"/>
                <a:buNone/>
                <a:defRPr/>
              </a:pPr>
              <a:endParaRPr lang="ru-RU" altLang="en-US" smtClean="0">
                <a:solidFill>
                  <a:srgbClr val="000000"/>
                </a:solidFill>
              </a:endParaRPr>
            </a:p>
          </p:txBody>
        </p:sp>
        <p:sp>
          <p:nvSpPr>
            <p:cNvPr id="2077" name="Freeform 29"/>
            <p:cNvSpPr>
              <a:spLocks noEditPoints="1"/>
            </p:cNvSpPr>
            <p:nvPr userDrawn="1"/>
          </p:nvSpPr>
          <p:spPr bwMode="auto">
            <a:xfrm>
              <a:off x="5734" y="346"/>
              <a:ext cx="12" cy="65"/>
            </a:xfrm>
            <a:custGeom>
              <a:avLst/>
              <a:gdLst>
                <a:gd name="T0" fmla="*/ 0 w 223"/>
                <a:gd name="T1" fmla="*/ 0 h 1313"/>
                <a:gd name="T2" fmla="*/ 0 w 223"/>
                <a:gd name="T3" fmla="*/ 0 h 1313"/>
                <a:gd name="T4" fmla="*/ 0 w 223"/>
                <a:gd name="T5" fmla="*/ 0 h 1313"/>
                <a:gd name="T6" fmla="*/ 0 w 223"/>
                <a:gd name="T7" fmla="*/ 0 h 1313"/>
                <a:gd name="T8" fmla="*/ 0 w 223"/>
                <a:gd name="T9" fmla="*/ 0 h 1313"/>
                <a:gd name="T10" fmla="*/ 0 w 223"/>
                <a:gd name="T11" fmla="*/ 0 h 1313"/>
                <a:gd name="T12" fmla="*/ 0 w 223"/>
                <a:gd name="T13" fmla="*/ 0 h 1313"/>
                <a:gd name="T14" fmla="*/ 0 w 223"/>
                <a:gd name="T15" fmla="*/ 0 h 1313"/>
                <a:gd name="T16" fmla="*/ 0 w 223"/>
                <a:gd name="T17" fmla="*/ 0 h 1313"/>
                <a:gd name="T18" fmla="*/ 0 w 223"/>
                <a:gd name="T19" fmla="*/ 0 h 13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3" h="1313">
                  <a:moveTo>
                    <a:pt x="0" y="339"/>
                  </a:moveTo>
                  <a:lnTo>
                    <a:pt x="0" y="1313"/>
                  </a:lnTo>
                  <a:lnTo>
                    <a:pt x="223" y="1313"/>
                  </a:lnTo>
                  <a:lnTo>
                    <a:pt x="223" y="339"/>
                  </a:lnTo>
                  <a:lnTo>
                    <a:pt x="0" y="339"/>
                  </a:lnTo>
                  <a:close/>
                  <a:moveTo>
                    <a:pt x="6" y="0"/>
                  </a:moveTo>
                  <a:lnTo>
                    <a:pt x="6" y="232"/>
                  </a:lnTo>
                  <a:lnTo>
                    <a:pt x="221" y="232"/>
                  </a:lnTo>
                  <a:lnTo>
                    <a:pt x="221" y="0"/>
                  </a:lnTo>
                  <a:lnTo>
                    <a:pt x="6" y="0"/>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78" name="Freeform 30"/>
            <p:cNvSpPr>
              <a:spLocks noEditPoints="1"/>
            </p:cNvSpPr>
            <p:nvPr userDrawn="1"/>
          </p:nvSpPr>
          <p:spPr bwMode="auto">
            <a:xfrm>
              <a:off x="5754" y="353"/>
              <a:ext cx="49" cy="75"/>
            </a:xfrm>
            <a:custGeom>
              <a:avLst/>
              <a:gdLst>
                <a:gd name="T0" fmla="*/ 0 w 977"/>
                <a:gd name="T1" fmla="*/ 0 h 1500"/>
                <a:gd name="T2" fmla="*/ 0 w 977"/>
                <a:gd name="T3" fmla="*/ 0 h 1500"/>
                <a:gd name="T4" fmla="*/ 0 w 977"/>
                <a:gd name="T5" fmla="*/ 0 h 1500"/>
                <a:gd name="T6" fmla="*/ 0 w 977"/>
                <a:gd name="T7" fmla="*/ 0 h 1500"/>
                <a:gd name="T8" fmla="*/ 0 w 977"/>
                <a:gd name="T9" fmla="*/ 0 h 1500"/>
                <a:gd name="T10" fmla="*/ 0 w 977"/>
                <a:gd name="T11" fmla="*/ 0 h 1500"/>
                <a:gd name="T12" fmla="*/ 0 w 977"/>
                <a:gd name="T13" fmla="*/ 0 h 1500"/>
                <a:gd name="T14" fmla="*/ 0 w 977"/>
                <a:gd name="T15" fmla="*/ 0 h 1500"/>
                <a:gd name="T16" fmla="*/ 0 w 977"/>
                <a:gd name="T17" fmla="*/ 0 h 1500"/>
                <a:gd name="T18" fmla="*/ 0 w 977"/>
                <a:gd name="T19" fmla="*/ 0 h 1500"/>
                <a:gd name="T20" fmla="*/ 0 w 977"/>
                <a:gd name="T21" fmla="*/ 0 h 1500"/>
                <a:gd name="T22" fmla="*/ 0 w 977"/>
                <a:gd name="T23" fmla="*/ 0 h 1500"/>
                <a:gd name="T24" fmla="*/ 0 w 977"/>
                <a:gd name="T25" fmla="*/ 0 h 1500"/>
                <a:gd name="T26" fmla="*/ 0 w 977"/>
                <a:gd name="T27" fmla="*/ 0 h 1500"/>
                <a:gd name="T28" fmla="*/ 0 w 977"/>
                <a:gd name="T29" fmla="*/ 0 h 1500"/>
                <a:gd name="T30" fmla="*/ 0 w 977"/>
                <a:gd name="T31" fmla="*/ 0 h 1500"/>
                <a:gd name="T32" fmla="*/ 0 w 977"/>
                <a:gd name="T33" fmla="*/ 0 h 1500"/>
                <a:gd name="T34" fmla="*/ 0 w 977"/>
                <a:gd name="T35" fmla="*/ 0 h 1500"/>
                <a:gd name="T36" fmla="*/ 0 w 977"/>
                <a:gd name="T37" fmla="*/ 0 h 1500"/>
                <a:gd name="T38" fmla="*/ 0 w 977"/>
                <a:gd name="T39" fmla="*/ 0 h 1500"/>
                <a:gd name="T40" fmla="*/ 0 w 977"/>
                <a:gd name="T41" fmla="*/ 0 h 1500"/>
                <a:gd name="T42" fmla="*/ 0 w 977"/>
                <a:gd name="T43" fmla="*/ 0 h 1500"/>
                <a:gd name="T44" fmla="*/ 0 w 977"/>
                <a:gd name="T45" fmla="*/ 0 h 1500"/>
                <a:gd name="T46" fmla="*/ 0 w 977"/>
                <a:gd name="T47" fmla="*/ 0 h 1500"/>
                <a:gd name="T48" fmla="*/ 0 w 977"/>
                <a:gd name="T49" fmla="*/ 0 h 1500"/>
                <a:gd name="T50" fmla="*/ 0 w 977"/>
                <a:gd name="T51" fmla="*/ 0 h 1500"/>
                <a:gd name="T52" fmla="*/ 0 w 977"/>
                <a:gd name="T53" fmla="*/ 0 h 1500"/>
                <a:gd name="T54" fmla="*/ 0 w 977"/>
                <a:gd name="T55" fmla="*/ 0 h 1500"/>
                <a:gd name="T56" fmla="*/ 0 w 977"/>
                <a:gd name="T57" fmla="*/ 0 h 1500"/>
                <a:gd name="T58" fmla="*/ 0 w 977"/>
                <a:gd name="T59" fmla="*/ 0 h 1500"/>
                <a:gd name="T60" fmla="*/ 0 w 977"/>
                <a:gd name="T61" fmla="*/ 0 h 1500"/>
                <a:gd name="T62" fmla="*/ 0 w 977"/>
                <a:gd name="T63" fmla="*/ 0 h 1500"/>
                <a:gd name="T64" fmla="*/ 0 w 977"/>
                <a:gd name="T65" fmla="*/ 0 h 1500"/>
                <a:gd name="T66" fmla="*/ 0 w 977"/>
                <a:gd name="T67" fmla="*/ 0 h 1500"/>
                <a:gd name="T68" fmla="*/ 0 w 977"/>
                <a:gd name="T69" fmla="*/ 0 h 1500"/>
                <a:gd name="T70" fmla="*/ 0 w 977"/>
                <a:gd name="T71" fmla="*/ 0 h 1500"/>
                <a:gd name="T72" fmla="*/ 0 w 977"/>
                <a:gd name="T73" fmla="*/ 0 h 1500"/>
                <a:gd name="T74" fmla="*/ 0 w 977"/>
                <a:gd name="T75" fmla="*/ 0 h 1500"/>
                <a:gd name="T76" fmla="*/ 0 w 977"/>
                <a:gd name="T77" fmla="*/ 0 h 1500"/>
                <a:gd name="T78" fmla="*/ 0 w 977"/>
                <a:gd name="T79" fmla="*/ 0 h 1500"/>
                <a:gd name="T80" fmla="*/ 0 w 977"/>
                <a:gd name="T81" fmla="*/ 0 h 1500"/>
                <a:gd name="T82" fmla="*/ 0 w 977"/>
                <a:gd name="T83" fmla="*/ 0 h 1500"/>
                <a:gd name="T84" fmla="*/ 0 w 977"/>
                <a:gd name="T85" fmla="*/ 0 h 1500"/>
                <a:gd name="T86" fmla="*/ 0 w 977"/>
                <a:gd name="T87" fmla="*/ 0 h 1500"/>
                <a:gd name="T88" fmla="*/ 0 w 977"/>
                <a:gd name="T89" fmla="*/ 0 h 1500"/>
                <a:gd name="T90" fmla="*/ 0 w 977"/>
                <a:gd name="T91" fmla="*/ 0 h 1500"/>
                <a:gd name="T92" fmla="*/ 0 w 977"/>
                <a:gd name="T93" fmla="*/ 0 h 1500"/>
                <a:gd name="T94" fmla="*/ 0 w 977"/>
                <a:gd name="T95" fmla="*/ 0 h 1500"/>
                <a:gd name="T96" fmla="*/ 0 w 977"/>
                <a:gd name="T97" fmla="*/ 0 h 1500"/>
                <a:gd name="T98" fmla="*/ 0 w 977"/>
                <a:gd name="T99" fmla="*/ 0 h 1500"/>
                <a:gd name="T100" fmla="*/ 0 w 977"/>
                <a:gd name="T101" fmla="*/ 0 h 1500"/>
                <a:gd name="T102" fmla="*/ 0 w 977"/>
                <a:gd name="T103" fmla="*/ 0 h 1500"/>
                <a:gd name="T104" fmla="*/ 0 w 977"/>
                <a:gd name="T105" fmla="*/ 0 h 1500"/>
                <a:gd name="T106" fmla="*/ 0 w 977"/>
                <a:gd name="T107" fmla="*/ 0 h 1500"/>
                <a:gd name="T108" fmla="*/ 0 w 977"/>
                <a:gd name="T109" fmla="*/ 0 h 1500"/>
                <a:gd name="T110" fmla="*/ 0 w 977"/>
                <a:gd name="T111" fmla="*/ 0 h 1500"/>
                <a:gd name="T112" fmla="*/ 0 w 977"/>
                <a:gd name="T113" fmla="*/ 0 h 1500"/>
                <a:gd name="T114" fmla="*/ 0 w 977"/>
                <a:gd name="T115" fmla="*/ 0 h 1500"/>
                <a:gd name="T116" fmla="*/ 0 w 977"/>
                <a:gd name="T117" fmla="*/ 0 h 1500"/>
                <a:gd name="T118" fmla="*/ 0 w 977"/>
                <a:gd name="T119" fmla="*/ 0 h 1500"/>
                <a:gd name="T120" fmla="*/ 0 w 977"/>
                <a:gd name="T121" fmla="*/ 0 h 1500"/>
                <a:gd name="T122" fmla="*/ 0 w 977"/>
                <a:gd name="T123" fmla="*/ 0 h 15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77" h="1500">
                  <a:moveTo>
                    <a:pt x="977" y="1"/>
                  </a:moveTo>
                  <a:lnTo>
                    <a:pt x="933" y="0"/>
                  </a:lnTo>
                  <a:lnTo>
                    <a:pt x="894" y="1"/>
                  </a:lnTo>
                  <a:lnTo>
                    <a:pt x="861" y="3"/>
                  </a:lnTo>
                  <a:lnTo>
                    <a:pt x="834" y="7"/>
                  </a:lnTo>
                  <a:lnTo>
                    <a:pt x="821" y="9"/>
                  </a:lnTo>
                  <a:lnTo>
                    <a:pt x="809" y="12"/>
                  </a:lnTo>
                  <a:lnTo>
                    <a:pt x="798" y="16"/>
                  </a:lnTo>
                  <a:lnTo>
                    <a:pt x="788" y="21"/>
                  </a:lnTo>
                  <a:lnTo>
                    <a:pt x="778" y="25"/>
                  </a:lnTo>
                  <a:lnTo>
                    <a:pt x="769" y="30"/>
                  </a:lnTo>
                  <a:lnTo>
                    <a:pt x="759" y="36"/>
                  </a:lnTo>
                  <a:lnTo>
                    <a:pt x="750" y="42"/>
                  </a:lnTo>
                  <a:lnTo>
                    <a:pt x="740" y="50"/>
                  </a:lnTo>
                  <a:lnTo>
                    <a:pt x="732" y="58"/>
                  </a:lnTo>
                  <a:lnTo>
                    <a:pt x="724" y="66"/>
                  </a:lnTo>
                  <a:lnTo>
                    <a:pt x="717" y="75"/>
                  </a:lnTo>
                  <a:lnTo>
                    <a:pt x="710" y="83"/>
                  </a:lnTo>
                  <a:lnTo>
                    <a:pt x="704" y="92"/>
                  </a:lnTo>
                  <a:lnTo>
                    <a:pt x="699" y="101"/>
                  </a:lnTo>
                  <a:lnTo>
                    <a:pt x="694" y="109"/>
                  </a:lnTo>
                  <a:lnTo>
                    <a:pt x="685" y="128"/>
                  </a:lnTo>
                  <a:lnTo>
                    <a:pt x="678" y="149"/>
                  </a:lnTo>
                  <a:lnTo>
                    <a:pt x="671" y="170"/>
                  </a:lnTo>
                  <a:lnTo>
                    <a:pt x="664" y="193"/>
                  </a:lnTo>
                  <a:lnTo>
                    <a:pt x="638" y="187"/>
                  </a:lnTo>
                  <a:lnTo>
                    <a:pt x="616" y="182"/>
                  </a:lnTo>
                  <a:lnTo>
                    <a:pt x="593" y="178"/>
                  </a:lnTo>
                  <a:lnTo>
                    <a:pt x="572" y="174"/>
                  </a:lnTo>
                  <a:lnTo>
                    <a:pt x="550" y="171"/>
                  </a:lnTo>
                  <a:lnTo>
                    <a:pt x="528" y="169"/>
                  </a:lnTo>
                  <a:lnTo>
                    <a:pt x="503" y="168"/>
                  </a:lnTo>
                  <a:lnTo>
                    <a:pt x="478" y="168"/>
                  </a:lnTo>
                  <a:lnTo>
                    <a:pt x="438" y="168"/>
                  </a:lnTo>
                  <a:lnTo>
                    <a:pt x="399" y="171"/>
                  </a:lnTo>
                  <a:lnTo>
                    <a:pt x="380" y="173"/>
                  </a:lnTo>
                  <a:lnTo>
                    <a:pt x="361" y="175"/>
                  </a:lnTo>
                  <a:lnTo>
                    <a:pt x="341" y="179"/>
                  </a:lnTo>
                  <a:lnTo>
                    <a:pt x="322" y="182"/>
                  </a:lnTo>
                  <a:lnTo>
                    <a:pt x="302" y="188"/>
                  </a:lnTo>
                  <a:lnTo>
                    <a:pt x="284" y="193"/>
                  </a:lnTo>
                  <a:lnTo>
                    <a:pt x="266" y="199"/>
                  </a:lnTo>
                  <a:lnTo>
                    <a:pt x="247" y="206"/>
                  </a:lnTo>
                  <a:lnTo>
                    <a:pt x="230" y="214"/>
                  </a:lnTo>
                  <a:lnTo>
                    <a:pt x="214" y="222"/>
                  </a:lnTo>
                  <a:lnTo>
                    <a:pt x="196" y="232"/>
                  </a:lnTo>
                  <a:lnTo>
                    <a:pt x="181" y="243"/>
                  </a:lnTo>
                  <a:lnTo>
                    <a:pt x="168" y="253"/>
                  </a:lnTo>
                  <a:lnTo>
                    <a:pt x="157" y="264"/>
                  </a:lnTo>
                  <a:lnTo>
                    <a:pt x="145" y="275"/>
                  </a:lnTo>
                  <a:lnTo>
                    <a:pt x="134" y="287"/>
                  </a:lnTo>
                  <a:lnTo>
                    <a:pt x="125" y="300"/>
                  </a:lnTo>
                  <a:lnTo>
                    <a:pt x="116" y="312"/>
                  </a:lnTo>
                  <a:lnTo>
                    <a:pt x="108" y="325"/>
                  </a:lnTo>
                  <a:lnTo>
                    <a:pt x="100" y="339"/>
                  </a:lnTo>
                  <a:lnTo>
                    <a:pt x="94" y="352"/>
                  </a:lnTo>
                  <a:lnTo>
                    <a:pt x="88" y="368"/>
                  </a:lnTo>
                  <a:lnTo>
                    <a:pt x="83" y="382"/>
                  </a:lnTo>
                  <a:lnTo>
                    <a:pt x="79" y="397"/>
                  </a:lnTo>
                  <a:lnTo>
                    <a:pt x="76" y="413"/>
                  </a:lnTo>
                  <a:lnTo>
                    <a:pt x="74" y="428"/>
                  </a:lnTo>
                  <a:lnTo>
                    <a:pt x="73" y="444"/>
                  </a:lnTo>
                  <a:lnTo>
                    <a:pt x="72" y="460"/>
                  </a:lnTo>
                  <a:lnTo>
                    <a:pt x="72" y="473"/>
                  </a:lnTo>
                  <a:lnTo>
                    <a:pt x="73" y="485"/>
                  </a:lnTo>
                  <a:lnTo>
                    <a:pt x="75" y="497"/>
                  </a:lnTo>
                  <a:lnTo>
                    <a:pt x="76" y="508"/>
                  </a:lnTo>
                  <a:lnTo>
                    <a:pt x="81" y="530"/>
                  </a:lnTo>
                  <a:lnTo>
                    <a:pt x="88" y="550"/>
                  </a:lnTo>
                  <a:lnTo>
                    <a:pt x="95" y="568"/>
                  </a:lnTo>
                  <a:lnTo>
                    <a:pt x="105" y="585"/>
                  </a:lnTo>
                  <a:lnTo>
                    <a:pt x="115" y="601"/>
                  </a:lnTo>
                  <a:lnTo>
                    <a:pt x="125" y="615"/>
                  </a:lnTo>
                  <a:lnTo>
                    <a:pt x="136" y="628"/>
                  </a:lnTo>
                  <a:lnTo>
                    <a:pt x="147" y="640"/>
                  </a:lnTo>
                  <a:lnTo>
                    <a:pt x="159" y="651"/>
                  </a:lnTo>
                  <a:lnTo>
                    <a:pt x="170" y="660"/>
                  </a:lnTo>
                  <a:lnTo>
                    <a:pt x="189" y="675"/>
                  </a:lnTo>
                  <a:lnTo>
                    <a:pt x="206" y="687"/>
                  </a:lnTo>
                  <a:lnTo>
                    <a:pt x="186" y="699"/>
                  </a:lnTo>
                  <a:lnTo>
                    <a:pt x="167" y="711"/>
                  </a:lnTo>
                  <a:lnTo>
                    <a:pt x="148" y="724"/>
                  </a:lnTo>
                  <a:lnTo>
                    <a:pt x="130" y="737"/>
                  </a:lnTo>
                  <a:lnTo>
                    <a:pt x="114" y="752"/>
                  </a:lnTo>
                  <a:lnTo>
                    <a:pt x="98" y="767"/>
                  </a:lnTo>
                  <a:lnTo>
                    <a:pt x="91" y="776"/>
                  </a:lnTo>
                  <a:lnTo>
                    <a:pt x="84" y="784"/>
                  </a:lnTo>
                  <a:lnTo>
                    <a:pt x="78" y="793"/>
                  </a:lnTo>
                  <a:lnTo>
                    <a:pt x="72" y="803"/>
                  </a:lnTo>
                  <a:lnTo>
                    <a:pt x="69" y="808"/>
                  </a:lnTo>
                  <a:lnTo>
                    <a:pt x="66" y="815"/>
                  </a:lnTo>
                  <a:lnTo>
                    <a:pt x="62" y="823"/>
                  </a:lnTo>
                  <a:lnTo>
                    <a:pt x="58" y="832"/>
                  </a:lnTo>
                  <a:lnTo>
                    <a:pt x="55" y="842"/>
                  </a:lnTo>
                  <a:lnTo>
                    <a:pt x="53" y="853"/>
                  </a:lnTo>
                  <a:lnTo>
                    <a:pt x="51" y="867"/>
                  </a:lnTo>
                  <a:lnTo>
                    <a:pt x="49" y="880"/>
                  </a:lnTo>
                  <a:lnTo>
                    <a:pt x="51" y="893"/>
                  </a:lnTo>
                  <a:lnTo>
                    <a:pt x="52" y="905"/>
                  </a:lnTo>
                  <a:lnTo>
                    <a:pt x="54" y="918"/>
                  </a:lnTo>
                  <a:lnTo>
                    <a:pt x="57" y="929"/>
                  </a:lnTo>
                  <a:lnTo>
                    <a:pt x="60" y="939"/>
                  </a:lnTo>
                  <a:lnTo>
                    <a:pt x="65" y="950"/>
                  </a:lnTo>
                  <a:lnTo>
                    <a:pt x="70" y="960"/>
                  </a:lnTo>
                  <a:lnTo>
                    <a:pt x="75" y="970"/>
                  </a:lnTo>
                  <a:lnTo>
                    <a:pt x="87" y="989"/>
                  </a:lnTo>
                  <a:lnTo>
                    <a:pt x="102" y="1007"/>
                  </a:lnTo>
                  <a:lnTo>
                    <a:pt x="118" y="1026"/>
                  </a:lnTo>
                  <a:lnTo>
                    <a:pt x="134" y="1045"/>
                  </a:lnTo>
                  <a:lnTo>
                    <a:pt x="109" y="1061"/>
                  </a:lnTo>
                  <a:lnTo>
                    <a:pt x="87" y="1076"/>
                  </a:lnTo>
                  <a:lnTo>
                    <a:pt x="69" y="1091"/>
                  </a:lnTo>
                  <a:lnTo>
                    <a:pt x="55" y="1104"/>
                  </a:lnTo>
                  <a:lnTo>
                    <a:pt x="42" y="1117"/>
                  </a:lnTo>
                  <a:lnTo>
                    <a:pt x="32" y="1130"/>
                  </a:lnTo>
                  <a:lnTo>
                    <a:pt x="24" y="1145"/>
                  </a:lnTo>
                  <a:lnTo>
                    <a:pt x="16" y="1161"/>
                  </a:lnTo>
                  <a:lnTo>
                    <a:pt x="11" y="1174"/>
                  </a:lnTo>
                  <a:lnTo>
                    <a:pt x="6" y="1186"/>
                  </a:lnTo>
                  <a:lnTo>
                    <a:pt x="4" y="1198"/>
                  </a:lnTo>
                  <a:lnTo>
                    <a:pt x="2" y="1208"/>
                  </a:lnTo>
                  <a:lnTo>
                    <a:pt x="0" y="1218"/>
                  </a:lnTo>
                  <a:lnTo>
                    <a:pt x="0" y="1227"/>
                  </a:lnTo>
                  <a:lnTo>
                    <a:pt x="0" y="1234"/>
                  </a:lnTo>
                  <a:lnTo>
                    <a:pt x="0" y="1241"/>
                  </a:lnTo>
                  <a:lnTo>
                    <a:pt x="1" y="1263"/>
                  </a:lnTo>
                  <a:lnTo>
                    <a:pt x="3" y="1283"/>
                  </a:lnTo>
                  <a:lnTo>
                    <a:pt x="8" y="1302"/>
                  </a:lnTo>
                  <a:lnTo>
                    <a:pt x="14" y="1320"/>
                  </a:lnTo>
                  <a:lnTo>
                    <a:pt x="21" y="1336"/>
                  </a:lnTo>
                  <a:lnTo>
                    <a:pt x="29" y="1351"/>
                  </a:lnTo>
                  <a:lnTo>
                    <a:pt x="38" y="1366"/>
                  </a:lnTo>
                  <a:lnTo>
                    <a:pt x="48" y="1378"/>
                  </a:lnTo>
                  <a:lnTo>
                    <a:pt x="58" y="1389"/>
                  </a:lnTo>
                  <a:lnTo>
                    <a:pt x="69" y="1399"/>
                  </a:lnTo>
                  <a:lnTo>
                    <a:pt x="79" y="1409"/>
                  </a:lnTo>
                  <a:lnTo>
                    <a:pt x="88" y="1417"/>
                  </a:lnTo>
                  <a:lnTo>
                    <a:pt x="107" y="1430"/>
                  </a:lnTo>
                  <a:lnTo>
                    <a:pt x="121" y="1438"/>
                  </a:lnTo>
                  <a:lnTo>
                    <a:pt x="134" y="1445"/>
                  </a:lnTo>
                  <a:lnTo>
                    <a:pt x="147" y="1451"/>
                  </a:lnTo>
                  <a:lnTo>
                    <a:pt x="160" y="1457"/>
                  </a:lnTo>
                  <a:lnTo>
                    <a:pt x="171" y="1461"/>
                  </a:lnTo>
                  <a:lnTo>
                    <a:pt x="181" y="1465"/>
                  </a:lnTo>
                  <a:lnTo>
                    <a:pt x="190" y="1467"/>
                  </a:lnTo>
                  <a:lnTo>
                    <a:pt x="198" y="1470"/>
                  </a:lnTo>
                  <a:lnTo>
                    <a:pt x="206" y="1471"/>
                  </a:lnTo>
                  <a:lnTo>
                    <a:pt x="225" y="1477"/>
                  </a:lnTo>
                  <a:lnTo>
                    <a:pt x="249" y="1481"/>
                  </a:lnTo>
                  <a:lnTo>
                    <a:pt x="278" y="1486"/>
                  </a:lnTo>
                  <a:lnTo>
                    <a:pt x="310" y="1490"/>
                  </a:lnTo>
                  <a:lnTo>
                    <a:pt x="345" y="1494"/>
                  </a:lnTo>
                  <a:lnTo>
                    <a:pt x="384" y="1497"/>
                  </a:lnTo>
                  <a:lnTo>
                    <a:pt x="426" y="1499"/>
                  </a:lnTo>
                  <a:lnTo>
                    <a:pt x="470" y="1500"/>
                  </a:lnTo>
                  <a:lnTo>
                    <a:pt x="503" y="1500"/>
                  </a:lnTo>
                  <a:lnTo>
                    <a:pt x="535" y="1499"/>
                  </a:lnTo>
                  <a:lnTo>
                    <a:pt x="565" y="1497"/>
                  </a:lnTo>
                  <a:lnTo>
                    <a:pt x="592" y="1494"/>
                  </a:lnTo>
                  <a:lnTo>
                    <a:pt x="619" y="1492"/>
                  </a:lnTo>
                  <a:lnTo>
                    <a:pt x="643" y="1488"/>
                  </a:lnTo>
                  <a:lnTo>
                    <a:pt x="667" y="1484"/>
                  </a:lnTo>
                  <a:lnTo>
                    <a:pt x="688" y="1479"/>
                  </a:lnTo>
                  <a:lnTo>
                    <a:pt x="708" y="1474"/>
                  </a:lnTo>
                  <a:lnTo>
                    <a:pt x="729" y="1468"/>
                  </a:lnTo>
                  <a:lnTo>
                    <a:pt x="747" y="1462"/>
                  </a:lnTo>
                  <a:lnTo>
                    <a:pt x="765" y="1456"/>
                  </a:lnTo>
                  <a:lnTo>
                    <a:pt x="781" y="1449"/>
                  </a:lnTo>
                  <a:lnTo>
                    <a:pt x="796" y="1442"/>
                  </a:lnTo>
                  <a:lnTo>
                    <a:pt x="810" y="1435"/>
                  </a:lnTo>
                  <a:lnTo>
                    <a:pt x="825" y="1427"/>
                  </a:lnTo>
                  <a:lnTo>
                    <a:pt x="848" y="1412"/>
                  </a:lnTo>
                  <a:lnTo>
                    <a:pt x="869" y="1398"/>
                  </a:lnTo>
                  <a:lnTo>
                    <a:pt x="887" y="1383"/>
                  </a:lnTo>
                  <a:lnTo>
                    <a:pt x="903" y="1368"/>
                  </a:lnTo>
                  <a:lnTo>
                    <a:pt x="916" y="1352"/>
                  </a:lnTo>
                  <a:lnTo>
                    <a:pt x="929" y="1336"/>
                  </a:lnTo>
                  <a:lnTo>
                    <a:pt x="940" y="1321"/>
                  </a:lnTo>
                  <a:lnTo>
                    <a:pt x="948" y="1305"/>
                  </a:lnTo>
                  <a:lnTo>
                    <a:pt x="955" y="1288"/>
                  </a:lnTo>
                  <a:lnTo>
                    <a:pt x="961" y="1273"/>
                  </a:lnTo>
                  <a:lnTo>
                    <a:pt x="966" y="1258"/>
                  </a:lnTo>
                  <a:lnTo>
                    <a:pt x="970" y="1242"/>
                  </a:lnTo>
                  <a:lnTo>
                    <a:pt x="973" y="1228"/>
                  </a:lnTo>
                  <a:lnTo>
                    <a:pt x="974" y="1214"/>
                  </a:lnTo>
                  <a:lnTo>
                    <a:pt x="975" y="1201"/>
                  </a:lnTo>
                  <a:lnTo>
                    <a:pt x="975" y="1188"/>
                  </a:lnTo>
                  <a:lnTo>
                    <a:pt x="975" y="1170"/>
                  </a:lnTo>
                  <a:lnTo>
                    <a:pt x="972" y="1152"/>
                  </a:lnTo>
                  <a:lnTo>
                    <a:pt x="969" y="1133"/>
                  </a:lnTo>
                  <a:lnTo>
                    <a:pt x="963" y="1116"/>
                  </a:lnTo>
                  <a:lnTo>
                    <a:pt x="957" y="1100"/>
                  </a:lnTo>
                  <a:lnTo>
                    <a:pt x="950" y="1084"/>
                  </a:lnTo>
                  <a:lnTo>
                    <a:pt x="941" y="1068"/>
                  </a:lnTo>
                  <a:lnTo>
                    <a:pt x="932" y="1053"/>
                  </a:lnTo>
                  <a:lnTo>
                    <a:pt x="921" y="1039"/>
                  </a:lnTo>
                  <a:lnTo>
                    <a:pt x="909" y="1026"/>
                  </a:lnTo>
                  <a:lnTo>
                    <a:pt x="896" y="1013"/>
                  </a:lnTo>
                  <a:lnTo>
                    <a:pt x="882" y="1001"/>
                  </a:lnTo>
                  <a:lnTo>
                    <a:pt x="868" y="990"/>
                  </a:lnTo>
                  <a:lnTo>
                    <a:pt x="852" y="980"/>
                  </a:lnTo>
                  <a:lnTo>
                    <a:pt x="836" y="971"/>
                  </a:lnTo>
                  <a:lnTo>
                    <a:pt x="820" y="962"/>
                  </a:lnTo>
                  <a:lnTo>
                    <a:pt x="806" y="957"/>
                  </a:lnTo>
                  <a:lnTo>
                    <a:pt x="793" y="952"/>
                  </a:lnTo>
                  <a:lnTo>
                    <a:pt x="779" y="948"/>
                  </a:lnTo>
                  <a:lnTo>
                    <a:pt x="763" y="945"/>
                  </a:lnTo>
                  <a:lnTo>
                    <a:pt x="730" y="938"/>
                  </a:lnTo>
                  <a:lnTo>
                    <a:pt x="693" y="934"/>
                  </a:lnTo>
                  <a:lnTo>
                    <a:pt x="651" y="930"/>
                  </a:lnTo>
                  <a:lnTo>
                    <a:pt x="604" y="927"/>
                  </a:lnTo>
                  <a:lnTo>
                    <a:pt x="553" y="925"/>
                  </a:lnTo>
                  <a:lnTo>
                    <a:pt x="496" y="923"/>
                  </a:lnTo>
                  <a:lnTo>
                    <a:pt x="462" y="923"/>
                  </a:lnTo>
                  <a:lnTo>
                    <a:pt x="431" y="923"/>
                  </a:lnTo>
                  <a:lnTo>
                    <a:pt x="405" y="923"/>
                  </a:lnTo>
                  <a:lnTo>
                    <a:pt x="384" y="922"/>
                  </a:lnTo>
                  <a:lnTo>
                    <a:pt x="364" y="920"/>
                  </a:lnTo>
                  <a:lnTo>
                    <a:pt x="345" y="917"/>
                  </a:lnTo>
                  <a:lnTo>
                    <a:pt x="327" y="913"/>
                  </a:lnTo>
                  <a:lnTo>
                    <a:pt x="309" y="906"/>
                  </a:lnTo>
                  <a:lnTo>
                    <a:pt x="298" y="902"/>
                  </a:lnTo>
                  <a:lnTo>
                    <a:pt x="289" y="897"/>
                  </a:lnTo>
                  <a:lnTo>
                    <a:pt x="281" y="892"/>
                  </a:lnTo>
                  <a:lnTo>
                    <a:pt x="274" y="887"/>
                  </a:lnTo>
                  <a:lnTo>
                    <a:pt x="268" y="882"/>
                  </a:lnTo>
                  <a:lnTo>
                    <a:pt x="262" y="876"/>
                  </a:lnTo>
                  <a:lnTo>
                    <a:pt x="257" y="870"/>
                  </a:lnTo>
                  <a:lnTo>
                    <a:pt x="252" y="864"/>
                  </a:lnTo>
                  <a:lnTo>
                    <a:pt x="249" y="859"/>
                  </a:lnTo>
                  <a:lnTo>
                    <a:pt x="246" y="852"/>
                  </a:lnTo>
                  <a:lnTo>
                    <a:pt x="244" y="846"/>
                  </a:lnTo>
                  <a:lnTo>
                    <a:pt x="242" y="840"/>
                  </a:lnTo>
                  <a:lnTo>
                    <a:pt x="240" y="829"/>
                  </a:lnTo>
                  <a:lnTo>
                    <a:pt x="239" y="818"/>
                  </a:lnTo>
                  <a:lnTo>
                    <a:pt x="239" y="811"/>
                  </a:lnTo>
                  <a:lnTo>
                    <a:pt x="240" y="804"/>
                  </a:lnTo>
                  <a:lnTo>
                    <a:pt x="242" y="797"/>
                  </a:lnTo>
                  <a:lnTo>
                    <a:pt x="243" y="791"/>
                  </a:lnTo>
                  <a:lnTo>
                    <a:pt x="248" y="780"/>
                  </a:lnTo>
                  <a:lnTo>
                    <a:pt x="255" y="770"/>
                  </a:lnTo>
                  <a:lnTo>
                    <a:pt x="261" y="763"/>
                  </a:lnTo>
                  <a:lnTo>
                    <a:pt x="267" y="756"/>
                  </a:lnTo>
                  <a:lnTo>
                    <a:pt x="273" y="751"/>
                  </a:lnTo>
                  <a:lnTo>
                    <a:pt x="277" y="747"/>
                  </a:lnTo>
                  <a:lnTo>
                    <a:pt x="279" y="745"/>
                  </a:lnTo>
                  <a:lnTo>
                    <a:pt x="281" y="742"/>
                  </a:lnTo>
                  <a:lnTo>
                    <a:pt x="284" y="740"/>
                  </a:lnTo>
                  <a:lnTo>
                    <a:pt x="286" y="738"/>
                  </a:lnTo>
                  <a:lnTo>
                    <a:pt x="289" y="736"/>
                  </a:lnTo>
                  <a:lnTo>
                    <a:pt x="292" y="733"/>
                  </a:lnTo>
                  <a:lnTo>
                    <a:pt x="294" y="731"/>
                  </a:lnTo>
                  <a:lnTo>
                    <a:pt x="297" y="728"/>
                  </a:lnTo>
                  <a:lnTo>
                    <a:pt x="331" y="736"/>
                  </a:lnTo>
                  <a:lnTo>
                    <a:pt x="361" y="742"/>
                  </a:lnTo>
                  <a:lnTo>
                    <a:pt x="385" y="748"/>
                  </a:lnTo>
                  <a:lnTo>
                    <a:pt x="408" y="752"/>
                  </a:lnTo>
                  <a:lnTo>
                    <a:pt x="428" y="754"/>
                  </a:lnTo>
                  <a:lnTo>
                    <a:pt x="447" y="755"/>
                  </a:lnTo>
                  <a:lnTo>
                    <a:pt x="467" y="756"/>
                  </a:lnTo>
                  <a:lnTo>
                    <a:pt x="487" y="756"/>
                  </a:lnTo>
                  <a:lnTo>
                    <a:pt x="515" y="756"/>
                  </a:lnTo>
                  <a:lnTo>
                    <a:pt x="541" y="754"/>
                  </a:lnTo>
                  <a:lnTo>
                    <a:pt x="567" y="751"/>
                  </a:lnTo>
                  <a:lnTo>
                    <a:pt x="590" y="747"/>
                  </a:lnTo>
                  <a:lnTo>
                    <a:pt x="614" y="741"/>
                  </a:lnTo>
                  <a:lnTo>
                    <a:pt x="635" y="735"/>
                  </a:lnTo>
                  <a:lnTo>
                    <a:pt x="656" y="729"/>
                  </a:lnTo>
                  <a:lnTo>
                    <a:pt x="676" y="722"/>
                  </a:lnTo>
                  <a:lnTo>
                    <a:pt x="694" y="714"/>
                  </a:lnTo>
                  <a:lnTo>
                    <a:pt x="710" y="707"/>
                  </a:lnTo>
                  <a:lnTo>
                    <a:pt x="727" y="699"/>
                  </a:lnTo>
                  <a:lnTo>
                    <a:pt x="741" y="691"/>
                  </a:lnTo>
                  <a:lnTo>
                    <a:pt x="766" y="675"/>
                  </a:lnTo>
                  <a:lnTo>
                    <a:pt x="785" y="661"/>
                  </a:lnTo>
                  <a:lnTo>
                    <a:pt x="800" y="647"/>
                  </a:lnTo>
                  <a:lnTo>
                    <a:pt x="814" y="634"/>
                  </a:lnTo>
                  <a:lnTo>
                    <a:pt x="826" y="619"/>
                  </a:lnTo>
                  <a:lnTo>
                    <a:pt x="837" y="605"/>
                  </a:lnTo>
                  <a:lnTo>
                    <a:pt x="846" y="590"/>
                  </a:lnTo>
                  <a:lnTo>
                    <a:pt x="853" y="575"/>
                  </a:lnTo>
                  <a:lnTo>
                    <a:pt x="860" y="561"/>
                  </a:lnTo>
                  <a:lnTo>
                    <a:pt x="865" y="547"/>
                  </a:lnTo>
                  <a:lnTo>
                    <a:pt x="870" y="534"/>
                  </a:lnTo>
                  <a:lnTo>
                    <a:pt x="874" y="520"/>
                  </a:lnTo>
                  <a:lnTo>
                    <a:pt x="877" y="507"/>
                  </a:lnTo>
                  <a:lnTo>
                    <a:pt x="879" y="496"/>
                  </a:lnTo>
                  <a:lnTo>
                    <a:pt x="881" y="474"/>
                  </a:lnTo>
                  <a:lnTo>
                    <a:pt x="881" y="456"/>
                  </a:lnTo>
                  <a:lnTo>
                    <a:pt x="881" y="441"/>
                  </a:lnTo>
                  <a:lnTo>
                    <a:pt x="880" y="427"/>
                  </a:lnTo>
                  <a:lnTo>
                    <a:pt x="878" y="413"/>
                  </a:lnTo>
                  <a:lnTo>
                    <a:pt x="876" y="400"/>
                  </a:lnTo>
                  <a:lnTo>
                    <a:pt x="873" y="387"/>
                  </a:lnTo>
                  <a:lnTo>
                    <a:pt x="870" y="376"/>
                  </a:lnTo>
                  <a:lnTo>
                    <a:pt x="865" y="365"/>
                  </a:lnTo>
                  <a:lnTo>
                    <a:pt x="861" y="355"/>
                  </a:lnTo>
                  <a:lnTo>
                    <a:pt x="853" y="335"/>
                  </a:lnTo>
                  <a:lnTo>
                    <a:pt x="844" y="320"/>
                  </a:lnTo>
                  <a:lnTo>
                    <a:pt x="835" y="307"/>
                  </a:lnTo>
                  <a:lnTo>
                    <a:pt x="827" y="298"/>
                  </a:lnTo>
                  <a:lnTo>
                    <a:pt x="820" y="289"/>
                  </a:lnTo>
                  <a:lnTo>
                    <a:pt x="812" y="282"/>
                  </a:lnTo>
                  <a:lnTo>
                    <a:pt x="805" y="276"/>
                  </a:lnTo>
                  <a:lnTo>
                    <a:pt x="798" y="270"/>
                  </a:lnTo>
                  <a:lnTo>
                    <a:pt x="791" y="264"/>
                  </a:lnTo>
                  <a:lnTo>
                    <a:pt x="783" y="258"/>
                  </a:lnTo>
                  <a:lnTo>
                    <a:pt x="775" y="252"/>
                  </a:lnTo>
                  <a:lnTo>
                    <a:pt x="767" y="245"/>
                  </a:lnTo>
                  <a:lnTo>
                    <a:pt x="770" y="238"/>
                  </a:lnTo>
                  <a:lnTo>
                    <a:pt x="774" y="231"/>
                  </a:lnTo>
                  <a:lnTo>
                    <a:pt x="778" y="225"/>
                  </a:lnTo>
                  <a:lnTo>
                    <a:pt x="781" y="219"/>
                  </a:lnTo>
                  <a:lnTo>
                    <a:pt x="786" y="213"/>
                  </a:lnTo>
                  <a:lnTo>
                    <a:pt x="790" y="208"/>
                  </a:lnTo>
                  <a:lnTo>
                    <a:pt x="795" y="203"/>
                  </a:lnTo>
                  <a:lnTo>
                    <a:pt x="800" y="198"/>
                  </a:lnTo>
                  <a:lnTo>
                    <a:pt x="808" y="192"/>
                  </a:lnTo>
                  <a:lnTo>
                    <a:pt x="818" y="187"/>
                  </a:lnTo>
                  <a:lnTo>
                    <a:pt x="827" y="182"/>
                  </a:lnTo>
                  <a:lnTo>
                    <a:pt x="837" y="178"/>
                  </a:lnTo>
                  <a:lnTo>
                    <a:pt x="848" y="175"/>
                  </a:lnTo>
                  <a:lnTo>
                    <a:pt x="859" y="173"/>
                  </a:lnTo>
                  <a:lnTo>
                    <a:pt x="871" y="171"/>
                  </a:lnTo>
                  <a:lnTo>
                    <a:pt x="883" y="169"/>
                  </a:lnTo>
                  <a:lnTo>
                    <a:pt x="907" y="167"/>
                  </a:lnTo>
                  <a:lnTo>
                    <a:pt x="931" y="167"/>
                  </a:lnTo>
                  <a:lnTo>
                    <a:pt x="954" y="167"/>
                  </a:lnTo>
                  <a:lnTo>
                    <a:pt x="977" y="168"/>
                  </a:lnTo>
                  <a:lnTo>
                    <a:pt x="977" y="1"/>
                  </a:lnTo>
                  <a:close/>
                  <a:moveTo>
                    <a:pt x="232" y="1101"/>
                  </a:moveTo>
                  <a:lnTo>
                    <a:pt x="284" y="1110"/>
                  </a:lnTo>
                  <a:lnTo>
                    <a:pt x="330" y="1117"/>
                  </a:lnTo>
                  <a:lnTo>
                    <a:pt x="372" y="1121"/>
                  </a:lnTo>
                  <a:lnTo>
                    <a:pt x="411" y="1124"/>
                  </a:lnTo>
                  <a:lnTo>
                    <a:pt x="449" y="1125"/>
                  </a:lnTo>
                  <a:lnTo>
                    <a:pt x="491" y="1126"/>
                  </a:lnTo>
                  <a:lnTo>
                    <a:pt x="538" y="1126"/>
                  </a:lnTo>
                  <a:lnTo>
                    <a:pt x="592" y="1127"/>
                  </a:lnTo>
                  <a:lnTo>
                    <a:pt x="622" y="1128"/>
                  </a:lnTo>
                  <a:lnTo>
                    <a:pt x="647" y="1130"/>
                  </a:lnTo>
                  <a:lnTo>
                    <a:pt x="670" y="1134"/>
                  </a:lnTo>
                  <a:lnTo>
                    <a:pt x="688" y="1139"/>
                  </a:lnTo>
                  <a:lnTo>
                    <a:pt x="705" y="1145"/>
                  </a:lnTo>
                  <a:lnTo>
                    <a:pt x="720" y="1152"/>
                  </a:lnTo>
                  <a:lnTo>
                    <a:pt x="732" y="1160"/>
                  </a:lnTo>
                  <a:lnTo>
                    <a:pt x="744" y="1170"/>
                  </a:lnTo>
                  <a:lnTo>
                    <a:pt x="752" y="1179"/>
                  </a:lnTo>
                  <a:lnTo>
                    <a:pt x="758" y="1188"/>
                  </a:lnTo>
                  <a:lnTo>
                    <a:pt x="763" y="1197"/>
                  </a:lnTo>
                  <a:lnTo>
                    <a:pt x="767" y="1205"/>
                  </a:lnTo>
                  <a:lnTo>
                    <a:pt x="769" y="1212"/>
                  </a:lnTo>
                  <a:lnTo>
                    <a:pt x="770" y="1219"/>
                  </a:lnTo>
                  <a:lnTo>
                    <a:pt x="771" y="1225"/>
                  </a:lnTo>
                  <a:lnTo>
                    <a:pt x="771" y="1230"/>
                  </a:lnTo>
                  <a:lnTo>
                    <a:pt x="770" y="1240"/>
                  </a:lnTo>
                  <a:lnTo>
                    <a:pt x="769" y="1250"/>
                  </a:lnTo>
                  <a:lnTo>
                    <a:pt x="766" y="1259"/>
                  </a:lnTo>
                  <a:lnTo>
                    <a:pt x="762" y="1267"/>
                  </a:lnTo>
                  <a:lnTo>
                    <a:pt x="758" y="1275"/>
                  </a:lnTo>
                  <a:lnTo>
                    <a:pt x="753" y="1283"/>
                  </a:lnTo>
                  <a:lnTo>
                    <a:pt x="748" y="1290"/>
                  </a:lnTo>
                  <a:lnTo>
                    <a:pt x="742" y="1297"/>
                  </a:lnTo>
                  <a:lnTo>
                    <a:pt x="735" y="1303"/>
                  </a:lnTo>
                  <a:lnTo>
                    <a:pt x="728" y="1310"/>
                  </a:lnTo>
                  <a:lnTo>
                    <a:pt x="721" y="1316"/>
                  </a:lnTo>
                  <a:lnTo>
                    <a:pt x="712" y="1321"/>
                  </a:lnTo>
                  <a:lnTo>
                    <a:pt x="696" y="1330"/>
                  </a:lnTo>
                  <a:lnTo>
                    <a:pt x="678" y="1337"/>
                  </a:lnTo>
                  <a:lnTo>
                    <a:pt x="667" y="1341"/>
                  </a:lnTo>
                  <a:lnTo>
                    <a:pt x="655" y="1344"/>
                  </a:lnTo>
                  <a:lnTo>
                    <a:pt x="643" y="1346"/>
                  </a:lnTo>
                  <a:lnTo>
                    <a:pt x="631" y="1349"/>
                  </a:lnTo>
                  <a:lnTo>
                    <a:pt x="605" y="1352"/>
                  </a:lnTo>
                  <a:lnTo>
                    <a:pt x="582" y="1355"/>
                  </a:lnTo>
                  <a:lnTo>
                    <a:pt x="559" y="1356"/>
                  </a:lnTo>
                  <a:lnTo>
                    <a:pt x="541" y="1357"/>
                  </a:lnTo>
                  <a:lnTo>
                    <a:pt x="527" y="1357"/>
                  </a:lnTo>
                  <a:lnTo>
                    <a:pt x="519" y="1357"/>
                  </a:lnTo>
                  <a:lnTo>
                    <a:pt x="489" y="1357"/>
                  </a:lnTo>
                  <a:lnTo>
                    <a:pt x="461" y="1356"/>
                  </a:lnTo>
                  <a:lnTo>
                    <a:pt x="433" y="1354"/>
                  </a:lnTo>
                  <a:lnTo>
                    <a:pt x="408" y="1351"/>
                  </a:lnTo>
                  <a:lnTo>
                    <a:pt x="384" y="1348"/>
                  </a:lnTo>
                  <a:lnTo>
                    <a:pt x="362" y="1343"/>
                  </a:lnTo>
                  <a:lnTo>
                    <a:pt x="340" y="1339"/>
                  </a:lnTo>
                  <a:lnTo>
                    <a:pt x="321" y="1333"/>
                  </a:lnTo>
                  <a:lnTo>
                    <a:pt x="302" y="1327"/>
                  </a:lnTo>
                  <a:lnTo>
                    <a:pt x="286" y="1320"/>
                  </a:lnTo>
                  <a:lnTo>
                    <a:pt x="271" y="1312"/>
                  </a:lnTo>
                  <a:lnTo>
                    <a:pt x="258" y="1303"/>
                  </a:lnTo>
                  <a:lnTo>
                    <a:pt x="244" y="1294"/>
                  </a:lnTo>
                  <a:lnTo>
                    <a:pt x="233" y="1284"/>
                  </a:lnTo>
                  <a:lnTo>
                    <a:pt x="223" y="1273"/>
                  </a:lnTo>
                  <a:lnTo>
                    <a:pt x="215" y="1262"/>
                  </a:lnTo>
                  <a:lnTo>
                    <a:pt x="212" y="1258"/>
                  </a:lnTo>
                  <a:lnTo>
                    <a:pt x="208" y="1252"/>
                  </a:lnTo>
                  <a:lnTo>
                    <a:pt x="204" y="1244"/>
                  </a:lnTo>
                  <a:lnTo>
                    <a:pt x="199" y="1235"/>
                  </a:lnTo>
                  <a:lnTo>
                    <a:pt x="196" y="1225"/>
                  </a:lnTo>
                  <a:lnTo>
                    <a:pt x="193" y="1213"/>
                  </a:lnTo>
                  <a:lnTo>
                    <a:pt x="191" y="1201"/>
                  </a:lnTo>
                  <a:lnTo>
                    <a:pt x="190" y="1187"/>
                  </a:lnTo>
                  <a:lnTo>
                    <a:pt x="191" y="1173"/>
                  </a:lnTo>
                  <a:lnTo>
                    <a:pt x="193" y="1161"/>
                  </a:lnTo>
                  <a:lnTo>
                    <a:pt x="196" y="1150"/>
                  </a:lnTo>
                  <a:lnTo>
                    <a:pt x="201" y="1140"/>
                  </a:lnTo>
                  <a:lnTo>
                    <a:pt x="208" y="1130"/>
                  </a:lnTo>
                  <a:lnTo>
                    <a:pt x="215" y="1121"/>
                  </a:lnTo>
                  <a:lnTo>
                    <a:pt x="223" y="1111"/>
                  </a:lnTo>
                  <a:lnTo>
                    <a:pt x="232" y="1101"/>
                  </a:lnTo>
                  <a:close/>
                  <a:moveTo>
                    <a:pt x="299" y="443"/>
                  </a:moveTo>
                  <a:lnTo>
                    <a:pt x="301" y="434"/>
                  </a:lnTo>
                  <a:lnTo>
                    <a:pt x="303" y="424"/>
                  </a:lnTo>
                  <a:lnTo>
                    <a:pt x="307" y="413"/>
                  </a:lnTo>
                  <a:lnTo>
                    <a:pt x="311" y="401"/>
                  </a:lnTo>
                  <a:lnTo>
                    <a:pt x="316" y="389"/>
                  </a:lnTo>
                  <a:lnTo>
                    <a:pt x="323" y="378"/>
                  </a:lnTo>
                  <a:lnTo>
                    <a:pt x="330" y="366"/>
                  </a:lnTo>
                  <a:lnTo>
                    <a:pt x="339" y="355"/>
                  </a:lnTo>
                  <a:lnTo>
                    <a:pt x="350" y="343"/>
                  </a:lnTo>
                  <a:lnTo>
                    <a:pt x="363" y="334"/>
                  </a:lnTo>
                  <a:lnTo>
                    <a:pt x="376" y="325"/>
                  </a:lnTo>
                  <a:lnTo>
                    <a:pt x="392" y="317"/>
                  </a:lnTo>
                  <a:lnTo>
                    <a:pt x="400" y="313"/>
                  </a:lnTo>
                  <a:lnTo>
                    <a:pt x="410" y="310"/>
                  </a:lnTo>
                  <a:lnTo>
                    <a:pt x="420" y="308"/>
                  </a:lnTo>
                  <a:lnTo>
                    <a:pt x="430" y="306"/>
                  </a:lnTo>
                  <a:lnTo>
                    <a:pt x="440" y="304"/>
                  </a:lnTo>
                  <a:lnTo>
                    <a:pt x="451" y="302"/>
                  </a:lnTo>
                  <a:lnTo>
                    <a:pt x="464" y="302"/>
                  </a:lnTo>
                  <a:lnTo>
                    <a:pt x="476" y="301"/>
                  </a:lnTo>
                  <a:lnTo>
                    <a:pt x="488" y="302"/>
                  </a:lnTo>
                  <a:lnTo>
                    <a:pt x="501" y="302"/>
                  </a:lnTo>
                  <a:lnTo>
                    <a:pt x="513" y="304"/>
                  </a:lnTo>
                  <a:lnTo>
                    <a:pt x="524" y="305"/>
                  </a:lnTo>
                  <a:lnTo>
                    <a:pt x="543" y="310"/>
                  </a:lnTo>
                  <a:lnTo>
                    <a:pt x="561" y="315"/>
                  </a:lnTo>
                  <a:lnTo>
                    <a:pt x="575" y="322"/>
                  </a:lnTo>
                  <a:lnTo>
                    <a:pt x="587" y="328"/>
                  </a:lnTo>
                  <a:lnTo>
                    <a:pt x="597" y="335"/>
                  </a:lnTo>
                  <a:lnTo>
                    <a:pt x="605" y="342"/>
                  </a:lnTo>
                  <a:lnTo>
                    <a:pt x="614" y="349"/>
                  </a:lnTo>
                  <a:lnTo>
                    <a:pt x="621" y="358"/>
                  </a:lnTo>
                  <a:lnTo>
                    <a:pt x="627" y="366"/>
                  </a:lnTo>
                  <a:lnTo>
                    <a:pt x="633" y="375"/>
                  </a:lnTo>
                  <a:lnTo>
                    <a:pt x="638" y="383"/>
                  </a:lnTo>
                  <a:lnTo>
                    <a:pt x="642" y="392"/>
                  </a:lnTo>
                  <a:lnTo>
                    <a:pt x="645" y="401"/>
                  </a:lnTo>
                  <a:lnTo>
                    <a:pt x="648" y="410"/>
                  </a:lnTo>
                  <a:lnTo>
                    <a:pt x="652" y="426"/>
                  </a:lnTo>
                  <a:lnTo>
                    <a:pt x="654" y="441"/>
                  </a:lnTo>
                  <a:lnTo>
                    <a:pt x="655" y="454"/>
                  </a:lnTo>
                  <a:lnTo>
                    <a:pt x="655" y="464"/>
                  </a:lnTo>
                  <a:lnTo>
                    <a:pt x="655" y="476"/>
                  </a:lnTo>
                  <a:lnTo>
                    <a:pt x="654" y="489"/>
                  </a:lnTo>
                  <a:lnTo>
                    <a:pt x="651" y="502"/>
                  </a:lnTo>
                  <a:lnTo>
                    <a:pt x="648" y="515"/>
                  </a:lnTo>
                  <a:lnTo>
                    <a:pt x="644" y="530"/>
                  </a:lnTo>
                  <a:lnTo>
                    <a:pt x="638" y="543"/>
                  </a:lnTo>
                  <a:lnTo>
                    <a:pt x="631" y="556"/>
                  </a:lnTo>
                  <a:lnTo>
                    <a:pt x="622" y="568"/>
                  </a:lnTo>
                  <a:lnTo>
                    <a:pt x="610" y="581"/>
                  </a:lnTo>
                  <a:lnTo>
                    <a:pt x="598" y="592"/>
                  </a:lnTo>
                  <a:lnTo>
                    <a:pt x="591" y="597"/>
                  </a:lnTo>
                  <a:lnTo>
                    <a:pt x="584" y="602"/>
                  </a:lnTo>
                  <a:lnTo>
                    <a:pt x="576" y="606"/>
                  </a:lnTo>
                  <a:lnTo>
                    <a:pt x="567" y="610"/>
                  </a:lnTo>
                  <a:lnTo>
                    <a:pt x="557" y="614"/>
                  </a:lnTo>
                  <a:lnTo>
                    <a:pt x="548" y="617"/>
                  </a:lnTo>
                  <a:lnTo>
                    <a:pt x="538" y="620"/>
                  </a:lnTo>
                  <a:lnTo>
                    <a:pt x="527" y="622"/>
                  </a:lnTo>
                  <a:lnTo>
                    <a:pt x="516" y="624"/>
                  </a:lnTo>
                  <a:lnTo>
                    <a:pt x="503" y="626"/>
                  </a:lnTo>
                  <a:lnTo>
                    <a:pt x="491" y="626"/>
                  </a:lnTo>
                  <a:lnTo>
                    <a:pt x="478" y="627"/>
                  </a:lnTo>
                  <a:lnTo>
                    <a:pt x="463" y="626"/>
                  </a:lnTo>
                  <a:lnTo>
                    <a:pt x="447" y="625"/>
                  </a:lnTo>
                  <a:lnTo>
                    <a:pt x="433" y="623"/>
                  </a:lnTo>
                  <a:lnTo>
                    <a:pt x="420" y="620"/>
                  </a:lnTo>
                  <a:lnTo>
                    <a:pt x="406" y="616"/>
                  </a:lnTo>
                  <a:lnTo>
                    <a:pt x="393" y="611"/>
                  </a:lnTo>
                  <a:lnTo>
                    <a:pt x="381" y="606"/>
                  </a:lnTo>
                  <a:lnTo>
                    <a:pt x="370" y="599"/>
                  </a:lnTo>
                  <a:lnTo>
                    <a:pt x="359" y="592"/>
                  </a:lnTo>
                  <a:lnTo>
                    <a:pt x="348" y="584"/>
                  </a:lnTo>
                  <a:lnTo>
                    <a:pt x="338" y="574"/>
                  </a:lnTo>
                  <a:lnTo>
                    <a:pt x="330" y="564"/>
                  </a:lnTo>
                  <a:lnTo>
                    <a:pt x="322" y="554"/>
                  </a:lnTo>
                  <a:lnTo>
                    <a:pt x="316" y="542"/>
                  </a:lnTo>
                  <a:lnTo>
                    <a:pt x="310" y="530"/>
                  </a:lnTo>
                  <a:lnTo>
                    <a:pt x="304" y="516"/>
                  </a:lnTo>
                  <a:lnTo>
                    <a:pt x="301" y="504"/>
                  </a:lnTo>
                  <a:lnTo>
                    <a:pt x="299" y="494"/>
                  </a:lnTo>
                  <a:lnTo>
                    <a:pt x="298" y="483"/>
                  </a:lnTo>
                  <a:lnTo>
                    <a:pt x="298" y="474"/>
                  </a:lnTo>
                  <a:lnTo>
                    <a:pt x="297" y="464"/>
                  </a:lnTo>
                  <a:lnTo>
                    <a:pt x="298" y="456"/>
                  </a:lnTo>
                  <a:lnTo>
                    <a:pt x="298" y="449"/>
                  </a:lnTo>
                  <a:lnTo>
                    <a:pt x="299" y="443"/>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79" name="Freeform 31"/>
            <p:cNvSpPr>
              <a:spLocks noEditPoints="1"/>
            </p:cNvSpPr>
            <p:nvPr userDrawn="1"/>
          </p:nvSpPr>
          <p:spPr bwMode="auto">
            <a:xfrm>
              <a:off x="5808" y="362"/>
              <a:ext cx="43" cy="50"/>
            </a:xfrm>
            <a:custGeom>
              <a:avLst/>
              <a:gdLst>
                <a:gd name="T0" fmla="*/ 0 w 873"/>
                <a:gd name="T1" fmla="*/ 0 h 1017"/>
                <a:gd name="T2" fmla="*/ 0 w 873"/>
                <a:gd name="T3" fmla="*/ 0 h 1017"/>
                <a:gd name="T4" fmla="*/ 0 w 873"/>
                <a:gd name="T5" fmla="*/ 0 h 1017"/>
                <a:gd name="T6" fmla="*/ 0 w 873"/>
                <a:gd name="T7" fmla="*/ 0 h 1017"/>
                <a:gd name="T8" fmla="*/ 0 w 873"/>
                <a:gd name="T9" fmla="*/ 0 h 1017"/>
                <a:gd name="T10" fmla="*/ 0 w 873"/>
                <a:gd name="T11" fmla="*/ 0 h 1017"/>
                <a:gd name="T12" fmla="*/ 0 w 873"/>
                <a:gd name="T13" fmla="*/ 0 h 1017"/>
                <a:gd name="T14" fmla="*/ 0 w 873"/>
                <a:gd name="T15" fmla="*/ 0 h 1017"/>
                <a:gd name="T16" fmla="*/ 0 w 873"/>
                <a:gd name="T17" fmla="*/ 0 h 1017"/>
                <a:gd name="T18" fmla="*/ 0 w 873"/>
                <a:gd name="T19" fmla="*/ 0 h 1017"/>
                <a:gd name="T20" fmla="*/ 0 w 873"/>
                <a:gd name="T21" fmla="*/ 0 h 1017"/>
                <a:gd name="T22" fmla="*/ 0 w 873"/>
                <a:gd name="T23" fmla="*/ 0 h 1017"/>
                <a:gd name="T24" fmla="*/ 0 w 873"/>
                <a:gd name="T25" fmla="*/ 0 h 1017"/>
                <a:gd name="T26" fmla="*/ 0 w 873"/>
                <a:gd name="T27" fmla="*/ 0 h 1017"/>
                <a:gd name="T28" fmla="*/ 0 w 873"/>
                <a:gd name="T29" fmla="*/ 0 h 1017"/>
                <a:gd name="T30" fmla="*/ 0 w 873"/>
                <a:gd name="T31" fmla="*/ 0 h 1017"/>
                <a:gd name="T32" fmla="*/ 0 w 873"/>
                <a:gd name="T33" fmla="*/ 0 h 1017"/>
                <a:gd name="T34" fmla="*/ 0 w 873"/>
                <a:gd name="T35" fmla="*/ 0 h 1017"/>
                <a:gd name="T36" fmla="*/ 0 w 873"/>
                <a:gd name="T37" fmla="*/ 0 h 1017"/>
                <a:gd name="T38" fmla="*/ 0 w 873"/>
                <a:gd name="T39" fmla="*/ 0 h 1017"/>
                <a:gd name="T40" fmla="*/ 0 w 873"/>
                <a:gd name="T41" fmla="*/ 0 h 1017"/>
                <a:gd name="T42" fmla="*/ 0 w 873"/>
                <a:gd name="T43" fmla="*/ 0 h 1017"/>
                <a:gd name="T44" fmla="*/ 0 w 873"/>
                <a:gd name="T45" fmla="*/ 0 h 1017"/>
                <a:gd name="T46" fmla="*/ 0 w 873"/>
                <a:gd name="T47" fmla="*/ 0 h 1017"/>
                <a:gd name="T48" fmla="*/ 0 w 873"/>
                <a:gd name="T49" fmla="*/ 0 h 1017"/>
                <a:gd name="T50" fmla="*/ 0 w 873"/>
                <a:gd name="T51" fmla="*/ 0 h 1017"/>
                <a:gd name="T52" fmla="*/ 0 w 873"/>
                <a:gd name="T53" fmla="*/ 0 h 1017"/>
                <a:gd name="T54" fmla="*/ 0 w 873"/>
                <a:gd name="T55" fmla="*/ 0 h 1017"/>
                <a:gd name="T56" fmla="*/ 0 w 873"/>
                <a:gd name="T57" fmla="*/ 0 h 1017"/>
                <a:gd name="T58" fmla="*/ 0 w 873"/>
                <a:gd name="T59" fmla="*/ 0 h 1017"/>
                <a:gd name="T60" fmla="*/ 0 w 873"/>
                <a:gd name="T61" fmla="*/ 0 h 1017"/>
                <a:gd name="T62" fmla="*/ 0 w 873"/>
                <a:gd name="T63" fmla="*/ 0 h 1017"/>
                <a:gd name="T64" fmla="*/ 0 w 873"/>
                <a:gd name="T65" fmla="*/ 0 h 1017"/>
                <a:gd name="T66" fmla="*/ 0 w 873"/>
                <a:gd name="T67" fmla="*/ 0 h 1017"/>
                <a:gd name="T68" fmla="*/ 0 w 873"/>
                <a:gd name="T69" fmla="*/ 0 h 1017"/>
                <a:gd name="T70" fmla="*/ 0 w 873"/>
                <a:gd name="T71" fmla="*/ 0 h 1017"/>
                <a:gd name="T72" fmla="*/ 0 w 873"/>
                <a:gd name="T73" fmla="*/ 0 h 1017"/>
                <a:gd name="T74" fmla="*/ 0 w 873"/>
                <a:gd name="T75" fmla="*/ 0 h 1017"/>
                <a:gd name="T76" fmla="*/ 0 w 873"/>
                <a:gd name="T77" fmla="*/ 0 h 1017"/>
                <a:gd name="T78" fmla="*/ 0 w 873"/>
                <a:gd name="T79" fmla="*/ 0 h 1017"/>
                <a:gd name="T80" fmla="*/ 0 w 873"/>
                <a:gd name="T81" fmla="*/ 0 h 1017"/>
                <a:gd name="T82" fmla="*/ 0 w 873"/>
                <a:gd name="T83" fmla="*/ 0 h 1017"/>
                <a:gd name="T84" fmla="*/ 0 w 873"/>
                <a:gd name="T85" fmla="*/ 0 h 1017"/>
                <a:gd name="T86" fmla="*/ 0 w 873"/>
                <a:gd name="T87" fmla="*/ 0 h 1017"/>
                <a:gd name="T88" fmla="*/ 0 w 873"/>
                <a:gd name="T89" fmla="*/ 0 h 1017"/>
                <a:gd name="T90" fmla="*/ 0 w 873"/>
                <a:gd name="T91" fmla="*/ 0 h 1017"/>
                <a:gd name="T92" fmla="*/ 0 w 873"/>
                <a:gd name="T93" fmla="*/ 0 h 1017"/>
                <a:gd name="T94" fmla="*/ 0 w 873"/>
                <a:gd name="T95" fmla="*/ 0 h 1017"/>
                <a:gd name="T96" fmla="*/ 0 w 873"/>
                <a:gd name="T97" fmla="*/ 0 h 1017"/>
                <a:gd name="T98" fmla="*/ 0 w 873"/>
                <a:gd name="T99" fmla="*/ 0 h 1017"/>
                <a:gd name="T100" fmla="*/ 0 w 873"/>
                <a:gd name="T101" fmla="*/ 0 h 1017"/>
                <a:gd name="T102" fmla="*/ 0 w 873"/>
                <a:gd name="T103" fmla="*/ 0 h 1017"/>
                <a:gd name="T104" fmla="*/ 0 w 873"/>
                <a:gd name="T105" fmla="*/ 0 h 1017"/>
                <a:gd name="T106" fmla="*/ 0 w 873"/>
                <a:gd name="T107" fmla="*/ 0 h 1017"/>
                <a:gd name="T108" fmla="*/ 0 w 873"/>
                <a:gd name="T109" fmla="*/ 0 h 1017"/>
                <a:gd name="T110" fmla="*/ 0 w 873"/>
                <a:gd name="T111" fmla="*/ 0 h 1017"/>
                <a:gd name="T112" fmla="*/ 0 w 873"/>
                <a:gd name="T113" fmla="*/ 0 h 1017"/>
                <a:gd name="T114" fmla="*/ 0 w 873"/>
                <a:gd name="T115" fmla="*/ 0 h 1017"/>
                <a:gd name="T116" fmla="*/ 0 w 873"/>
                <a:gd name="T117" fmla="*/ 0 h 1017"/>
                <a:gd name="T118" fmla="*/ 0 w 873"/>
                <a:gd name="T119" fmla="*/ 0 h 1017"/>
                <a:gd name="T120" fmla="*/ 0 w 873"/>
                <a:gd name="T121" fmla="*/ 0 h 1017"/>
                <a:gd name="T122" fmla="*/ 0 w 873"/>
                <a:gd name="T123" fmla="*/ 0 h 1017"/>
                <a:gd name="T124" fmla="*/ 0 w 873"/>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3" h="1017">
                  <a:moveTo>
                    <a:pt x="873" y="537"/>
                  </a:moveTo>
                  <a:lnTo>
                    <a:pt x="873" y="509"/>
                  </a:lnTo>
                  <a:lnTo>
                    <a:pt x="872" y="481"/>
                  </a:lnTo>
                  <a:lnTo>
                    <a:pt x="871" y="451"/>
                  </a:lnTo>
                  <a:lnTo>
                    <a:pt x="869" y="423"/>
                  </a:lnTo>
                  <a:lnTo>
                    <a:pt x="867" y="394"/>
                  </a:lnTo>
                  <a:lnTo>
                    <a:pt x="863" y="366"/>
                  </a:lnTo>
                  <a:lnTo>
                    <a:pt x="857" y="338"/>
                  </a:lnTo>
                  <a:lnTo>
                    <a:pt x="851" y="311"/>
                  </a:lnTo>
                  <a:lnTo>
                    <a:pt x="848" y="301"/>
                  </a:lnTo>
                  <a:lnTo>
                    <a:pt x="844" y="287"/>
                  </a:lnTo>
                  <a:lnTo>
                    <a:pt x="839" y="273"/>
                  </a:lnTo>
                  <a:lnTo>
                    <a:pt x="833" y="256"/>
                  </a:lnTo>
                  <a:lnTo>
                    <a:pt x="825" y="238"/>
                  </a:lnTo>
                  <a:lnTo>
                    <a:pt x="815" y="219"/>
                  </a:lnTo>
                  <a:lnTo>
                    <a:pt x="803" y="199"/>
                  </a:lnTo>
                  <a:lnTo>
                    <a:pt x="790" y="178"/>
                  </a:lnTo>
                  <a:lnTo>
                    <a:pt x="779" y="163"/>
                  </a:lnTo>
                  <a:lnTo>
                    <a:pt x="769" y="150"/>
                  </a:lnTo>
                  <a:lnTo>
                    <a:pt x="757" y="137"/>
                  </a:lnTo>
                  <a:lnTo>
                    <a:pt x="746" y="124"/>
                  </a:lnTo>
                  <a:lnTo>
                    <a:pt x="734" y="112"/>
                  </a:lnTo>
                  <a:lnTo>
                    <a:pt x="723" y="102"/>
                  </a:lnTo>
                  <a:lnTo>
                    <a:pt x="711" y="92"/>
                  </a:lnTo>
                  <a:lnTo>
                    <a:pt x="699" y="82"/>
                  </a:lnTo>
                  <a:lnTo>
                    <a:pt x="687" y="74"/>
                  </a:lnTo>
                  <a:lnTo>
                    <a:pt x="675" y="65"/>
                  </a:lnTo>
                  <a:lnTo>
                    <a:pt x="663" y="57"/>
                  </a:lnTo>
                  <a:lnTo>
                    <a:pt x="650" y="51"/>
                  </a:lnTo>
                  <a:lnTo>
                    <a:pt x="626" y="39"/>
                  </a:lnTo>
                  <a:lnTo>
                    <a:pt x="601" y="29"/>
                  </a:lnTo>
                  <a:lnTo>
                    <a:pt x="578" y="21"/>
                  </a:lnTo>
                  <a:lnTo>
                    <a:pt x="555" y="13"/>
                  </a:lnTo>
                  <a:lnTo>
                    <a:pt x="533" y="8"/>
                  </a:lnTo>
                  <a:lnTo>
                    <a:pt x="512" y="5"/>
                  </a:lnTo>
                  <a:lnTo>
                    <a:pt x="492" y="2"/>
                  </a:lnTo>
                  <a:lnTo>
                    <a:pt x="475" y="1"/>
                  </a:lnTo>
                  <a:lnTo>
                    <a:pt x="459" y="0"/>
                  </a:lnTo>
                  <a:lnTo>
                    <a:pt x="444" y="0"/>
                  </a:lnTo>
                  <a:lnTo>
                    <a:pt x="426" y="0"/>
                  </a:lnTo>
                  <a:lnTo>
                    <a:pt x="408" y="1"/>
                  </a:lnTo>
                  <a:lnTo>
                    <a:pt x="389" y="3"/>
                  </a:lnTo>
                  <a:lnTo>
                    <a:pt x="371" y="5"/>
                  </a:lnTo>
                  <a:lnTo>
                    <a:pt x="354" y="8"/>
                  </a:lnTo>
                  <a:lnTo>
                    <a:pt x="336" y="12"/>
                  </a:lnTo>
                  <a:lnTo>
                    <a:pt x="320" y="17"/>
                  </a:lnTo>
                  <a:lnTo>
                    <a:pt x="304" y="22"/>
                  </a:lnTo>
                  <a:lnTo>
                    <a:pt x="287" y="28"/>
                  </a:lnTo>
                  <a:lnTo>
                    <a:pt x="271" y="34"/>
                  </a:lnTo>
                  <a:lnTo>
                    <a:pt x="256" y="41"/>
                  </a:lnTo>
                  <a:lnTo>
                    <a:pt x="240" y="48"/>
                  </a:lnTo>
                  <a:lnTo>
                    <a:pt x="225" y="56"/>
                  </a:lnTo>
                  <a:lnTo>
                    <a:pt x="211" y="65"/>
                  </a:lnTo>
                  <a:lnTo>
                    <a:pt x="196" y="75"/>
                  </a:lnTo>
                  <a:lnTo>
                    <a:pt x="183" y="84"/>
                  </a:lnTo>
                  <a:lnTo>
                    <a:pt x="170" y="95"/>
                  </a:lnTo>
                  <a:lnTo>
                    <a:pt x="158" y="105"/>
                  </a:lnTo>
                  <a:lnTo>
                    <a:pt x="144" y="117"/>
                  </a:lnTo>
                  <a:lnTo>
                    <a:pt x="133" y="129"/>
                  </a:lnTo>
                  <a:lnTo>
                    <a:pt x="122" y="142"/>
                  </a:lnTo>
                  <a:lnTo>
                    <a:pt x="111" y="154"/>
                  </a:lnTo>
                  <a:lnTo>
                    <a:pt x="100" y="168"/>
                  </a:lnTo>
                  <a:lnTo>
                    <a:pt x="90" y="181"/>
                  </a:lnTo>
                  <a:lnTo>
                    <a:pt x="80" y="196"/>
                  </a:lnTo>
                  <a:lnTo>
                    <a:pt x="71" y="211"/>
                  </a:lnTo>
                  <a:lnTo>
                    <a:pt x="63" y="226"/>
                  </a:lnTo>
                  <a:lnTo>
                    <a:pt x="55" y="242"/>
                  </a:lnTo>
                  <a:lnTo>
                    <a:pt x="48" y="258"/>
                  </a:lnTo>
                  <a:lnTo>
                    <a:pt x="40" y="275"/>
                  </a:lnTo>
                  <a:lnTo>
                    <a:pt x="33" y="291"/>
                  </a:lnTo>
                  <a:lnTo>
                    <a:pt x="28" y="309"/>
                  </a:lnTo>
                  <a:lnTo>
                    <a:pt x="19" y="341"/>
                  </a:lnTo>
                  <a:lnTo>
                    <a:pt x="12" y="373"/>
                  </a:lnTo>
                  <a:lnTo>
                    <a:pt x="7" y="402"/>
                  </a:lnTo>
                  <a:lnTo>
                    <a:pt x="4" y="431"/>
                  </a:lnTo>
                  <a:lnTo>
                    <a:pt x="2" y="456"/>
                  </a:lnTo>
                  <a:lnTo>
                    <a:pt x="1" y="478"/>
                  </a:lnTo>
                  <a:lnTo>
                    <a:pt x="0" y="497"/>
                  </a:lnTo>
                  <a:lnTo>
                    <a:pt x="0" y="511"/>
                  </a:lnTo>
                  <a:lnTo>
                    <a:pt x="0" y="536"/>
                  </a:lnTo>
                  <a:lnTo>
                    <a:pt x="1" y="560"/>
                  </a:lnTo>
                  <a:lnTo>
                    <a:pt x="3" y="584"/>
                  </a:lnTo>
                  <a:lnTo>
                    <a:pt x="5" y="606"/>
                  </a:lnTo>
                  <a:lnTo>
                    <a:pt x="7" y="627"/>
                  </a:lnTo>
                  <a:lnTo>
                    <a:pt x="11" y="648"/>
                  </a:lnTo>
                  <a:lnTo>
                    <a:pt x="14" y="668"/>
                  </a:lnTo>
                  <a:lnTo>
                    <a:pt x="18" y="688"/>
                  </a:lnTo>
                  <a:lnTo>
                    <a:pt x="23" y="706"/>
                  </a:lnTo>
                  <a:lnTo>
                    <a:pt x="28" y="723"/>
                  </a:lnTo>
                  <a:lnTo>
                    <a:pt x="33" y="739"/>
                  </a:lnTo>
                  <a:lnTo>
                    <a:pt x="39" y="756"/>
                  </a:lnTo>
                  <a:lnTo>
                    <a:pt x="45" y="771"/>
                  </a:lnTo>
                  <a:lnTo>
                    <a:pt x="53" y="786"/>
                  </a:lnTo>
                  <a:lnTo>
                    <a:pt x="60" y="801"/>
                  </a:lnTo>
                  <a:lnTo>
                    <a:pt x="67" y="814"/>
                  </a:lnTo>
                  <a:lnTo>
                    <a:pt x="75" y="827"/>
                  </a:lnTo>
                  <a:lnTo>
                    <a:pt x="82" y="839"/>
                  </a:lnTo>
                  <a:lnTo>
                    <a:pt x="90" y="850"/>
                  </a:lnTo>
                  <a:lnTo>
                    <a:pt x="100" y="862"/>
                  </a:lnTo>
                  <a:lnTo>
                    <a:pt x="117" y="882"/>
                  </a:lnTo>
                  <a:lnTo>
                    <a:pt x="135" y="900"/>
                  </a:lnTo>
                  <a:lnTo>
                    <a:pt x="154" y="918"/>
                  </a:lnTo>
                  <a:lnTo>
                    <a:pt x="173" y="932"/>
                  </a:lnTo>
                  <a:lnTo>
                    <a:pt x="192" y="945"/>
                  </a:lnTo>
                  <a:lnTo>
                    <a:pt x="212" y="957"/>
                  </a:lnTo>
                  <a:lnTo>
                    <a:pt x="229" y="967"/>
                  </a:lnTo>
                  <a:lnTo>
                    <a:pt x="246" y="976"/>
                  </a:lnTo>
                  <a:lnTo>
                    <a:pt x="264" y="983"/>
                  </a:lnTo>
                  <a:lnTo>
                    <a:pt x="281" y="990"/>
                  </a:lnTo>
                  <a:lnTo>
                    <a:pt x="297" y="995"/>
                  </a:lnTo>
                  <a:lnTo>
                    <a:pt x="314" y="1000"/>
                  </a:lnTo>
                  <a:lnTo>
                    <a:pt x="329" y="1004"/>
                  </a:lnTo>
                  <a:lnTo>
                    <a:pt x="344" y="1007"/>
                  </a:lnTo>
                  <a:lnTo>
                    <a:pt x="372" y="1012"/>
                  </a:lnTo>
                  <a:lnTo>
                    <a:pt x="397" y="1015"/>
                  </a:lnTo>
                  <a:lnTo>
                    <a:pt x="419" y="1016"/>
                  </a:lnTo>
                  <a:lnTo>
                    <a:pt x="437" y="1017"/>
                  </a:lnTo>
                  <a:lnTo>
                    <a:pt x="464" y="1016"/>
                  </a:lnTo>
                  <a:lnTo>
                    <a:pt x="490" y="1014"/>
                  </a:lnTo>
                  <a:lnTo>
                    <a:pt x="516" y="1010"/>
                  </a:lnTo>
                  <a:lnTo>
                    <a:pt x="542" y="1005"/>
                  </a:lnTo>
                  <a:lnTo>
                    <a:pt x="568" y="999"/>
                  </a:lnTo>
                  <a:lnTo>
                    <a:pt x="592" y="991"/>
                  </a:lnTo>
                  <a:lnTo>
                    <a:pt x="617" y="982"/>
                  </a:lnTo>
                  <a:lnTo>
                    <a:pt x="640" y="972"/>
                  </a:lnTo>
                  <a:lnTo>
                    <a:pt x="664" y="959"/>
                  </a:lnTo>
                  <a:lnTo>
                    <a:pt x="685" y="946"/>
                  </a:lnTo>
                  <a:lnTo>
                    <a:pt x="706" y="932"/>
                  </a:lnTo>
                  <a:lnTo>
                    <a:pt x="727" y="916"/>
                  </a:lnTo>
                  <a:lnTo>
                    <a:pt x="746" y="898"/>
                  </a:lnTo>
                  <a:lnTo>
                    <a:pt x="765" y="880"/>
                  </a:lnTo>
                  <a:lnTo>
                    <a:pt x="782" y="861"/>
                  </a:lnTo>
                  <a:lnTo>
                    <a:pt x="797" y="839"/>
                  </a:lnTo>
                  <a:lnTo>
                    <a:pt x="808" y="821"/>
                  </a:lnTo>
                  <a:lnTo>
                    <a:pt x="820" y="802"/>
                  </a:lnTo>
                  <a:lnTo>
                    <a:pt x="830" y="783"/>
                  </a:lnTo>
                  <a:lnTo>
                    <a:pt x="839" y="765"/>
                  </a:lnTo>
                  <a:lnTo>
                    <a:pt x="847" y="748"/>
                  </a:lnTo>
                  <a:lnTo>
                    <a:pt x="853" y="733"/>
                  </a:lnTo>
                  <a:lnTo>
                    <a:pt x="858" y="722"/>
                  </a:lnTo>
                  <a:lnTo>
                    <a:pt x="861" y="715"/>
                  </a:lnTo>
                  <a:lnTo>
                    <a:pt x="661" y="683"/>
                  </a:lnTo>
                  <a:lnTo>
                    <a:pt x="657" y="692"/>
                  </a:lnTo>
                  <a:lnTo>
                    <a:pt x="654" y="700"/>
                  </a:lnTo>
                  <a:lnTo>
                    <a:pt x="651" y="708"/>
                  </a:lnTo>
                  <a:lnTo>
                    <a:pt x="648" y="715"/>
                  </a:lnTo>
                  <a:lnTo>
                    <a:pt x="645" y="723"/>
                  </a:lnTo>
                  <a:lnTo>
                    <a:pt x="641" y="730"/>
                  </a:lnTo>
                  <a:lnTo>
                    <a:pt x="637" y="737"/>
                  </a:lnTo>
                  <a:lnTo>
                    <a:pt x="632" y="746"/>
                  </a:lnTo>
                  <a:lnTo>
                    <a:pt x="624" y="757"/>
                  </a:lnTo>
                  <a:lnTo>
                    <a:pt x="616" y="767"/>
                  </a:lnTo>
                  <a:lnTo>
                    <a:pt x="606" y="776"/>
                  </a:lnTo>
                  <a:lnTo>
                    <a:pt x="596" y="786"/>
                  </a:lnTo>
                  <a:lnTo>
                    <a:pt x="586" y="794"/>
                  </a:lnTo>
                  <a:lnTo>
                    <a:pt x="575" y="803"/>
                  </a:lnTo>
                  <a:lnTo>
                    <a:pt x="564" y="810"/>
                  </a:lnTo>
                  <a:lnTo>
                    <a:pt x="552" y="817"/>
                  </a:lnTo>
                  <a:lnTo>
                    <a:pt x="540" y="823"/>
                  </a:lnTo>
                  <a:lnTo>
                    <a:pt x="528" y="828"/>
                  </a:lnTo>
                  <a:lnTo>
                    <a:pt x="516" y="832"/>
                  </a:lnTo>
                  <a:lnTo>
                    <a:pt x="502" y="836"/>
                  </a:lnTo>
                  <a:lnTo>
                    <a:pt x="490" y="839"/>
                  </a:lnTo>
                  <a:lnTo>
                    <a:pt x="477" y="841"/>
                  </a:lnTo>
                  <a:lnTo>
                    <a:pt x="464" y="842"/>
                  </a:lnTo>
                  <a:lnTo>
                    <a:pt x="450" y="842"/>
                  </a:lnTo>
                  <a:lnTo>
                    <a:pt x="439" y="842"/>
                  </a:lnTo>
                  <a:lnTo>
                    <a:pt x="426" y="841"/>
                  </a:lnTo>
                  <a:lnTo>
                    <a:pt x="412" y="839"/>
                  </a:lnTo>
                  <a:lnTo>
                    <a:pt x="395" y="835"/>
                  </a:lnTo>
                  <a:lnTo>
                    <a:pt x="387" y="833"/>
                  </a:lnTo>
                  <a:lnTo>
                    <a:pt x="379" y="829"/>
                  </a:lnTo>
                  <a:lnTo>
                    <a:pt x="370" y="826"/>
                  </a:lnTo>
                  <a:lnTo>
                    <a:pt x="362" y="821"/>
                  </a:lnTo>
                  <a:lnTo>
                    <a:pt x="353" y="816"/>
                  </a:lnTo>
                  <a:lnTo>
                    <a:pt x="343" y="810"/>
                  </a:lnTo>
                  <a:lnTo>
                    <a:pt x="334" y="803"/>
                  </a:lnTo>
                  <a:lnTo>
                    <a:pt x="325" y="794"/>
                  </a:lnTo>
                  <a:lnTo>
                    <a:pt x="311" y="781"/>
                  </a:lnTo>
                  <a:lnTo>
                    <a:pt x="297" y="767"/>
                  </a:lnTo>
                  <a:lnTo>
                    <a:pt x="286" y="753"/>
                  </a:lnTo>
                  <a:lnTo>
                    <a:pt x="277" y="737"/>
                  </a:lnTo>
                  <a:lnTo>
                    <a:pt x="269" y="723"/>
                  </a:lnTo>
                  <a:lnTo>
                    <a:pt x="262" y="708"/>
                  </a:lnTo>
                  <a:lnTo>
                    <a:pt x="256" y="694"/>
                  </a:lnTo>
                  <a:lnTo>
                    <a:pt x="251" y="679"/>
                  </a:lnTo>
                  <a:lnTo>
                    <a:pt x="246" y="666"/>
                  </a:lnTo>
                  <a:lnTo>
                    <a:pt x="243" y="653"/>
                  </a:lnTo>
                  <a:lnTo>
                    <a:pt x="240" y="641"/>
                  </a:lnTo>
                  <a:lnTo>
                    <a:pt x="238" y="629"/>
                  </a:lnTo>
                  <a:lnTo>
                    <a:pt x="236" y="609"/>
                  </a:lnTo>
                  <a:lnTo>
                    <a:pt x="234" y="594"/>
                  </a:lnTo>
                  <a:lnTo>
                    <a:pt x="233" y="587"/>
                  </a:lnTo>
                  <a:lnTo>
                    <a:pt x="233" y="580"/>
                  </a:lnTo>
                  <a:lnTo>
                    <a:pt x="232" y="572"/>
                  </a:lnTo>
                  <a:lnTo>
                    <a:pt x="232" y="565"/>
                  </a:lnTo>
                  <a:lnTo>
                    <a:pt x="231" y="559"/>
                  </a:lnTo>
                  <a:lnTo>
                    <a:pt x="231" y="552"/>
                  </a:lnTo>
                  <a:lnTo>
                    <a:pt x="230" y="546"/>
                  </a:lnTo>
                  <a:lnTo>
                    <a:pt x="230" y="540"/>
                  </a:lnTo>
                  <a:lnTo>
                    <a:pt x="873" y="537"/>
                  </a:lnTo>
                  <a:close/>
                  <a:moveTo>
                    <a:pt x="225" y="397"/>
                  </a:moveTo>
                  <a:lnTo>
                    <a:pt x="227" y="380"/>
                  </a:lnTo>
                  <a:lnTo>
                    <a:pt x="229" y="365"/>
                  </a:lnTo>
                  <a:lnTo>
                    <a:pt x="231" y="353"/>
                  </a:lnTo>
                  <a:lnTo>
                    <a:pt x="233" y="342"/>
                  </a:lnTo>
                  <a:lnTo>
                    <a:pt x="235" y="332"/>
                  </a:lnTo>
                  <a:lnTo>
                    <a:pt x="238" y="323"/>
                  </a:lnTo>
                  <a:lnTo>
                    <a:pt x="241" y="315"/>
                  </a:lnTo>
                  <a:lnTo>
                    <a:pt x="245" y="306"/>
                  </a:lnTo>
                  <a:lnTo>
                    <a:pt x="252" y="290"/>
                  </a:lnTo>
                  <a:lnTo>
                    <a:pt x="258" y="277"/>
                  </a:lnTo>
                  <a:lnTo>
                    <a:pt x="265" y="265"/>
                  </a:lnTo>
                  <a:lnTo>
                    <a:pt x="272" y="253"/>
                  </a:lnTo>
                  <a:lnTo>
                    <a:pt x="280" y="243"/>
                  </a:lnTo>
                  <a:lnTo>
                    <a:pt x="288" y="232"/>
                  </a:lnTo>
                  <a:lnTo>
                    <a:pt x="296" y="223"/>
                  </a:lnTo>
                  <a:lnTo>
                    <a:pt x="305" y="215"/>
                  </a:lnTo>
                  <a:lnTo>
                    <a:pt x="321" y="201"/>
                  </a:lnTo>
                  <a:lnTo>
                    <a:pt x="337" y="190"/>
                  </a:lnTo>
                  <a:lnTo>
                    <a:pt x="351" y="180"/>
                  </a:lnTo>
                  <a:lnTo>
                    <a:pt x="364" y="174"/>
                  </a:lnTo>
                  <a:lnTo>
                    <a:pt x="369" y="171"/>
                  </a:lnTo>
                  <a:lnTo>
                    <a:pt x="376" y="168"/>
                  </a:lnTo>
                  <a:lnTo>
                    <a:pt x="384" y="165"/>
                  </a:lnTo>
                  <a:lnTo>
                    <a:pt x="393" y="162"/>
                  </a:lnTo>
                  <a:lnTo>
                    <a:pt x="404" y="160"/>
                  </a:lnTo>
                  <a:lnTo>
                    <a:pt x="415" y="157"/>
                  </a:lnTo>
                  <a:lnTo>
                    <a:pt x="428" y="156"/>
                  </a:lnTo>
                  <a:lnTo>
                    <a:pt x="441" y="155"/>
                  </a:lnTo>
                  <a:lnTo>
                    <a:pt x="450" y="155"/>
                  </a:lnTo>
                  <a:lnTo>
                    <a:pt x="462" y="156"/>
                  </a:lnTo>
                  <a:lnTo>
                    <a:pt x="474" y="158"/>
                  </a:lnTo>
                  <a:lnTo>
                    <a:pt x="488" y="162"/>
                  </a:lnTo>
                  <a:lnTo>
                    <a:pt x="503" y="167"/>
                  </a:lnTo>
                  <a:lnTo>
                    <a:pt x="520" y="174"/>
                  </a:lnTo>
                  <a:lnTo>
                    <a:pt x="537" y="185"/>
                  </a:lnTo>
                  <a:lnTo>
                    <a:pt x="555" y="197"/>
                  </a:lnTo>
                  <a:lnTo>
                    <a:pt x="568" y="207"/>
                  </a:lnTo>
                  <a:lnTo>
                    <a:pt x="579" y="217"/>
                  </a:lnTo>
                  <a:lnTo>
                    <a:pt x="589" y="227"/>
                  </a:lnTo>
                  <a:lnTo>
                    <a:pt x="598" y="238"/>
                  </a:lnTo>
                  <a:lnTo>
                    <a:pt x="606" y="250"/>
                  </a:lnTo>
                  <a:lnTo>
                    <a:pt x="614" y="261"/>
                  </a:lnTo>
                  <a:lnTo>
                    <a:pt x="620" y="273"/>
                  </a:lnTo>
                  <a:lnTo>
                    <a:pt x="626" y="285"/>
                  </a:lnTo>
                  <a:lnTo>
                    <a:pt x="631" y="299"/>
                  </a:lnTo>
                  <a:lnTo>
                    <a:pt x="635" y="311"/>
                  </a:lnTo>
                  <a:lnTo>
                    <a:pt x="639" y="324"/>
                  </a:lnTo>
                  <a:lnTo>
                    <a:pt x="642" y="338"/>
                  </a:lnTo>
                  <a:lnTo>
                    <a:pt x="647" y="367"/>
                  </a:lnTo>
                  <a:lnTo>
                    <a:pt x="652" y="397"/>
                  </a:lnTo>
                  <a:lnTo>
                    <a:pt x="225" y="397"/>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80" name="Freeform 32"/>
            <p:cNvSpPr>
              <a:spLocks/>
            </p:cNvSpPr>
            <p:nvPr userDrawn="1"/>
          </p:nvSpPr>
          <p:spPr bwMode="auto">
            <a:xfrm>
              <a:off x="5861" y="361"/>
              <a:ext cx="40" cy="50"/>
            </a:xfrm>
            <a:custGeom>
              <a:avLst/>
              <a:gdLst>
                <a:gd name="T0" fmla="*/ 0 w 798"/>
                <a:gd name="T1" fmla="*/ 0 h 1000"/>
                <a:gd name="T2" fmla="*/ 0 w 798"/>
                <a:gd name="T3" fmla="*/ 0 h 1000"/>
                <a:gd name="T4" fmla="*/ 0 w 798"/>
                <a:gd name="T5" fmla="*/ 0 h 1000"/>
                <a:gd name="T6" fmla="*/ 0 w 798"/>
                <a:gd name="T7" fmla="*/ 0 h 1000"/>
                <a:gd name="T8" fmla="*/ 0 w 798"/>
                <a:gd name="T9" fmla="*/ 0 h 1000"/>
                <a:gd name="T10" fmla="*/ 0 w 798"/>
                <a:gd name="T11" fmla="*/ 0 h 1000"/>
                <a:gd name="T12" fmla="*/ 0 w 798"/>
                <a:gd name="T13" fmla="*/ 0 h 1000"/>
                <a:gd name="T14" fmla="*/ 0 w 798"/>
                <a:gd name="T15" fmla="*/ 0 h 1000"/>
                <a:gd name="T16" fmla="*/ 0 w 798"/>
                <a:gd name="T17" fmla="*/ 0 h 1000"/>
                <a:gd name="T18" fmla="*/ 0 w 798"/>
                <a:gd name="T19" fmla="*/ 0 h 1000"/>
                <a:gd name="T20" fmla="*/ 0 w 798"/>
                <a:gd name="T21" fmla="*/ 0 h 1000"/>
                <a:gd name="T22" fmla="*/ 0 w 798"/>
                <a:gd name="T23" fmla="*/ 0 h 1000"/>
                <a:gd name="T24" fmla="*/ 0 w 798"/>
                <a:gd name="T25" fmla="*/ 0 h 1000"/>
                <a:gd name="T26" fmla="*/ 0 w 798"/>
                <a:gd name="T27" fmla="*/ 0 h 1000"/>
                <a:gd name="T28" fmla="*/ 0 w 798"/>
                <a:gd name="T29" fmla="*/ 0 h 1000"/>
                <a:gd name="T30" fmla="*/ 0 w 798"/>
                <a:gd name="T31" fmla="*/ 0 h 1000"/>
                <a:gd name="T32" fmla="*/ 0 w 798"/>
                <a:gd name="T33" fmla="*/ 0 h 1000"/>
                <a:gd name="T34" fmla="*/ 0 w 798"/>
                <a:gd name="T35" fmla="*/ 0 h 1000"/>
                <a:gd name="T36" fmla="*/ 0 w 798"/>
                <a:gd name="T37" fmla="*/ 0 h 1000"/>
                <a:gd name="T38" fmla="*/ 0 w 798"/>
                <a:gd name="T39" fmla="*/ 0 h 1000"/>
                <a:gd name="T40" fmla="*/ 0 w 798"/>
                <a:gd name="T41" fmla="*/ 0 h 1000"/>
                <a:gd name="T42" fmla="*/ 0 w 798"/>
                <a:gd name="T43" fmla="*/ 0 h 1000"/>
                <a:gd name="T44" fmla="*/ 0 w 798"/>
                <a:gd name="T45" fmla="*/ 0 h 1000"/>
                <a:gd name="T46" fmla="*/ 0 w 798"/>
                <a:gd name="T47" fmla="*/ 0 h 1000"/>
                <a:gd name="T48" fmla="*/ 0 w 798"/>
                <a:gd name="T49" fmla="*/ 0 h 1000"/>
                <a:gd name="T50" fmla="*/ 0 w 798"/>
                <a:gd name="T51" fmla="*/ 0 h 1000"/>
                <a:gd name="T52" fmla="*/ 0 w 798"/>
                <a:gd name="T53" fmla="*/ 0 h 1000"/>
                <a:gd name="T54" fmla="*/ 0 w 798"/>
                <a:gd name="T55" fmla="*/ 0 h 1000"/>
                <a:gd name="T56" fmla="*/ 0 w 798"/>
                <a:gd name="T57" fmla="*/ 0 h 1000"/>
                <a:gd name="T58" fmla="*/ 0 w 798"/>
                <a:gd name="T59" fmla="*/ 0 h 1000"/>
                <a:gd name="T60" fmla="*/ 0 w 798"/>
                <a:gd name="T61" fmla="*/ 0 h 1000"/>
                <a:gd name="T62" fmla="*/ 0 w 798"/>
                <a:gd name="T63" fmla="*/ 0 h 1000"/>
                <a:gd name="T64" fmla="*/ 0 w 798"/>
                <a:gd name="T65" fmla="*/ 0 h 1000"/>
                <a:gd name="T66" fmla="*/ 0 w 798"/>
                <a:gd name="T67" fmla="*/ 0 h 1000"/>
                <a:gd name="T68" fmla="*/ 0 w 798"/>
                <a:gd name="T69" fmla="*/ 0 h 1000"/>
                <a:gd name="T70" fmla="*/ 0 w 798"/>
                <a:gd name="T71" fmla="*/ 0 h 1000"/>
                <a:gd name="T72" fmla="*/ 0 w 798"/>
                <a:gd name="T73" fmla="*/ 0 h 1000"/>
                <a:gd name="T74" fmla="*/ 0 w 798"/>
                <a:gd name="T75" fmla="*/ 0 h 1000"/>
                <a:gd name="T76" fmla="*/ 0 w 798"/>
                <a:gd name="T77" fmla="*/ 0 h 1000"/>
                <a:gd name="T78" fmla="*/ 0 w 798"/>
                <a:gd name="T79" fmla="*/ 0 h 1000"/>
                <a:gd name="T80" fmla="*/ 0 w 798"/>
                <a:gd name="T81" fmla="*/ 0 h 1000"/>
                <a:gd name="T82" fmla="*/ 0 w 798"/>
                <a:gd name="T83" fmla="*/ 0 h 1000"/>
                <a:gd name="T84" fmla="*/ 0 w 798"/>
                <a:gd name="T85" fmla="*/ 0 h 1000"/>
                <a:gd name="T86" fmla="*/ 0 w 798"/>
                <a:gd name="T87" fmla="*/ 0 h 1000"/>
                <a:gd name="T88" fmla="*/ 0 w 798"/>
                <a:gd name="T89" fmla="*/ 0 h 1000"/>
                <a:gd name="T90" fmla="*/ 0 w 798"/>
                <a:gd name="T91" fmla="*/ 0 h 1000"/>
                <a:gd name="T92" fmla="*/ 0 w 798"/>
                <a:gd name="T93" fmla="*/ 0 h 1000"/>
                <a:gd name="T94" fmla="*/ 0 w 798"/>
                <a:gd name="T95" fmla="*/ 0 h 1000"/>
                <a:gd name="T96" fmla="*/ 0 w 798"/>
                <a:gd name="T97" fmla="*/ 0 h 1000"/>
                <a:gd name="T98" fmla="*/ 0 w 798"/>
                <a:gd name="T99" fmla="*/ 0 h 1000"/>
                <a:gd name="T100" fmla="*/ 0 w 798"/>
                <a:gd name="T101" fmla="*/ 0 h 1000"/>
                <a:gd name="T102" fmla="*/ 0 w 798"/>
                <a:gd name="T103" fmla="*/ 0 h 1000"/>
                <a:gd name="T104" fmla="*/ 0 w 798"/>
                <a:gd name="T105" fmla="*/ 0 h 1000"/>
                <a:gd name="T106" fmla="*/ 0 w 798"/>
                <a:gd name="T107" fmla="*/ 0 h 1000"/>
                <a:gd name="T108" fmla="*/ 0 w 798"/>
                <a:gd name="T109" fmla="*/ 0 h 10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98" h="1000">
                  <a:moveTo>
                    <a:pt x="0" y="23"/>
                  </a:moveTo>
                  <a:lnTo>
                    <a:pt x="0" y="993"/>
                  </a:lnTo>
                  <a:lnTo>
                    <a:pt x="220" y="1000"/>
                  </a:lnTo>
                  <a:lnTo>
                    <a:pt x="220" y="483"/>
                  </a:lnTo>
                  <a:lnTo>
                    <a:pt x="222" y="446"/>
                  </a:lnTo>
                  <a:lnTo>
                    <a:pt x="225" y="410"/>
                  </a:lnTo>
                  <a:lnTo>
                    <a:pt x="228" y="391"/>
                  </a:lnTo>
                  <a:lnTo>
                    <a:pt x="231" y="374"/>
                  </a:lnTo>
                  <a:lnTo>
                    <a:pt x="234" y="358"/>
                  </a:lnTo>
                  <a:lnTo>
                    <a:pt x="239" y="340"/>
                  </a:lnTo>
                  <a:lnTo>
                    <a:pt x="244" y="324"/>
                  </a:lnTo>
                  <a:lnTo>
                    <a:pt x="251" y="309"/>
                  </a:lnTo>
                  <a:lnTo>
                    <a:pt x="259" y="293"/>
                  </a:lnTo>
                  <a:lnTo>
                    <a:pt x="268" y="278"/>
                  </a:lnTo>
                  <a:lnTo>
                    <a:pt x="278" y="264"/>
                  </a:lnTo>
                  <a:lnTo>
                    <a:pt x="290" y="251"/>
                  </a:lnTo>
                  <a:lnTo>
                    <a:pt x="303" y="237"/>
                  </a:lnTo>
                  <a:lnTo>
                    <a:pt x="319" y="225"/>
                  </a:lnTo>
                  <a:lnTo>
                    <a:pt x="328" y="218"/>
                  </a:lnTo>
                  <a:lnTo>
                    <a:pt x="336" y="212"/>
                  </a:lnTo>
                  <a:lnTo>
                    <a:pt x="344" y="207"/>
                  </a:lnTo>
                  <a:lnTo>
                    <a:pt x="352" y="202"/>
                  </a:lnTo>
                  <a:lnTo>
                    <a:pt x="369" y="195"/>
                  </a:lnTo>
                  <a:lnTo>
                    <a:pt x="384" y="190"/>
                  </a:lnTo>
                  <a:lnTo>
                    <a:pt x="397" y="186"/>
                  </a:lnTo>
                  <a:lnTo>
                    <a:pt x="411" y="183"/>
                  </a:lnTo>
                  <a:lnTo>
                    <a:pt x="421" y="182"/>
                  </a:lnTo>
                  <a:lnTo>
                    <a:pt x="430" y="181"/>
                  </a:lnTo>
                  <a:lnTo>
                    <a:pt x="448" y="182"/>
                  </a:lnTo>
                  <a:lnTo>
                    <a:pt x="465" y="186"/>
                  </a:lnTo>
                  <a:lnTo>
                    <a:pt x="479" y="190"/>
                  </a:lnTo>
                  <a:lnTo>
                    <a:pt x="492" y="195"/>
                  </a:lnTo>
                  <a:lnTo>
                    <a:pt x="503" y="201"/>
                  </a:lnTo>
                  <a:lnTo>
                    <a:pt x="514" y="206"/>
                  </a:lnTo>
                  <a:lnTo>
                    <a:pt x="521" y="212"/>
                  </a:lnTo>
                  <a:lnTo>
                    <a:pt x="528" y="217"/>
                  </a:lnTo>
                  <a:lnTo>
                    <a:pt x="538" y="227"/>
                  </a:lnTo>
                  <a:lnTo>
                    <a:pt x="546" y="237"/>
                  </a:lnTo>
                  <a:lnTo>
                    <a:pt x="554" y="248"/>
                  </a:lnTo>
                  <a:lnTo>
                    <a:pt x="561" y="259"/>
                  </a:lnTo>
                  <a:lnTo>
                    <a:pt x="567" y="270"/>
                  </a:lnTo>
                  <a:lnTo>
                    <a:pt x="572" y="281"/>
                  </a:lnTo>
                  <a:lnTo>
                    <a:pt x="576" y="293"/>
                  </a:lnTo>
                  <a:lnTo>
                    <a:pt x="579" y="306"/>
                  </a:lnTo>
                  <a:lnTo>
                    <a:pt x="583" y="331"/>
                  </a:lnTo>
                  <a:lnTo>
                    <a:pt x="585" y="358"/>
                  </a:lnTo>
                  <a:lnTo>
                    <a:pt x="587" y="384"/>
                  </a:lnTo>
                  <a:lnTo>
                    <a:pt x="587" y="412"/>
                  </a:lnTo>
                  <a:lnTo>
                    <a:pt x="587" y="1000"/>
                  </a:lnTo>
                  <a:lnTo>
                    <a:pt x="798" y="1000"/>
                  </a:lnTo>
                  <a:lnTo>
                    <a:pt x="798" y="339"/>
                  </a:lnTo>
                  <a:lnTo>
                    <a:pt x="797" y="333"/>
                  </a:lnTo>
                  <a:lnTo>
                    <a:pt x="796" y="323"/>
                  </a:lnTo>
                  <a:lnTo>
                    <a:pt x="796" y="311"/>
                  </a:lnTo>
                  <a:lnTo>
                    <a:pt x="795" y="296"/>
                  </a:lnTo>
                  <a:lnTo>
                    <a:pt x="793" y="281"/>
                  </a:lnTo>
                  <a:lnTo>
                    <a:pt x="791" y="264"/>
                  </a:lnTo>
                  <a:lnTo>
                    <a:pt x="788" y="247"/>
                  </a:lnTo>
                  <a:lnTo>
                    <a:pt x="785" y="230"/>
                  </a:lnTo>
                  <a:lnTo>
                    <a:pt x="780" y="213"/>
                  </a:lnTo>
                  <a:lnTo>
                    <a:pt x="776" y="198"/>
                  </a:lnTo>
                  <a:lnTo>
                    <a:pt x="771" y="184"/>
                  </a:lnTo>
                  <a:lnTo>
                    <a:pt x="765" y="171"/>
                  </a:lnTo>
                  <a:lnTo>
                    <a:pt x="760" y="161"/>
                  </a:lnTo>
                  <a:lnTo>
                    <a:pt x="756" y="151"/>
                  </a:lnTo>
                  <a:lnTo>
                    <a:pt x="752" y="143"/>
                  </a:lnTo>
                  <a:lnTo>
                    <a:pt x="749" y="137"/>
                  </a:lnTo>
                  <a:lnTo>
                    <a:pt x="742" y="125"/>
                  </a:lnTo>
                  <a:lnTo>
                    <a:pt x="734" y="113"/>
                  </a:lnTo>
                  <a:lnTo>
                    <a:pt x="726" y="102"/>
                  </a:lnTo>
                  <a:lnTo>
                    <a:pt x="717" y="91"/>
                  </a:lnTo>
                  <a:lnTo>
                    <a:pt x="707" y="81"/>
                  </a:lnTo>
                  <a:lnTo>
                    <a:pt x="698" y="71"/>
                  </a:lnTo>
                  <a:lnTo>
                    <a:pt x="688" y="62"/>
                  </a:lnTo>
                  <a:lnTo>
                    <a:pt x="678" y="54"/>
                  </a:lnTo>
                  <a:lnTo>
                    <a:pt x="667" y="47"/>
                  </a:lnTo>
                  <a:lnTo>
                    <a:pt x="652" y="38"/>
                  </a:lnTo>
                  <a:lnTo>
                    <a:pt x="635" y="30"/>
                  </a:lnTo>
                  <a:lnTo>
                    <a:pt x="615" y="21"/>
                  </a:lnTo>
                  <a:lnTo>
                    <a:pt x="591" y="13"/>
                  </a:lnTo>
                  <a:lnTo>
                    <a:pt x="565" y="6"/>
                  </a:lnTo>
                  <a:lnTo>
                    <a:pt x="550" y="4"/>
                  </a:lnTo>
                  <a:lnTo>
                    <a:pt x="535" y="2"/>
                  </a:lnTo>
                  <a:lnTo>
                    <a:pt x="520" y="0"/>
                  </a:lnTo>
                  <a:lnTo>
                    <a:pt x="503" y="0"/>
                  </a:lnTo>
                  <a:lnTo>
                    <a:pt x="489" y="0"/>
                  </a:lnTo>
                  <a:lnTo>
                    <a:pt x="475" y="1"/>
                  </a:lnTo>
                  <a:lnTo>
                    <a:pt x="462" y="2"/>
                  </a:lnTo>
                  <a:lnTo>
                    <a:pt x="449" y="4"/>
                  </a:lnTo>
                  <a:lnTo>
                    <a:pt x="425" y="9"/>
                  </a:lnTo>
                  <a:lnTo>
                    <a:pt x="402" y="15"/>
                  </a:lnTo>
                  <a:lnTo>
                    <a:pt x="382" y="24"/>
                  </a:lnTo>
                  <a:lnTo>
                    <a:pt x="363" y="33"/>
                  </a:lnTo>
                  <a:lnTo>
                    <a:pt x="345" y="43"/>
                  </a:lnTo>
                  <a:lnTo>
                    <a:pt x="329" y="54"/>
                  </a:lnTo>
                  <a:lnTo>
                    <a:pt x="315" y="65"/>
                  </a:lnTo>
                  <a:lnTo>
                    <a:pt x="301" y="78"/>
                  </a:lnTo>
                  <a:lnTo>
                    <a:pt x="289" y="89"/>
                  </a:lnTo>
                  <a:lnTo>
                    <a:pt x="279" y="101"/>
                  </a:lnTo>
                  <a:lnTo>
                    <a:pt x="261" y="124"/>
                  </a:lnTo>
                  <a:lnTo>
                    <a:pt x="247" y="144"/>
                  </a:lnTo>
                  <a:lnTo>
                    <a:pt x="241" y="154"/>
                  </a:lnTo>
                  <a:lnTo>
                    <a:pt x="235" y="165"/>
                  </a:lnTo>
                  <a:lnTo>
                    <a:pt x="228" y="176"/>
                  </a:lnTo>
                  <a:lnTo>
                    <a:pt x="222" y="189"/>
                  </a:lnTo>
                  <a:lnTo>
                    <a:pt x="217" y="200"/>
                  </a:lnTo>
                  <a:lnTo>
                    <a:pt x="211" y="211"/>
                  </a:lnTo>
                  <a:lnTo>
                    <a:pt x="205" y="222"/>
                  </a:lnTo>
                  <a:lnTo>
                    <a:pt x="201" y="232"/>
                  </a:lnTo>
                  <a:lnTo>
                    <a:pt x="201" y="23"/>
                  </a:lnTo>
                  <a:lnTo>
                    <a:pt x="0" y="23"/>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81" name="Freeform 33"/>
            <p:cNvSpPr>
              <a:spLocks/>
            </p:cNvSpPr>
            <p:nvPr userDrawn="1"/>
          </p:nvSpPr>
          <p:spPr bwMode="auto">
            <a:xfrm>
              <a:off x="5911" y="362"/>
              <a:ext cx="41" cy="50"/>
            </a:xfrm>
            <a:custGeom>
              <a:avLst/>
              <a:gdLst>
                <a:gd name="T0" fmla="*/ 0 w 817"/>
                <a:gd name="T1" fmla="*/ 0 h 1014"/>
                <a:gd name="T2" fmla="*/ 0 w 817"/>
                <a:gd name="T3" fmla="*/ 0 h 1014"/>
                <a:gd name="T4" fmla="*/ 0 w 817"/>
                <a:gd name="T5" fmla="*/ 0 h 1014"/>
                <a:gd name="T6" fmla="*/ 0 w 817"/>
                <a:gd name="T7" fmla="*/ 0 h 1014"/>
                <a:gd name="T8" fmla="*/ 0 w 817"/>
                <a:gd name="T9" fmla="*/ 0 h 1014"/>
                <a:gd name="T10" fmla="*/ 0 w 817"/>
                <a:gd name="T11" fmla="*/ 0 h 1014"/>
                <a:gd name="T12" fmla="*/ 0 w 817"/>
                <a:gd name="T13" fmla="*/ 0 h 1014"/>
                <a:gd name="T14" fmla="*/ 0 w 817"/>
                <a:gd name="T15" fmla="*/ 0 h 1014"/>
                <a:gd name="T16" fmla="*/ 0 w 817"/>
                <a:gd name="T17" fmla="*/ 0 h 1014"/>
                <a:gd name="T18" fmla="*/ 0 w 817"/>
                <a:gd name="T19" fmla="*/ 0 h 1014"/>
                <a:gd name="T20" fmla="*/ 0 w 817"/>
                <a:gd name="T21" fmla="*/ 0 h 1014"/>
                <a:gd name="T22" fmla="*/ 0 w 817"/>
                <a:gd name="T23" fmla="*/ 0 h 1014"/>
                <a:gd name="T24" fmla="*/ 0 w 817"/>
                <a:gd name="T25" fmla="*/ 0 h 1014"/>
                <a:gd name="T26" fmla="*/ 0 w 817"/>
                <a:gd name="T27" fmla="*/ 0 h 1014"/>
                <a:gd name="T28" fmla="*/ 0 w 817"/>
                <a:gd name="T29" fmla="*/ 0 h 1014"/>
                <a:gd name="T30" fmla="*/ 0 w 817"/>
                <a:gd name="T31" fmla="*/ 0 h 1014"/>
                <a:gd name="T32" fmla="*/ 0 w 817"/>
                <a:gd name="T33" fmla="*/ 0 h 1014"/>
                <a:gd name="T34" fmla="*/ 0 w 817"/>
                <a:gd name="T35" fmla="*/ 0 h 1014"/>
                <a:gd name="T36" fmla="*/ 0 w 817"/>
                <a:gd name="T37" fmla="*/ 0 h 1014"/>
                <a:gd name="T38" fmla="*/ 0 w 817"/>
                <a:gd name="T39" fmla="*/ 0 h 1014"/>
                <a:gd name="T40" fmla="*/ 0 w 817"/>
                <a:gd name="T41" fmla="*/ 0 h 1014"/>
                <a:gd name="T42" fmla="*/ 0 w 817"/>
                <a:gd name="T43" fmla="*/ 0 h 1014"/>
                <a:gd name="T44" fmla="*/ 0 w 817"/>
                <a:gd name="T45" fmla="*/ 0 h 1014"/>
                <a:gd name="T46" fmla="*/ 0 w 817"/>
                <a:gd name="T47" fmla="*/ 0 h 1014"/>
                <a:gd name="T48" fmla="*/ 0 w 817"/>
                <a:gd name="T49" fmla="*/ 0 h 1014"/>
                <a:gd name="T50" fmla="*/ 0 w 817"/>
                <a:gd name="T51" fmla="*/ 0 h 1014"/>
                <a:gd name="T52" fmla="*/ 0 w 817"/>
                <a:gd name="T53" fmla="*/ 0 h 1014"/>
                <a:gd name="T54" fmla="*/ 0 w 817"/>
                <a:gd name="T55" fmla="*/ 0 h 1014"/>
                <a:gd name="T56" fmla="*/ 0 w 817"/>
                <a:gd name="T57" fmla="*/ 0 h 1014"/>
                <a:gd name="T58" fmla="*/ 0 w 817"/>
                <a:gd name="T59" fmla="*/ 0 h 1014"/>
                <a:gd name="T60" fmla="*/ 0 w 817"/>
                <a:gd name="T61" fmla="*/ 0 h 1014"/>
                <a:gd name="T62" fmla="*/ 0 w 817"/>
                <a:gd name="T63" fmla="*/ 0 h 1014"/>
                <a:gd name="T64" fmla="*/ 0 w 817"/>
                <a:gd name="T65" fmla="*/ 0 h 1014"/>
                <a:gd name="T66" fmla="*/ 0 w 817"/>
                <a:gd name="T67" fmla="*/ 0 h 1014"/>
                <a:gd name="T68" fmla="*/ 0 w 817"/>
                <a:gd name="T69" fmla="*/ 0 h 1014"/>
                <a:gd name="T70" fmla="*/ 0 w 817"/>
                <a:gd name="T71" fmla="*/ 0 h 1014"/>
                <a:gd name="T72" fmla="*/ 0 w 817"/>
                <a:gd name="T73" fmla="*/ 0 h 1014"/>
                <a:gd name="T74" fmla="*/ 0 w 817"/>
                <a:gd name="T75" fmla="*/ 0 h 1014"/>
                <a:gd name="T76" fmla="*/ 0 w 817"/>
                <a:gd name="T77" fmla="*/ 0 h 1014"/>
                <a:gd name="T78" fmla="*/ 0 w 817"/>
                <a:gd name="T79" fmla="*/ 0 h 1014"/>
                <a:gd name="T80" fmla="*/ 0 w 817"/>
                <a:gd name="T81" fmla="*/ 0 h 1014"/>
                <a:gd name="T82" fmla="*/ 0 w 817"/>
                <a:gd name="T83" fmla="*/ 0 h 1014"/>
                <a:gd name="T84" fmla="*/ 0 w 817"/>
                <a:gd name="T85" fmla="*/ 0 h 1014"/>
                <a:gd name="T86" fmla="*/ 0 w 817"/>
                <a:gd name="T87" fmla="*/ 0 h 1014"/>
                <a:gd name="T88" fmla="*/ 0 w 817"/>
                <a:gd name="T89" fmla="*/ 0 h 1014"/>
                <a:gd name="T90" fmla="*/ 0 w 817"/>
                <a:gd name="T91" fmla="*/ 0 h 1014"/>
                <a:gd name="T92" fmla="*/ 0 w 817"/>
                <a:gd name="T93" fmla="*/ 0 h 1014"/>
                <a:gd name="T94" fmla="*/ 0 w 817"/>
                <a:gd name="T95" fmla="*/ 0 h 1014"/>
                <a:gd name="T96" fmla="*/ 0 w 817"/>
                <a:gd name="T97" fmla="*/ 0 h 1014"/>
                <a:gd name="T98" fmla="*/ 0 w 817"/>
                <a:gd name="T99" fmla="*/ 0 h 1014"/>
                <a:gd name="T100" fmla="*/ 0 w 817"/>
                <a:gd name="T101" fmla="*/ 0 h 1014"/>
                <a:gd name="T102" fmla="*/ 0 w 817"/>
                <a:gd name="T103" fmla="*/ 0 h 1014"/>
                <a:gd name="T104" fmla="*/ 0 w 817"/>
                <a:gd name="T105" fmla="*/ 0 h 1014"/>
                <a:gd name="T106" fmla="*/ 0 w 817"/>
                <a:gd name="T107" fmla="*/ 0 h 1014"/>
                <a:gd name="T108" fmla="*/ 0 w 817"/>
                <a:gd name="T109" fmla="*/ 0 h 1014"/>
                <a:gd name="T110" fmla="*/ 0 w 817"/>
                <a:gd name="T111" fmla="*/ 0 h 1014"/>
                <a:gd name="T112" fmla="*/ 0 w 817"/>
                <a:gd name="T113" fmla="*/ 0 h 1014"/>
                <a:gd name="T114" fmla="*/ 0 w 817"/>
                <a:gd name="T115" fmla="*/ 0 h 10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17" h="1014">
                  <a:moveTo>
                    <a:pt x="817" y="341"/>
                  </a:moveTo>
                  <a:lnTo>
                    <a:pt x="815" y="332"/>
                  </a:lnTo>
                  <a:lnTo>
                    <a:pt x="812" y="320"/>
                  </a:lnTo>
                  <a:lnTo>
                    <a:pt x="808" y="305"/>
                  </a:lnTo>
                  <a:lnTo>
                    <a:pt x="803" y="286"/>
                  </a:lnTo>
                  <a:lnTo>
                    <a:pt x="797" y="267"/>
                  </a:lnTo>
                  <a:lnTo>
                    <a:pt x="789" y="246"/>
                  </a:lnTo>
                  <a:lnTo>
                    <a:pt x="781" y="224"/>
                  </a:lnTo>
                  <a:lnTo>
                    <a:pt x="771" y="203"/>
                  </a:lnTo>
                  <a:lnTo>
                    <a:pt x="763" y="186"/>
                  </a:lnTo>
                  <a:lnTo>
                    <a:pt x="754" y="170"/>
                  </a:lnTo>
                  <a:lnTo>
                    <a:pt x="744" y="155"/>
                  </a:lnTo>
                  <a:lnTo>
                    <a:pt x="733" y="141"/>
                  </a:lnTo>
                  <a:lnTo>
                    <a:pt x="723" y="128"/>
                  </a:lnTo>
                  <a:lnTo>
                    <a:pt x="712" y="115"/>
                  </a:lnTo>
                  <a:lnTo>
                    <a:pt x="701" y="104"/>
                  </a:lnTo>
                  <a:lnTo>
                    <a:pt x="689" y="93"/>
                  </a:lnTo>
                  <a:lnTo>
                    <a:pt x="677" y="83"/>
                  </a:lnTo>
                  <a:lnTo>
                    <a:pt x="666" y="74"/>
                  </a:lnTo>
                  <a:lnTo>
                    <a:pt x="654" y="65"/>
                  </a:lnTo>
                  <a:lnTo>
                    <a:pt x="642" y="57"/>
                  </a:lnTo>
                  <a:lnTo>
                    <a:pt x="629" y="50"/>
                  </a:lnTo>
                  <a:lnTo>
                    <a:pt x="617" y="44"/>
                  </a:lnTo>
                  <a:lnTo>
                    <a:pt x="604" y="38"/>
                  </a:lnTo>
                  <a:lnTo>
                    <a:pt x="592" y="32"/>
                  </a:lnTo>
                  <a:lnTo>
                    <a:pt x="567" y="23"/>
                  </a:lnTo>
                  <a:lnTo>
                    <a:pt x="544" y="16"/>
                  </a:lnTo>
                  <a:lnTo>
                    <a:pt x="520" y="10"/>
                  </a:lnTo>
                  <a:lnTo>
                    <a:pt x="498" y="6"/>
                  </a:lnTo>
                  <a:lnTo>
                    <a:pt x="477" y="3"/>
                  </a:lnTo>
                  <a:lnTo>
                    <a:pt x="459" y="1"/>
                  </a:lnTo>
                  <a:lnTo>
                    <a:pt x="443" y="1"/>
                  </a:lnTo>
                  <a:lnTo>
                    <a:pt x="428" y="0"/>
                  </a:lnTo>
                  <a:lnTo>
                    <a:pt x="410" y="1"/>
                  </a:lnTo>
                  <a:lnTo>
                    <a:pt x="394" y="2"/>
                  </a:lnTo>
                  <a:lnTo>
                    <a:pt x="377" y="3"/>
                  </a:lnTo>
                  <a:lnTo>
                    <a:pt x="361" y="5"/>
                  </a:lnTo>
                  <a:lnTo>
                    <a:pt x="346" y="8"/>
                  </a:lnTo>
                  <a:lnTo>
                    <a:pt x="330" y="11"/>
                  </a:lnTo>
                  <a:lnTo>
                    <a:pt x="316" y="16"/>
                  </a:lnTo>
                  <a:lnTo>
                    <a:pt x="302" y="20"/>
                  </a:lnTo>
                  <a:lnTo>
                    <a:pt x="275" y="29"/>
                  </a:lnTo>
                  <a:lnTo>
                    <a:pt x="251" y="39"/>
                  </a:lnTo>
                  <a:lnTo>
                    <a:pt x="227" y="51"/>
                  </a:lnTo>
                  <a:lnTo>
                    <a:pt x="206" y="64"/>
                  </a:lnTo>
                  <a:lnTo>
                    <a:pt x="187" y="78"/>
                  </a:lnTo>
                  <a:lnTo>
                    <a:pt x="169" y="91"/>
                  </a:lnTo>
                  <a:lnTo>
                    <a:pt x="153" y="105"/>
                  </a:lnTo>
                  <a:lnTo>
                    <a:pt x="139" y="119"/>
                  </a:lnTo>
                  <a:lnTo>
                    <a:pt x="126" y="133"/>
                  </a:lnTo>
                  <a:lnTo>
                    <a:pt x="115" y="146"/>
                  </a:lnTo>
                  <a:lnTo>
                    <a:pt x="106" y="158"/>
                  </a:lnTo>
                  <a:lnTo>
                    <a:pt x="98" y="169"/>
                  </a:lnTo>
                  <a:lnTo>
                    <a:pt x="81" y="194"/>
                  </a:lnTo>
                  <a:lnTo>
                    <a:pt x="66" y="218"/>
                  </a:lnTo>
                  <a:lnTo>
                    <a:pt x="54" y="244"/>
                  </a:lnTo>
                  <a:lnTo>
                    <a:pt x="43" y="269"/>
                  </a:lnTo>
                  <a:lnTo>
                    <a:pt x="34" y="295"/>
                  </a:lnTo>
                  <a:lnTo>
                    <a:pt x="25" y="319"/>
                  </a:lnTo>
                  <a:lnTo>
                    <a:pt x="19" y="343"/>
                  </a:lnTo>
                  <a:lnTo>
                    <a:pt x="13" y="367"/>
                  </a:lnTo>
                  <a:lnTo>
                    <a:pt x="9" y="389"/>
                  </a:lnTo>
                  <a:lnTo>
                    <a:pt x="6" y="411"/>
                  </a:lnTo>
                  <a:lnTo>
                    <a:pt x="4" y="431"/>
                  </a:lnTo>
                  <a:lnTo>
                    <a:pt x="2" y="450"/>
                  </a:lnTo>
                  <a:lnTo>
                    <a:pt x="0" y="482"/>
                  </a:lnTo>
                  <a:lnTo>
                    <a:pt x="0" y="506"/>
                  </a:lnTo>
                  <a:lnTo>
                    <a:pt x="1" y="539"/>
                  </a:lnTo>
                  <a:lnTo>
                    <a:pt x="3" y="570"/>
                  </a:lnTo>
                  <a:lnTo>
                    <a:pt x="6" y="600"/>
                  </a:lnTo>
                  <a:lnTo>
                    <a:pt x="10" y="628"/>
                  </a:lnTo>
                  <a:lnTo>
                    <a:pt x="15" y="655"/>
                  </a:lnTo>
                  <a:lnTo>
                    <a:pt x="21" y="680"/>
                  </a:lnTo>
                  <a:lnTo>
                    <a:pt x="28" y="704"/>
                  </a:lnTo>
                  <a:lnTo>
                    <a:pt x="36" y="726"/>
                  </a:lnTo>
                  <a:lnTo>
                    <a:pt x="43" y="748"/>
                  </a:lnTo>
                  <a:lnTo>
                    <a:pt x="51" y="767"/>
                  </a:lnTo>
                  <a:lnTo>
                    <a:pt x="59" y="785"/>
                  </a:lnTo>
                  <a:lnTo>
                    <a:pt x="68" y="803"/>
                  </a:lnTo>
                  <a:lnTo>
                    <a:pt x="76" y="818"/>
                  </a:lnTo>
                  <a:lnTo>
                    <a:pt x="86" y="832"/>
                  </a:lnTo>
                  <a:lnTo>
                    <a:pt x="94" y="845"/>
                  </a:lnTo>
                  <a:lnTo>
                    <a:pt x="102" y="857"/>
                  </a:lnTo>
                  <a:lnTo>
                    <a:pt x="111" y="870"/>
                  </a:lnTo>
                  <a:lnTo>
                    <a:pt x="120" y="882"/>
                  </a:lnTo>
                  <a:lnTo>
                    <a:pt x="130" y="893"/>
                  </a:lnTo>
                  <a:lnTo>
                    <a:pt x="139" y="902"/>
                  </a:lnTo>
                  <a:lnTo>
                    <a:pt x="146" y="911"/>
                  </a:lnTo>
                  <a:lnTo>
                    <a:pt x="153" y="918"/>
                  </a:lnTo>
                  <a:lnTo>
                    <a:pt x="160" y="924"/>
                  </a:lnTo>
                  <a:lnTo>
                    <a:pt x="165" y="928"/>
                  </a:lnTo>
                  <a:lnTo>
                    <a:pt x="184" y="942"/>
                  </a:lnTo>
                  <a:lnTo>
                    <a:pt x="202" y="954"/>
                  </a:lnTo>
                  <a:lnTo>
                    <a:pt x="220" y="966"/>
                  </a:lnTo>
                  <a:lnTo>
                    <a:pt x="240" y="975"/>
                  </a:lnTo>
                  <a:lnTo>
                    <a:pt x="258" y="983"/>
                  </a:lnTo>
                  <a:lnTo>
                    <a:pt x="277" y="990"/>
                  </a:lnTo>
                  <a:lnTo>
                    <a:pt x="296" y="996"/>
                  </a:lnTo>
                  <a:lnTo>
                    <a:pt x="313" y="1000"/>
                  </a:lnTo>
                  <a:lnTo>
                    <a:pt x="330" y="1004"/>
                  </a:lnTo>
                  <a:lnTo>
                    <a:pt x="347" y="1007"/>
                  </a:lnTo>
                  <a:lnTo>
                    <a:pt x="362" y="1010"/>
                  </a:lnTo>
                  <a:lnTo>
                    <a:pt x="376" y="1011"/>
                  </a:lnTo>
                  <a:lnTo>
                    <a:pt x="402" y="1013"/>
                  </a:lnTo>
                  <a:lnTo>
                    <a:pt x="420" y="1014"/>
                  </a:lnTo>
                  <a:lnTo>
                    <a:pt x="442" y="1013"/>
                  </a:lnTo>
                  <a:lnTo>
                    <a:pt x="461" y="1012"/>
                  </a:lnTo>
                  <a:lnTo>
                    <a:pt x="480" y="1010"/>
                  </a:lnTo>
                  <a:lnTo>
                    <a:pt x="499" y="1007"/>
                  </a:lnTo>
                  <a:lnTo>
                    <a:pt x="516" y="1004"/>
                  </a:lnTo>
                  <a:lnTo>
                    <a:pt x="532" y="1000"/>
                  </a:lnTo>
                  <a:lnTo>
                    <a:pt x="548" y="996"/>
                  </a:lnTo>
                  <a:lnTo>
                    <a:pt x="563" y="991"/>
                  </a:lnTo>
                  <a:lnTo>
                    <a:pt x="589" y="981"/>
                  </a:lnTo>
                  <a:lnTo>
                    <a:pt x="611" y="970"/>
                  </a:lnTo>
                  <a:lnTo>
                    <a:pt x="630" y="959"/>
                  </a:lnTo>
                  <a:lnTo>
                    <a:pt x="646" y="950"/>
                  </a:lnTo>
                  <a:lnTo>
                    <a:pt x="651" y="946"/>
                  </a:lnTo>
                  <a:lnTo>
                    <a:pt x="658" y="941"/>
                  </a:lnTo>
                  <a:lnTo>
                    <a:pt x="667" y="934"/>
                  </a:lnTo>
                  <a:lnTo>
                    <a:pt x="676" y="927"/>
                  </a:lnTo>
                  <a:lnTo>
                    <a:pt x="686" y="917"/>
                  </a:lnTo>
                  <a:lnTo>
                    <a:pt x="698" y="906"/>
                  </a:lnTo>
                  <a:lnTo>
                    <a:pt x="709" y="894"/>
                  </a:lnTo>
                  <a:lnTo>
                    <a:pt x="721" y="881"/>
                  </a:lnTo>
                  <a:lnTo>
                    <a:pt x="733" y="865"/>
                  </a:lnTo>
                  <a:lnTo>
                    <a:pt x="745" y="848"/>
                  </a:lnTo>
                  <a:lnTo>
                    <a:pt x="755" y="832"/>
                  </a:lnTo>
                  <a:lnTo>
                    <a:pt x="764" y="816"/>
                  </a:lnTo>
                  <a:lnTo>
                    <a:pt x="772" y="801"/>
                  </a:lnTo>
                  <a:lnTo>
                    <a:pt x="779" y="784"/>
                  </a:lnTo>
                  <a:lnTo>
                    <a:pt x="786" y="770"/>
                  </a:lnTo>
                  <a:lnTo>
                    <a:pt x="791" y="755"/>
                  </a:lnTo>
                  <a:lnTo>
                    <a:pt x="801" y="727"/>
                  </a:lnTo>
                  <a:lnTo>
                    <a:pt x="807" y="703"/>
                  </a:lnTo>
                  <a:lnTo>
                    <a:pt x="811" y="681"/>
                  </a:lnTo>
                  <a:lnTo>
                    <a:pt x="815" y="664"/>
                  </a:lnTo>
                  <a:lnTo>
                    <a:pt x="640" y="647"/>
                  </a:lnTo>
                  <a:lnTo>
                    <a:pt x="630" y="670"/>
                  </a:lnTo>
                  <a:lnTo>
                    <a:pt x="620" y="692"/>
                  </a:lnTo>
                  <a:lnTo>
                    <a:pt x="610" y="713"/>
                  </a:lnTo>
                  <a:lnTo>
                    <a:pt x="598" y="733"/>
                  </a:lnTo>
                  <a:lnTo>
                    <a:pt x="592" y="743"/>
                  </a:lnTo>
                  <a:lnTo>
                    <a:pt x="584" y="752"/>
                  </a:lnTo>
                  <a:lnTo>
                    <a:pt x="577" y="761"/>
                  </a:lnTo>
                  <a:lnTo>
                    <a:pt x="570" y="770"/>
                  </a:lnTo>
                  <a:lnTo>
                    <a:pt x="562" y="778"/>
                  </a:lnTo>
                  <a:lnTo>
                    <a:pt x="553" y="786"/>
                  </a:lnTo>
                  <a:lnTo>
                    <a:pt x="544" y="793"/>
                  </a:lnTo>
                  <a:lnTo>
                    <a:pt x="533" y="801"/>
                  </a:lnTo>
                  <a:lnTo>
                    <a:pt x="519" y="809"/>
                  </a:lnTo>
                  <a:lnTo>
                    <a:pt x="506" y="815"/>
                  </a:lnTo>
                  <a:lnTo>
                    <a:pt x="493" y="820"/>
                  </a:lnTo>
                  <a:lnTo>
                    <a:pt x="479" y="823"/>
                  </a:lnTo>
                  <a:lnTo>
                    <a:pt x="468" y="825"/>
                  </a:lnTo>
                  <a:lnTo>
                    <a:pt x="457" y="826"/>
                  </a:lnTo>
                  <a:lnTo>
                    <a:pt x="448" y="827"/>
                  </a:lnTo>
                  <a:lnTo>
                    <a:pt x="439" y="827"/>
                  </a:lnTo>
                  <a:lnTo>
                    <a:pt x="427" y="827"/>
                  </a:lnTo>
                  <a:lnTo>
                    <a:pt x="417" y="826"/>
                  </a:lnTo>
                  <a:lnTo>
                    <a:pt x="407" y="825"/>
                  </a:lnTo>
                  <a:lnTo>
                    <a:pt x="397" y="823"/>
                  </a:lnTo>
                  <a:lnTo>
                    <a:pt x="379" y="818"/>
                  </a:lnTo>
                  <a:lnTo>
                    <a:pt x="363" y="812"/>
                  </a:lnTo>
                  <a:lnTo>
                    <a:pt x="350" y="806"/>
                  </a:lnTo>
                  <a:lnTo>
                    <a:pt x="338" y="799"/>
                  </a:lnTo>
                  <a:lnTo>
                    <a:pt x="328" y="791"/>
                  </a:lnTo>
                  <a:lnTo>
                    <a:pt x="321" y="785"/>
                  </a:lnTo>
                  <a:lnTo>
                    <a:pt x="308" y="774"/>
                  </a:lnTo>
                  <a:lnTo>
                    <a:pt x="297" y="762"/>
                  </a:lnTo>
                  <a:lnTo>
                    <a:pt x="287" y="748"/>
                  </a:lnTo>
                  <a:lnTo>
                    <a:pt x="276" y="733"/>
                  </a:lnTo>
                  <a:lnTo>
                    <a:pt x="268" y="718"/>
                  </a:lnTo>
                  <a:lnTo>
                    <a:pt x="261" y="702"/>
                  </a:lnTo>
                  <a:lnTo>
                    <a:pt x="255" y="684"/>
                  </a:lnTo>
                  <a:lnTo>
                    <a:pt x="249" y="667"/>
                  </a:lnTo>
                  <a:lnTo>
                    <a:pt x="245" y="650"/>
                  </a:lnTo>
                  <a:lnTo>
                    <a:pt x="241" y="632"/>
                  </a:lnTo>
                  <a:lnTo>
                    <a:pt x="238" y="614"/>
                  </a:lnTo>
                  <a:lnTo>
                    <a:pt x="235" y="596"/>
                  </a:lnTo>
                  <a:lnTo>
                    <a:pt x="234" y="578"/>
                  </a:lnTo>
                  <a:lnTo>
                    <a:pt x="232" y="560"/>
                  </a:lnTo>
                  <a:lnTo>
                    <a:pt x="232" y="542"/>
                  </a:lnTo>
                  <a:lnTo>
                    <a:pt x="232" y="525"/>
                  </a:lnTo>
                  <a:lnTo>
                    <a:pt x="232" y="501"/>
                  </a:lnTo>
                  <a:lnTo>
                    <a:pt x="233" y="479"/>
                  </a:lnTo>
                  <a:lnTo>
                    <a:pt x="234" y="457"/>
                  </a:lnTo>
                  <a:lnTo>
                    <a:pt x="235" y="437"/>
                  </a:lnTo>
                  <a:lnTo>
                    <a:pt x="238" y="419"/>
                  </a:lnTo>
                  <a:lnTo>
                    <a:pt x="240" y="401"/>
                  </a:lnTo>
                  <a:lnTo>
                    <a:pt x="243" y="384"/>
                  </a:lnTo>
                  <a:lnTo>
                    <a:pt x="246" y="369"/>
                  </a:lnTo>
                  <a:lnTo>
                    <a:pt x="250" y="355"/>
                  </a:lnTo>
                  <a:lnTo>
                    <a:pt x="254" y="340"/>
                  </a:lnTo>
                  <a:lnTo>
                    <a:pt x="258" y="327"/>
                  </a:lnTo>
                  <a:lnTo>
                    <a:pt x="262" y="316"/>
                  </a:lnTo>
                  <a:lnTo>
                    <a:pt x="272" y="293"/>
                  </a:lnTo>
                  <a:lnTo>
                    <a:pt x="284" y="274"/>
                  </a:lnTo>
                  <a:lnTo>
                    <a:pt x="293" y="261"/>
                  </a:lnTo>
                  <a:lnTo>
                    <a:pt x="303" y="249"/>
                  </a:lnTo>
                  <a:lnTo>
                    <a:pt x="313" y="237"/>
                  </a:lnTo>
                  <a:lnTo>
                    <a:pt x="323" y="228"/>
                  </a:lnTo>
                  <a:lnTo>
                    <a:pt x="334" y="220"/>
                  </a:lnTo>
                  <a:lnTo>
                    <a:pt x="345" y="213"/>
                  </a:lnTo>
                  <a:lnTo>
                    <a:pt x="355" y="207"/>
                  </a:lnTo>
                  <a:lnTo>
                    <a:pt x="365" y="201"/>
                  </a:lnTo>
                  <a:lnTo>
                    <a:pt x="375" y="197"/>
                  </a:lnTo>
                  <a:lnTo>
                    <a:pt x="386" y="194"/>
                  </a:lnTo>
                  <a:lnTo>
                    <a:pt x="395" y="191"/>
                  </a:lnTo>
                  <a:lnTo>
                    <a:pt x="405" y="189"/>
                  </a:lnTo>
                  <a:lnTo>
                    <a:pt x="422" y="187"/>
                  </a:lnTo>
                  <a:lnTo>
                    <a:pt x="438" y="186"/>
                  </a:lnTo>
                  <a:lnTo>
                    <a:pt x="453" y="187"/>
                  </a:lnTo>
                  <a:lnTo>
                    <a:pt x="471" y="190"/>
                  </a:lnTo>
                  <a:lnTo>
                    <a:pt x="481" y="192"/>
                  </a:lnTo>
                  <a:lnTo>
                    <a:pt x="493" y="195"/>
                  </a:lnTo>
                  <a:lnTo>
                    <a:pt x="503" y="198"/>
                  </a:lnTo>
                  <a:lnTo>
                    <a:pt x="514" y="203"/>
                  </a:lnTo>
                  <a:lnTo>
                    <a:pt x="526" y="208"/>
                  </a:lnTo>
                  <a:lnTo>
                    <a:pt x="538" y="215"/>
                  </a:lnTo>
                  <a:lnTo>
                    <a:pt x="549" y="223"/>
                  </a:lnTo>
                  <a:lnTo>
                    <a:pt x="560" y="232"/>
                  </a:lnTo>
                  <a:lnTo>
                    <a:pt x="570" y="244"/>
                  </a:lnTo>
                  <a:lnTo>
                    <a:pt x="580" y="256"/>
                  </a:lnTo>
                  <a:lnTo>
                    <a:pt x="590" y="270"/>
                  </a:lnTo>
                  <a:lnTo>
                    <a:pt x="599" y="285"/>
                  </a:lnTo>
                  <a:lnTo>
                    <a:pt x="604" y="296"/>
                  </a:lnTo>
                  <a:lnTo>
                    <a:pt x="608" y="306"/>
                  </a:lnTo>
                  <a:lnTo>
                    <a:pt x="611" y="316"/>
                  </a:lnTo>
                  <a:lnTo>
                    <a:pt x="615" y="326"/>
                  </a:lnTo>
                  <a:lnTo>
                    <a:pt x="618" y="337"/>
                  </a:lnTo>
                  <a:lnTo>
                    <a:pt x="620" y="347"/>
                  </a:lnTo>
                  <a:lnTo>
                    <a:pt x="623" y="359"/>
                  </a:lnTo>
                  <a:lnTo>
                    <a:pt x="625" y="370"/>
                  </a:lnTo>
                  <a:lnTo>
                    <a:pt x="817" y="341"/>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82" name="Freeform 34"/>
            <p:cNvSpPr>
              <a:spLocks noEditPoints="1"/>
            </p:cNvSpPr>
            <p:nvPr userDrawn="1"/>
          </p:nvSpPr>
          <p:spPr bwMode="auto">
            <a:xfrm>
              <a:off x="5957" y="362"/>
              <a:ext cx="44" cy="50"/>
            </a:xfrm>
            <a:custGeom>
              <a:avLst/>
              <a:gdLst>
                <a:gd name="T0" fmla="*/ 0 w 872"/>
                <a:gd name="T1" fmla="*/ 0 h 1017"/>
                <a:gd name="T2" fmla="*/ 0 w 872"/>
                <a:gd name="T3" fmla="*/ 0 h 1017"/>
                <a:gd name="T4" fmla="*/ 0 w 872"/>
                <a:gd name="T5" fmla="*/ 0 h 1017"/>
                <a:gd name="T6" fmla="*/ 0 w 872"/>
                <a:gd name="T7" fmla="*/ 0 h 1017"/>
                <a:gd name="T8" fmla="*/ 0 w 872"/>
                <a:gd name="T9" fmla="*/ 0 h 1017"/>
                <a:gd name="T10" fmla="*/ 0 w 872"/>
                <a:gd name="T11" fmla="*/ 0 h 1017"/>
                <a:gd name="T12" fmla="*/ 0 w 872"/>
                <a:gd name="T13" fmla="*/ 0 h 1017"/>
                <a:gd name="T14" fmla="*/ 0 w 872"/>
                <a:gd name="T15" fmla="*/ 0 h 1017"/>
                <a:gd name="T16" fmla="*/ 0 w 872"/>
                <a:gd name="T17" fmla="*/ 0 h 1017"/>
                <a:gd name="T18" fmla="*/ 0 w 872"/>
                <a:gd name="T19" fmla="*/ 0 h 1017"/>
                <a:gd name="T20" fmla="*/ 0 w 872"/>
                <a:gd name="T21" fmla="*/ 0 h 1017"/>
                <a:gd name="T22" fmla="*/ 0 w 872"/>
                <a:gd name="T23" fmla="*/ 0 h 1017"/>
                <a:gd name="T24" fmla="*/ 0 w 872"/>
                <a:gd name="T25" fmla="*/ 0 h 1017"/>
                <a:gd name="T26" fmla="*/ 0 w 872"/>
                <a:gd name="T27" fmla="*/ 0 h 1017"/>
                <a:gd name="T28" fmla="*/ 0 w 872"/>
                <a:gd name="T29" fmla="*/ 0 h 1017"/>
                <a:gd name="T30" fmla="*/ 0 w 872"/>
                <a:gd name="T31" fmla="*/ 0 h 1017"/>
                <a:gd name="T32" fmla="*/ 0 w 872"/>
                <a:gd name="T33" fmla="*/ 0 h 1017"/>
                <a:gd name="T34" fmla="*/ 0 w 872"/>
                <a:gd name="T35" fmla="*/ 0 h 1017"/>
                <a:gd name="T36" fmla="*/ 0 w 872"/>
                <a:gd name="T37" fmla="*/ 0 h 1017"/>
                <a:gd name="T38" fmla="*/ 0 w 872"/>
                <a:gd name="T39" fmla="*/ 0 h 1017"/>
                <a:gd name="T40" fmla="*/ 0 w 872"/>
                <a:gd name="T41" fmla="*/ 0 h 1017"/>
                <a:gd name="T42" fmla="*/ 0 w 872"/>
                <a:gd name="T43" fmla="*/ 0 h 1017"/>
                <a:gd name="T44" fmla="*/ 0 w 872"/>
                <a:gd name="T45" fmla="*/ 0 h 1017"/>
                <a:gd name="T46" fmla="*/ 0 w 872"/>
                <a:gd name="T47" fmla="*/ 0 h 1017"/>
                <a:gd name="T48" fmla="*/ 0 w 872"/>
                <a:gd name="T49" fmla="*/ 0 h 1017"/>
                <a:gd name="T50" fmla="*/ 0 w 872"/>
                <a:gd name="T51" fmla="*/ 0 h 1017"/>
                <a:gd name="T52" fmla="*/ 0 w 872"/>
                <a:gd name="T53" fmla="*/ 0 h 1017"/>
                <a:gd name="T54" fmla="*/ 0 w 872"/>
                <a:gd name="T55" fmla="*/ 0 h 1017"/>
                <a:gd name="T56" fmla="*/ 0 w 872"/>
                <a:gd name="T57" fmla="*/ 0 h 1017"/>
                <a:gd name="T58" fmla="*/ 0 w 872"/>
                <a:gd name="T59" fmla="*/ 0 h 1017"/>
                <a:gd name="T60" fmla="*/ 0 w 872"/>
                <a:gd name="T61" fmla="*/ 0 h 1017"/>
                <a:gd name="T62" fmla="*/ 0 w 872"/>
                <a:gd name="T63" fmla="*/ 0 h 1017"/>
                <a:gd name="T64" fmla="*/ 0 w 872"/>
                <a:gd name="T65" fmla="*/ 0 h 1017"/>
                <a:gd name="T66" fmla="*/ 0 w 872"/>
                <a:gd name="T67" fmla="*/ 0 h 1017"/>
                <a:gd name="T68" fmla="*/ 0 w 872"/>
                <a:gd name="T69" fmla="*/ 0 h 1017"/>
                <a:gd name="T70" fmla="*/ 0 w 872"/>
                <a:gd name="T71" fmla="*/ 0 h 1017"/>
                <a:gd name="T72" fmla="*/ 0 w 872"/>
                <a:gd name="T73" fmla="*/ 0 h 1017"/>
                <a:gd name="T74" fmla="*/ 0 w 872"/>
                <a:gd name="T75" fmla="*/ 0 h 1017"/>
                <a:gd name="T76" fmla="*/ 0 w 872"/>
                <a:gd name="T77" fmla="*/ 0 h 1017"/>
                <a:gd name="T78" fmla="*/ 0 w 872"/>
                <a:gd name="T79" fmla="*/ 0 h 1017"/>
                <a:gd name="T80" fmla="*/ 0 w 872"/>
                <a:gd name="T81" fmla="*/ 0 h 1017"/>
                <a:gd name="T82" fmla="*/ 0 w 872"/>
                <a:gd name="T83" fmla="*/ 0 h 1017"/>
                <a:gd name="T84" fmla="*/ 0 w 872"/>
                <a:gd name="T85" fmla="*/ 0 h 1017"/>
                <a:gd name="T86" fmla="*/ 0 w 872"/>
                <a:gd name="T87" fmla="*/ 0 h 1017"/>
                <a:gd name="T88" fmla="*/ 0 w 872"/>
                <a:gd name="T89" fmla="*/ 0 h 1017"/>
                <a:gd name="T90" fmla="*/ 0 w 872"/>
                <a:gd name="T91" fmla="*/ 0 h 1017"/>
                <a:gd name="T92" fmla="*/ 0 w 872"/>
                <a:gd name="T93" fmla="*/ 0 h 1017"/>
                <a:gd name="T94" fmla="*/ 0 w 872"/>
                <a:gd name="T95" fmla="*/ 0 h 1017"/>
                <a:gd name="T96" fmla="*/ 0 w 872"/>
                <a:gd name="T97" fmla="*/ 0 h 1017"/>
                <a:gd name="T98" fmla="*/ 0 w 872"/>
                <a:gd name="T99" fmla="*/ 0 h 1017"/>
                <a:gd name="T100" fmla="*/ 0 w 872"/>
                <a:gd name="T101" fmla="*/ 0 h 1017"/>
                <a:gd name="T102" fmla="*/ 0 w 872"/>
                <a:gd name="T103" fmla="*/ 0 h 1017"/>
                <a:gd name="T104" fmla="*/ 0 w 872"/>
                <a:gd name="T105" fmla="*/ 0 h 1017"/>
                <a:gd name="T106" fmla="*/ 0 w 872"/>
                <a:gd name="T107" fmla="*/ 0 h 1017"/>
                <a:gd name="T108" fmla="*/ 0 w 872"/>
                <a:gd name="T109" fmla="*/ 0 h 1017"/>
                <a:gd name="T110" fmla="*/ 0 w 872"/>
                <a:gd name="T111" fmla="*/ 0 h 1017"/>
                <a:gd name="T112" fmla="*/ 0 w 872"/>
                <a:gd name="T113" fmla="*/ 0 h 1017"/>
                <a:gd name="T114" fmla="*/ 0 w 872"/>
                <a:gd name="T115" fmla="*/ 0 h 1017"/>
                <a:gd name="T116" fmla="*/ 0 w 872"/>
                <a:gd name="T117" fmla="*/ 0 h 1017"/>
                <a:gd name="T118" fmla="*/ 0 w 872"/>
                <a:gd name="T119" fmla="*/ 0 h 1017"/>
                <a:gd name="T120" fmla="*/ 0 w 872"/>
                <a:gd name="T121" fmla="*/ 0 h 1017"/>
                <a:gd name="T122" fmla="*/ 0 w 872"/>
                <a:gd name="T123" fmla="*/ 0 h 1017"/>
                <a:gd name="T124" fmla="*/ 0 w 872"/>
                <a:gd name="T125" fmla="*/ 0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2" h="1017">
                  <a:moveTo>
                    <a:pt x="872" y="537"/>
                  </a:moveTo>
                  <a:lnTo>
                    <a:pt x="872" y="509"/>
                  </a:lnTo>
                  <a:lnTo>
                    <a:pt x="872" y="481"/>
                  </a:lnTo>
                  <a:lnTo>
                    <a:pt x="871" y="451"/>
                  </a:lnTo>
                  <a:lnTo>
                    <a:pt x="869" y="423"/>
                  </a:lnTo>
                  <a:lnTo>
                    <a:pt x="867" y="394"/>
                  </a:lnTo>
                  <a:lnTo>
                    <a:pt x="863" y="366"/>
                  </a:lnTo>
                  <a:lnTo>
                    <a:pt x="858" y="338"/>
                  </a:lnTo>
                  <a:lnTo>
                    <a:pt x="852" y="311"/>
                  </a:lnTo>
                  <a:lnTo>
                    <a:pt x="849" y="301"/>
                  </a:lnTo>
                  <a:lnTo>
                    <a:pt x="845" y="287"/>
                  </a:lnTo>
                  <a:lnTo>
                    <a:pt x="840" y="273"/>
                  </a:lnTo>
                  <a:lnTo>
                    <a:pt x="833" y="256"/>
                  </a:lnTo>
                  <a:lnTo>
                    <a:pt x="825" y="238"/>
                  </a:lnTo>
                  <a:lnTo>
                    <a:pt x="815" y="219"/>
                  </a:lnTo>
                  <a:lnTo>
                    <a:pt x="804" y="199"/>
                  </a:lnTo>
                  <a:lnTo>
                    <a:pt x="790" y="178"/>
                  </a:lnTo>
                  <a:lnTo>
                    <a:pt x="780" y="163"/>
                  </a:lnTo>
                  <a:lnTo>
                    <a:pt x="768" y="150"/>
                  </a:lnTo>
                  <a:lnTo>
                    <a:pt x="757" y="137"/>
                  </a:lnTo>
                  <a:lnTo>
                    <a:pt x="746" y="124"/>
                  </a:lnTo>
                  <a:lnTo>
                    <a:pt x="735" y="112"/>
                  </a:lnTo>
                  <a:lnTo>
                    <a:pt x="723" y="102"/>
                  </a:lnTo>
                  <a:lnTo>
                    <a:pt x="711" y="92"/>
                  </a:lnTo>
                  <a:lnTo>
                    <a:pt x="699" y="82"/>
                  </a:lnTo>
                  <a:lnTo>
                    <a:pt x="687" y="74"/>
                  </a:lnTo>
                  <a:lnTo>
                    <a:pt x="674" y="65"/>
                  </a:lnTo>
                  <a:lnTo>
                    <a:pt x="662" y="57"/>
                  </a:lnTo>
                  <a:lnTo>
                    <a:pt x="650" y="51"/>
                  </a:lnTo>
                  <a:lnTo>
                    <a:pt x="627" y="39"/>
                  </a:lnTo>
                  <a:lnTo>
                    <a:pt x="602" y="29"/>
                  </a:lnTo>
                  <a:lnTo>
                    <a:pt x="579" y="21"/>
                  </a:lnTo>
                  <a:lnTo>
                    <a:pt x="555" y="13"/>
                  </a:lnTo>
                  <a:lnTo>
                    <a:pt x="534" y="8"/>
                  </a:lnTo>
                  <a:lnTo>
                    <a:pt x="512" y="5"/>
                  </a:lnTo>
                  <a:lnTo>
                    <a:pt x="493" y="2"/>
                  </a:lnTo>
                  <a:lnTo>
                    <a:pt x="475" y="1"/>
                  </a:lnTo>
                  <a:lnTo>
                    <a:pt x="459" y="0"/>
                  </a:lnTo>
                  <a:lnTo>
                    <a:pt x="445" y="0"/>
                  </a:lnTo>
                  <a:lnTo>
                    <a:pt x="426" y="0"/>
                  </a:lnTo>
                  <a:lnTo>
                    <a:pt x="407" y="1"/>
                  </a:lnTo>
                  <a:lnTo>
                    <a:pt x="390" y="3"/>
                  </a:lnTo>
                  <a:lnTo>
                    <a:pt x="372" y="5"/>
                  </a:lnTo>
                  <a:lnTo>
                    <a:pt x="354" y="8"/>
                  </a:lnTo>
                  <a:lnTo>
                    <a:pt x="337" y="12"/>
                  </a:lnTo>
                  <a:lnTo>
                    <a:pt x="320" y="17"/>
                  </a:lnTo>
                  <a:lnTo>
                    <a:pt x="303" y="22"/>
                  </a:lnTo>
                  <a:lnTo>
                    <a:pt x="287" y="28"/>
                  </a:lnTo>
                  <a:lnTo>
                    <a:pt x="272" y="34"/>
                  </a:lnTo>
                  <a:lnTo>
                    <a:pt x="255" y="41"/>
                  </a:lnTo>
                  <a:lnTo>
                    <a:pt x="241" y="48"/>
                  </a:lnTo>
                  <a:lnTo>
                    <a:pt x="226" y="56"/>
                  </a:lnTo>
                  <a:lnTo>
                    <a:pt x="211" y="65"/>
                  </a:lnTo>
                  <a:lnTo>
                    <a:pt x="197" y="75"/>
                  </a:lnTo>
                  <a:lnTo>
                    <a:pt x="184" y="84"/>
                  </a:lnTo>
                  <a:lnTo>
                    <a:pt x="171" y="95"/>
                  </a:lnTo>
                  <a:lnTo>
                    <a:pt x="157" y="105"/>
                  </a:lnTo>
                  <a:lnTo>
                    <a:pt x="145" y="117"/>
                  </a:lnTo>
                  <a:lnTo>
                    <a:pt x="134" y="129"/>
                  </a:lnTo>
                  <a:lnTo>
                    <a:pt x="122" y="142"/>
                  </a:lnTo>
                  <a:lnTo>
                    <a:pt x="111" y="154"/>
                  </a:lnTo>
                  <a:lnTo>
                    <a:pt x="100" y="168"/>
                  </a:lnTo>
                  <a:lnTo>
                    <a:pt x="90" y="181"/>
                  </a:lnTo>
                  <a:lnTo>
                    <a:pt x="81" y="196"/>
                  </a:lnTo>
                  <a:lnTo>
                    <a:pt x="72" y="211"/>
                  </a:lnTo>
                  <a:lnTo>
                    <a:pt x="63" y="226"/>
                  </a:lnTo>
                  <a:lnTo>
                    <a:pt x="55" y="242"/>
                  </a:lnTo>
                  <a:lnTo>
                    <a:pt x="47" y="258"/>
                  </a:lnTo>
                  <a:lnTo>
                    <a:pt x="41" y="275"/>
                  </a:lnTo>
                  <a:lnTo>
                    <a:pt x="34" y="291"/>
                  </a:lnTo>
                  <a:lnTo>
                    <a:pt x="28" y="309"/>
                  </a:lnTo>
                  <a:lnTo>
                    <a:pt x="20" y="341"/>
                  </a:lnTo>
                  <a:lnTo>
                    <a:pt x="12" y="373"/>
                  </a:lnTo>
                  <a:lnTo>
                    <a:pt x="7" y="402"/>
                  </a:lnTo>
                  <a:lnTo>
                    <a:pt x="4" y="431"/>
                  </a:lnTo>
                  <a:lnTo>
                    <a:pt x="2" y="456"/>
                  </a:lnTo>
                  <a:lnTo>
                    <a:pt x="1" y="478"/>
                  </a:lnTo>
                  <a:lnTo>
                    <a:pt x="0" y="497"/>
                  </a:lnTo>
                  <a:lnTo>
                    <a:pt x="0" y="511"/>
                  </a:lnTo>
                  <a:lnTo>
                    <a:pt x="0" y="536"/>
                  </a:lnTo>
                  <a:lnTo>
                    <a:pt x="1" y="560"/>
                  </a:lnTo>
                  <a:lnTo>
                    <a:pt x="3" y="584"/>
                  </a:lnTo>
                  <a:lnTo>
                    <a:pt x="5" y="606"/>
                  </a:lnTo>
                  <a:lnTo>
                    <a:pt x="7" y="627"/>
                  </a:lnTo>
                  <a:lnTo>
                    <a:pt x="10" y="648"/>
                  </a:lnTo>
                  <a:lnTo>
                    <a:pt x="15" y="668"/>
                  </a:lnTo>
                  <a:lnTo>
                    <a:pt x="19" y="688"/>
                  </a:lnTo>
                  <a:lnTo>
                    <a:pt x="24" y="706"/>
                  </a:lnTo>
                  <a:lnTo>
                    <a:pt x="29" y="723"/>
                  </a:lnTo>
                  <a:lnTo>
                    <a:pt x="34" y="739"/>
                  </a:lnTo>
                  <a:lnTo>
                    <a:pt x="40" y="756"/>
                  </a:lnTo>
                  <a:lnTo>
                    <a:pt x="46" y="771"/>
                  </a:lnTo>
                  <a:lnTo>
                    <a:pt x="53" y="786"/>
                  </a:lnTo>
                  <a:lnTo>
                    <a:pt x="60" y="801"/>
                  </a:lnTo>
                  <a:lnTo>
                    <a:pt x="68" y="814"/>
                  </a:lnTo>
                  <a:lnTo>
                    <a:pt x="75" y="827"/>
                  </a:lnTo>
                  <a:lnTo>
                    <a:pt x="83" y="839"/>
                  </a:lnTo>
                  <a:lnTo>
                    <a:pt x="91" y="850"/>
                  </a:lnTo>
                  <a:lnTo>
                    <a:pt x="99" y="862"/>
                  </a:lnTo>
                  <a:lnTo>
                    <a:pt x="118" y="882"/>
                  </a:lnTo>
                  <a:lnTo>
                    <a:pt x="135" y="900"/>
                  </a:lnTo>
                  <a:lnTo>
                    <a:pt x="154" y="918"/>
                  </a:lnTo>
                  <a:lnTo>
                    <a:pt x="174" y="932"/>
                  </a:lnTo>
                  <a:lnTo>
                    <a:pt x="193" y="945"/>
                  </a:lnTo>
                  <a:lnTo>
                    <a:pt x="212" y="957"/>
                  </a:lnTo>
                  <a:lnTo>
                    <a:pt x="230" y="967"/>
                  </a:lnTo>
                  <a:lnTo>
                    <a:pt x="247" y="976"/>
                  </a:lnTo>
                  <a:lnTo>
                    <a:pt x="264" y="983"/>
                  </a:lnTo>
                  <a:lnTo>
                    <a:pt x="281" y="990"/>
                  </a:lnTo>
                  <a:lnTo>
                    <a:pt x="297" y="995"/>
                  </a:lnTo>
                  <a:lnTo>
                    <a:pt x="313" y="1000"/>
                  </a:lnTo>
                  <a:lnTo>
                    <a:pt x="329" y="1004"/>
                  </a:lnTo>
                  <a:lnTo>
                    <a:pt x="344" y="1007"/>
                  </a:lnTo>
                  <a:lnTo>
                    <a:pt x="373" y="1012"/>
                  </a:lnTo>
                  <a:lnTo>
                    <a:pt x="398" y="1015"/>
                  </a:lnTo>
                  <a:lnTo>
                    <a:pt x="419" y="1016"/>
                  </a:lnTo>
                  <a:lnTo>
                    <a:pt x="437" y="1017"/>
                  </a:lnTo>
                  <a:lnTo>
                    <a:pt x="463" y="1016"/>
                  </a:lnTo>
                  <a:lnTo>
                    <a:pt x="490" y="1014"/>
                  </a:lnTo>
                  <a:lnTo>
                    <a:pt x="516" y="1010"/>
                  </a:lnTo>
                  <a:lnTo>
                    <a:pt x="542" y="1005"/>
                  </a:lnTo>
                  <a:lnTo>
                    <a:pt x="567" y="999"/>
                  </a:lnTo>
                  <a:lnTo>
                    <a:pt x="593" y="991"/>
                  </a:lnTo>
                  <a:lnTo>
                    <a:pt x="617" y="982"/>
                  </a:lnTo>
                  <a:lnTo>
                    <a:pt x="641" y="972"/>
                  </a:lnTo>
                  <a:lnTo>
                    <a:pt x="663" y="959"/>
                  </a:lnTo>
                  <a:lnTo>
                    <a:pt x="686" y="946"/>
                  </a:lnTo>
                  <a:lnTo>
                    <a:pt x="707" y="932"/>
                  </a:lnTo>
                  <a:lnTo>
                    <a:pt x="728" y="916"/>
                  </a:lnTo>
                  <a:lnTo>
                    <a:pt x="747" y="898"/>
                  </a:lnTo>
                  <a:lnTo>
                    <a:pt x="764" y="880"/>
                  </a:lnTo>
                  <a:lnTo>
                    <a:pt x="782" y="861"/>
                  </a:lnTo>
                  <a:lnTo>
                    <a:pt x="798" y="839"/>
                  </a:lnTo>
                  <a:lnTo>
                    <a:pt x="809" y="821"/>
                  </a:lnTo>
                  <a:lnTo>
                    <a:pt x="820" y="802"/>
                  </a:lnTo>
                  <a:lnTo>
                    <a:pt x="831" y="783"/>
                  </a:lnTo>
                  <a:lnTo>
                    <a:pt x="840" y="765"/>
                  </a:lnTo>
                  <a:lnTo>
                    <a:pt x="847" y="748"/>
                  </a:lnTo>
                  <a:lnTo>
                    <a:pt x="854" y="733"/>
                  </a:lnTo>
                  <a:lnTo>
                    <a:pt x="858" y="722"/>
                  </a:lnTo>
                  <a:lnTo>
                    <a:pt x="861" y="715"/>
                  </a:lnTo>
                  <a:lnTo>
                    <a:pt x="660" y="683"/>
                  </a:lnTo>
                  <a:lnTo>
                    <a:pt x="658" y="692"/>
                  </a:lnTo>
                  <a:lnTo>
                    <a:pt x="655" y="700"/>
                  </a:lnTo>
                  <a:lnTo>
                    <a:pt x="652" y="708"/>
                  </a:lnTo>
                  <a:lnTo>
                    <a:pt x="649" y="715"/>
                  </a:lnTo>
                  <a:lnTo>
                    <a:pt x="645" y="723"/>
                  </a:lnTo>
                  <a:lnTo>
                    <a:pt x="642" y="730"/>
                  </a:lnTo>
                  <a:lnTo>
                    <a:pt x="637" y="737"/>
                  </a:lnTo>
                  <a:lnTo>
                    <a:pt x="633" y="746"/>
                  </a:lnTo>
                  <a:lnTo>
                    <a:pt x="624" y="757"/>
                  </a:lnTo>
                  <a:lnTo>
                    <a:pt x="615" y="767"/>
                  </a:lnTo>
                  <a:lnTo>
                    <a:pt x="606" y="776"/>
                  </a:lnTo>
                  <a:lnTo>
                    <a:pt x="597" y="786"/>
                  </a:lnTo>
                  <a:lnTo>
                    <a:pt x="587" y="794"/>
                  </a:lnTo>
                  <a:lnTo>
                    <a:pt x="576" y="803"/>
                  </a:lnTo>
                  <a:lnTo>
                    <a:pt x="564" y="810"/>
                  </a:lnTo>
                  <a:lnTo>
                    <a:pt x="553" y="817"/>
                  </a:lnTo>
                  <a:lnTo>
                    <a:pt x="541" y="823"/>
                  </a:lnTo>
                  <a:lnTo>
                    <a:pt x="529" y="828"/>
                  </a:lnTo>
                  <a:lnTo>
                    <a:pt x="516" y="832"/>
                  </a:lnTo>
                  <a:lnTo>
                    <a:pt x="503" y="836"/>
                  </a:lnTo>
                  <a:lnTo>
                    <a:pt x="490" y="839"/>
                  </a:lnTo>
                  <a:lnTo>
                    <a:pt x="477" y="841"/>
                  </a:lnTo>
                  <a:lnTo>
                    <a:pt x="463" y="842"/>
                  </a:lnTo>
                  <a:lnTo>
                    <a:pt x="450" y="842"/>
                  </a:lnTo>
                  <a:lnTo>
                    <a:pt x="439" y="842"/>
                  </a:lnTo>
                  <a:lnTo>
                    <a:pt x="426" y="841"/>
                  </a:lnTo>
                  <a:lnTo>
                    <a:pt x="411" y="839"/>
                  </a:lnTo>
                  <a:lnTo>
                    <a:pt x="396" y="835"/>
                  </a:lnTo>
                  <a:lnTo>
                    <a:pt x="388" y="833"/>
                  </a:lnTo>
                  <a:lnTo>
                    <a:pt x="380" y="829"/>
                  </a:lnTo>
                  <a:lnTo>
                    <a:pt x="371" y="826"/>
                  </a:lnTo>
                  <a:lnTo>
                    <a:pt x="361" y="821"/>
                  </a:lnTo>
                  <a:lnTo>
                    <a:pt x="352" y="816"/>
                  </a:lnTo>
                  <a:lnTo>
                    <a:pt x="343" y="810"/>
                  </a:lnTo>
                  <a:lnTo>
                    <a:pt x="334" y="803"/>
                  </a:lnTo>
                  <a:lnTo>
                    <a:pt x="325" y="794"/>
                  </a:lnTo>
                  <a:lnTo>
                    <a:pt x="310" y="781"/>
                  </a:lnTo>
                  <a:lnTo>
                    <a:pt x="298" y="767"/>
                  </a:lnTo>
                  <a:lnTo>
                    <a:pt x="287" y="753"/>
                  </a:lnTo>
                  <a:lnTo>
                    <a:pt x="277" y="737"/>
                  </a:lnTo>
                  <a:lnTo>
                    <a:pt x="269" y="723"/>
                  </a:lnTo>
                  <a:lnTo>
                    <a:pt x="261" y="708"/>
                  </a:lnTo>
                  <a:lnTo>
                    <a:pt x="255" y="694"/>
                  </a:lnTo>
                  <a:lnTo>
                    <a:pt x="251" y="679"/>
                  </a:lnTo>
                  <a:lnTo>
                    <a:pt x="247" y="666"/>
                  </a:lnTo>
                  <a:lnTo>
                    <a:pt x="243" y="653"/>
                  </a:lnTo>
                  <a:lnTo>
                    <a:pt x="241" y="641"/>
                  </a:lnTo>
                  <a:lnTo>
                    <a:pt x="239" y="629"/>
                  </a:lnTo>
                  <a:lnTo>
                    <a:pt x="236" y="609"/>
                  </a:lnTo>
                  <a:lnTo>
                    <a:pt x="235" y="594"/>
                  </a:lnTo>
                  <a:lnTo>
                    <a:pt x="234" y="587"/>
                  </a:lnTo>
                  <a:lnTo>
                    <a:pt x="233" y="580"/>
                  </a:lnTo>
                  <a:lnTo>
                    <a:pt x="233" y="572"/>
                  </a:lnTo>
                  <a:lnTo>
                    <a:pt x="232" y="565"/>
                  </a:lnTo>
                  <a:lnTo>
                    <a:pt x="232" y="559"/>
                  </a:lnTo>
                  <a:lnTo>
                    <a:pt x="231" y="552"/>
                  </a:lnTo>
                  <a:lnTo>
                    <a:pt x="231" y="546"/>
                  </a:lnTo>
                  <a:lnTo>
                    <a:pt x="231" y="540"/>
                  </a:lnTo>
                  <a:lnTo>
                    <a:pt x="872" y="537"/>
                  </a:lnTo>
                  <a:close/>
                  <a:moveTo>
                    <a:pt x="226" y="397"/>
                  </a:moveTo>
                  <a:lnTo>
                    <a:pt x="228" y="380"/>
                  </a:lnTo>
                  <a:lnTo>
                    <a:pt x="229" y="365"/>
                  </a:lnTo>
                  <a:lnTo>
                    <a:pt x="231" y="353"/>
                  </a:lnTo>
                  <a:lnTo>
                    <a:pt x="234" y="342"/>
                  </a:lnTo>
                  <a:lnTo>
                    <a:pt x="236" y="332"/>
                  </a:lnTo>
                  <a:lnTo>
                    <a:pt x="239" y="323"/>
                  </a:lnTo>
                  <a:lnTo>
                    <a:pt x="242" y="315"/>
                  </a:lnTo>
                  <a:lnTo>
                    <a:pt x="246" y="306"/>
                  </a:lnTo>
                  <a:lnTo>
                    <a:pt x="252" y="290"/>
                  </a:lnTo>
                  <a:lnTo>
                    <a:pt x="258" y="277"/>
                  </a:lnTo>
                  <a:lnTo>
                    <a:pt x="265" y="265"/>
                  </a:lnTo>
                  <a:lnTo>
                    <a:pt x="273" y="253"/>
                  </a:lnTo>
                  <a:lnTo>
                    <a:pt x="281" y="243"/>
                  </a:lnTo>
                  <a:lnTo>
                    <a:pt x="289" y="232"/>
                  </a:lnTo>
                  <a:lnTo>
                    <a:pt x="297" y="223"/>
                  </a:lnTo>
                  <a:lnTo>
                    <a:pt x="305" y="215"/>
                  </a:lnTo>
                  <a:lnTo>
                    <a:pt x="322" y="201"/>
                  </a:lnTo>
                  <a:lnTo>
                    <a:pt x="337" y="190"/>
                  </a:lnTo>
                  <a:lnTo>
                    <a:pt x="351" y="180"/>
                  </a:lnTo>
                  <a:lnTo>
                    <a:pt x="364" y="174"/>
                  </a:lnTo>
                  <a:lnTo>
                    <a:pt x="369" y="171"/>
                  </a:lnTo>
                  <a:lnTo>
                    <a:pt x="376" y="168"/>
                  </a:lnTo>
                  <a:lnTo>
                    <a:pt x="384" y="165"/>
                  </a:lnTo>
                  <a:lnTo>
                    <a:pt x="393" y="162"/>
                  </a:lnTo>
                  <a:lnTo>
                    <a:pt x="404" y="160"/>
                  </a:lnTo>
                  <a:lnTo>
                    <a:pt x="415" y="157"/>
                  </a:lnTo>
                  <a:lnTo>
                    <a:pt x="428" y="156"/>
                  </a:lnTo>
                  <a:lnTo>
                    <a:pt x="441" y="155"/>
                  </a:lnTo>
                  <a:lnTo>
                    <a:pt x="450" y="155"/>
                  </a:lnTo>
                  <a:lnTo>
                    <a:pt x="461" y="156"/>
                  </a:lnTo>
                  <a:lnTo>
                    <a:pt x="475" y="158"/>
                  </a:lnTo>
                  <a:lnTo>
                    <a:pt x="488" y="162"/>
                  </a:lnTo>
                  <a:lnTo>
                    <a:pt x="504" y="167"/>
                  </a:lnTo>
                  <a:lnTo>
                    <a:pt x="520" y="174"/>
                  </a:lnTo>
                  <a:lnTo>
                    <a:pt x="538" y="185"/>
                  </a:lnTo>
                  <a:lnTo>
                    <a:pt x="555" y="197"/>
                  </a:lnTo>
                  <a:lnTo>
                    <a:pt x="568" y="207"/>
                  </a:lnTo>
                  <a:lnTo>
                    <a:pt x="580" y="217"/>
                  </a:lnTo>
                  <a:lnTo>
                    <a:pt x="590" y="227"/>
                  </a:lnTo>
                  <a:lnTo>
                    <a:pt x="599" y="238"/>
                  </a:lnTo>
                  <a:lnTo>
                    <a:pt x="607" y="250"/>
                  </a:lnTo>
                  <a:lnTo>
                    <a:pt x="614" y="261"/>
                  </a:lnTo>
                  <a:lnTo>
                    <a:pt x="620" y="273"/>
                  </a:lnTo>
                  <a:lnTo>
                    <a:pt x="627" y="285"/>
                  </a:lnTo>
                  <a:lnTo>
                    <a:pt x="631" y="299"/>
                  </a:lnTo>
                  <a:lnTo>
                    <a:pt x="636" y="311"/>
                  </a:lnTo>
                  <a:lnTo>
                    <a:pt x="639" y="324"/>
                  </a:lnTo>
                  <a:lnTo>
                    <a:pt x="642" y="338"/>
                  </a:lnTo>
                  <a:lnTo>
                    <a:pt x="648" y="367"/>
                  </a:lnTo>
                  <a:lnTo>
                    <a:pt x="653" y="397"/>
                  </a:lnTo>
                  <a:lnTo>
                    <a:pt x="226" y="397"/>
                  </a:lnTo>
                  <a:close/>
                </a:path>
              </a:pathLst>
            </a:custGeom>
            <a:solidFill>
              <a:srgbClr val="5E737D"/>
            </a:solidFill>
            <a:ln w="9525">
              <a:noFill/>
              <a:round/>
              <a:headEnd/>
              <a:tailEnd/>
            </a:ln>
          </p:spPr>
          <p:txBody>
            <a:bodyPr/>
            <a:lstStyle/>
            <a:p>
              <a:pPr fontAlgn="base">
                <a:spcBef>
                  <a:spcPct val="0"/>
                </a:spcBef>
                <a:spcAft>
                  <a:spcPct val="0"/>
                </a:spcAft>
                <a:defRPr/>
              </a:pPr>
              <a:endParaRPr lang="ru-RU" sz="1700">
                <a:solidFill>
                  <a:srgbClr val="000000"/>
                </a:solidFill>
              </a:endParaRPr>
            </a:p>
          </p:txBody>
        </p:sp>
        <p:sp>
          <p:nvSpPr>
            <p:cNvPr id="2083" name="Rectangle 35"/>
            <p:cNvSpPr>
              <a:spLocks noChangeArrowheads="1"/>
            </p:cNvSpPr>
            <p:nvPr userDrawn="1"/>
          </p:nvSpPr>
          <p:spPr bwMode="auto">
            <a:xfrm>
              <a:off x="6011" y="399"/>
              <a:ext cx="12" cy="12"/>
            </a:xfrm>
            <a:prstGeom prst="rect">
              <a:avLst/>
            </a:prstGeom>
            <a:solidFill>
              <a:srgbClr val="5E737D"/>
            </a:solidFill>
            <a:ln>
              <a:noFill/>
            </a:ln>
            <a:extLst/>
          </p:spPr>
          <p:txBody>
            <a:bodyP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algn="ctr" eaLnBrk="1" fontAlgn="base" hangingPunct="1">
                <a:spcBef>
                  <a:spcPct val="20000"/>
                </a:spcBef>
                <a:spcAft>
                  <a:spcPct val="0"/>
                </a:spcAft>
                <a:buClr>
                  <a:srgbClr val="0084C2"/>
                </a:buClr>
                <a:buSzPct val="130000"/>
                <a:buFont typeface="Times New Roman" pitchFamily="18" charset="0"/>
                <a:buNone/>
                <a:defRPr/>
              </a:pPr>
              <a:endParaRPr lang="ru-RU" altLang="en-US" smtClean="0">
                <a:solidFill>
                  <a:srgbClr val="000000"/>
                </a:solidFill>
              </a:endParaRPr>
            </a:p>
          </p:txBody>
        </p:sp>
      </p:grpSp>
    </p:spTree>
    <p:extLst>
      <p:ext uri="{BB962C8B-B14F-4D97-AF65-F5344CB8AC3E}">
        <p14:creationId xmlns:p14="http://schemas.microsoft.com/office/powerpoint/2010/main" val="1581103202"/>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Lst>
  <p:transition>
    <p:zoom/>
  </p:transition>
  <p:hf sldNum="0" hdr="0" ftr="0" dt="0"/>
  <p:txStyles>
    <p:titleStyle>
      <a:lvl1pPr algn="l" rtl="0" eaLnBrk="0" fontAlgn="base" hangingPunct="0">
        <a:spcBef>
          <a:spcPct val="0"/>
        </a:spcBef>
        <a:spcAft>
          <a:spcPct val="0"/>
        </a:spcAft>
        <a:defRPr sz="2600">
          <a:solidFill>
            <a:srgbClr val="0084C2"/>
          </a:solidFill>
          <a:latin typeface="+mj-lt"/>
          <a:ea typeface="+mj-ea"/>
          <a:cs typeface="+mj-cs"/>
        </a:defRPr>
      </a:lvl1pPr>
      <a:lvl2pPr algn="l" rtl="0" eaLnBrk="0" fontAlgn="base" hangingPunct="0">
        <a:spcBef>
          <a:spcPct val="0"/>
        </a:spcBef>
        <a:spcAft>
          <a:spcPct val="0"/>
        </a:spcAft>
        <a:defRPr sz="2600">
          <a:solidFill>
            <a:srgbClr val="0084C2"/>
          </a:solidFill>
          <a:latin typeface="Arial" charset="0"/>
          <a:cs typeface="Arial" charset="0"/>
        </a:defRPr>
      </a:lvl2pPr>
      <a:lvl3pPr algn="l" rtl="0" eaLnBrk="0" fontAlgn="base" hangingPunct="0">
        <a:spcBef>
          <a:spcPct val="0"/>
        </a:spcBef>
        <a:spcAft>
          <a:spcPct val="0"/>
        </a:spcAft>
        <a:defRPr sz="2600">
          <a:solidFill>
            <a:srgbClr val="0084C2"/>
          </a:solidFill>
          <a:latin typeface="Arial" charset="0"/>
          <a:cs typeface="Arial" charset="0"/>
        </a:defRPr>
      </a:lvl3pPr>
      <a:lvl4pPr algn="l" rtl="0" eaLnBrk="0" fontAlgn="base" hangingPunct="0">
        <a:spcBef>
          <a:spcPct val="0"/>
        </a:spcBef>
        <a:spcAft>
          <a:spcPct val="0"/>
        </a:spcAft>
        <a:defRPr sz="2600">
          <a:solidFill>
            <a:srgbClr val="0084C2"/>
          </a:solidFill>
          <a:latin typeface="Arial" charset="0"/>
          <a:cs typeface="Arial" charset="0"/>
        </a:defRPr>
      </a:lvl4pPr>
      <a:lvl5pPr algn="l" rtl="0" eaLnBrk="0" fontAlgn="base" hangingPunct="0">
        <a:spcBef>
          <a:spcPct val="0"/>
        </a:spcBef>
        <a:spcAft>
          <a:spcPct val="0"/>
        </a:spcAft>
        <a:defRPr sz="2600">
          <a:solidFill>
            <a:srgbClr val="0084C2"/>
          </a:solidFill>
          <a:latin typeface="Arial" charset="0"/>
          <a:cs typeface="Arial" charset="0"/>
        </a:defRPr>
      </a:lvl5pPr>
      <a:lvl6pPr marL="457200" algn="l" rtl="0" fontAlgn="base">
        <a:spcBef>
          <a:spcPct val="0"/>
        </a:spcBef>
        <a:spcAft>
          <a:spcPct val="0"/>
        </a:spcAft>
        <a:defRPr sz="2600">
          <a:solidFill>
            <a:srgbClr val="0084C2"/>
          </a:solidFill>
          <a:latin typeface="Arial" charset="0"/>
          <a:cs typeface="Arial" charset="0"/>
        </a:defRPr>
      </a:lvl6pPr>
      <a:lvl7pPr marL="914400" algn="l" rtl="0" fontAlgn="base">
        <a:spcBef>
          <a:spcPct val="0"/>
        </a:spcBef>
        <a:spcAft>
          <a:spcPct val="0"/>
        </a:spcAft>
        <a:defRPr sz="2600">
          <a:solidFill>
            <a:srgbClr val="0084C2"/>
          </a:solidFill>
          <a:latin typeface="Arial" charset="0"/>
          <a:cs typeface="Arial" charset="0"/>
        </a:defRPr>
      </a:lvl7pPr>
      <a:lvl8pPr marL="1371600" algn="l" rtl="0" fontAlgn="base">
        <a:spcBef>
          <a:spcPct val="0"/>
        </a:spcBef>
        <a:spcAft>
          <a:spcPct val="0"/>
        </a:spcAft>
        <a:defRPr sz="2600">
          <a:solidFill>
            <a:srgbClr val="0084C2"/>
          </a:solidFill>
          <a:latin typeface="Arial" charset="0"/>
          <a:cs typeface="Arial" charset="0"/>
        </a:defRPr>
      </a:lvl8pPr>
      <a:lvl9pPr marL="1828800" algn="l" rtl="0" fontAlgn="base">
        <a:spcBef>
          <a:spcPct val="0"/>
        </a:spcBef>
        <a:spcAft>
          <a:spcPct val="0"/>
        </a:spcAft>
        <a:defRPr sz="2600">
          <a:solidFill>
            <a:srgbClr val="0084C2"/>
          </a:solidFill>
          <a:latin typeface="Arial" charset="0"/>
          <a:cs typeface="Arial" charset="0"/>
        </a:defRPr>
      </a:lvl9pPr>
    </p:titleStyle>
    <p:bodyStyle>
      <a:lvl1pPr marL="268288" indent="-268288" algn="l" rtl="0" eaLnBrk="0" fontAlgn="base" hangingPunct="0">
        <a:spcBef>
          <a:spcPct val="20000"/>
        </a:spcBef>
        <a:spcAft>
          <a:spcPct val="0"/>
        </a:spcAft>
        <a:buClr>
          <a:srgbClr val="0084C2"/>
        </a:buClr>
        <a:buSzPct val="130000"/>
        <a:buFont typeface="Arial" charset="0"/>
        <a:buChar char=":"/>
        <a:defRPr sz="1700">
          <a:solidFill>
            <a:schemeClr val="tx1"/>
          </a:solidFill>
          <a:latin typeface="+mn-lt"/>
          <a:ea typeface="+mn-ea"/>
          <a:cs typeface="+mn-cs"/>
        </a:defRPr>
      </a:lvl1pPr>
      <a:lvl2pPr marL="541338" indent="-271463" algn="l" rtl="0" eaLnBrk="0" fontAlgn="base" hangingPunct="0">
        <a:spcBef>
          <a:spcPct val="20000"/>
        </a:spcBef>
        <a:spcAft>
          <a:spcPct val="0"/>
        </a:spcAft>
        <a:buClr>
          <a:srgbClr val="0084C2"/>
        </a:buClr>
        <a:buFont typeface="Arial" charset="0"/>
        <a:buChar char="-"/>
        <a:defRPr sz="1600">
          <a:solidFill>
            <a:schemeClr val="tx1"/>
          </a:solidFill>
          <a:latin typeface="+mn-lt"/>
          <a:cs typeface="+mn-cs"/>
        </a:defRPr>
      </a:lvl2pPr>
      <a:lvl3pPr marL="809625" indent="-266700" algn="l" rtl="0" eaLnBrk="0" fontAlgn="base" hangingPunct="0">
        <a:spcBef>
          <a:spcPct val="20000"/>
        </a:spcBef>
        <a:spcAft>
          <a:spcPct val="0"/>
        </a:spcAft>
        <a:buClr>
          <a:srgbClr val="0084C2"/>
        </a:buClr>
        <a:buSzPct val="50000"/>
        <a:buFont typeface="Arial" charset="0"/>
        <a:buChar char="▪"/>
        <a:defRPr sz="1600">
          <a:solidFill>
            <a:schemeClr val="tx1"/>
          </a:solidFill>
          <a:latin typeface="+mn-lt"/>
          <a:cs typeface="+mn-cs"/>
        </a:defRPr>
      </a:lvl3pPr>
      <a:lvl4pPr marL="1073150" indent="-261938" algn="l" rtl="0" eaLnBrk="0" fontAlgn="base" hangingPunct="0">
        <a:spcBef>
          <a:spcPct val="20000"/>
        </a:spcBef>
        <a:spcAft>
          <a:spcPct val="0"/>
        </a:spcAft>
        <a:buClr>
          <a:srgbClr val="0084C2"/>
        </a:buClr>
        <a:buSzPct val="50000"/>
        <a:buFont typeface="Arial" charset="0"/>
        <a:buChar char="▪"/>
        <a:defRPr sz="1600">
          <a:solidFill>
            <a:schemeClr val="tx1"/>
          </a:solidFill>
          <a:latin typeface="+mn-lt"/>
          <a:cs typeface="+mn-cs"/>
        </a:defRPr>
      </a:lvl4pPr>
      <a:lvl5pPr marL="2157413" indent="-228600" algn="l" rtl="0" eaLnBrk="0" fontAlgn="base" hangingPunct="0">
        <a:spcBef>
          <a:spcPct val="20000"/>
        </a:spcBef>
        <a:spcAft>
          <a:spcPct val="0"/>
        </a:spcAft>
        <a:buChar char="»"/>
        <a:defRPr sz="1600">
          <a:solidFill>
            <a:schemeClr val="tx1"/>
          </a:solidFill>
          <a:latin typeface="+mn-lt"/>
          <a:cs typeface="+mn-cs"/>
        </a:defRPr>
      </a:lvl5pPr>
      <a:lvl6pPr marL="2614613" indent="-228600" algn="l" rtl="0" fontAlgn="base">
        <a:spcBef>
          <a:spcPct val="20000"/>
        </a:spcBef>
        <a:spcAft>
          <a:spcPct val="0"/>
        </a:spcAft>
        <a:buChar char="»"/>
        <a:defRPr sz="1600">
          <a:solidFill>
            <a:schemeClr val="tx1"/>
          </a:solidFill>
          <a:latin typeface="+mn-lt"/>
          <a:cs typeface="+mn-cs"/>
        </a:defRPr>
      </a:lvl6pPr>
      <a:lvl7pPr marL="3071813" indent="-228600" algn="l" rtl="0" fontAlgn="base">
        <a:spcBef>
          <a:spcPct val="20000"/>
        </a:spcBef>
        <a:spcAft>
          <a:spcPct val="0"/>
        </a:spcAft>
        <a:buChar char="»"/>
        <a:defRPr sz="1600">
          <a:solidFill>
            <a:schemeClr val="tx1"/>
          </a:solidFill>
          <a:latin typeface="+mn-lt"/>
          <a:cs typeface="+mn-cs"/>
        </a:defRPr>
      </a:lvl7pPr>
      <a:lvl8pPr marL="3529013" indent="-228600" algn="l" rtl="0" fontAlgn="base">
        <a:spcBef>
          <a:spcPct val="20000"/>
        </a:spcBef>
        <a:spcAft>
          <a:spcPct val="0"/>
        </a:spcAft>
        <a:buChar char="»"/>
        <a:defRPr sz="1600">
          <a:solidFill>
            <a:schemeClr val="tx1"/>
          </a:solidFill>
          <a:latin typeface="+mn-lt"/>
          <a:cs typeface="+mn-cs"/>
        </a:defRPr>
      </a:lvl8pPr>
      <a:lvl9pPr marL="3986213" indent="-228600" algn="l" rtl="0" fontAlgn="base">
        <a:spcBef>
          <a:spcPct val="20000"/>
        </a:spcBef>
        <a:spcAft>
          <a:spcPct val="0"/>
        </a:spcAft>
        <a:buChar char="»"/>
        <a:defRPr sz="16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15926" y="288000"/>
            <a:ext cx="7731680" cy="612000"/>
          </a:xfrm>
          <a:prstGeom prst="rect">
            <a:avLst/>
          </a:prstGeom>
        </p:spPr>
        <p:txBody>
          <a:bodyPr vert="horz" lIns="0" tIns="0" rIns="0" bIns="0" rtlCol="0" anchor="t" anchorCtr="0">
            <a:noAutofit/>
          </a:bodyPr>
          <a:lstStyle/>
          <a:p>
            <a:r>
              <a:rPr lang="en-US" noProof="0" dirty="0" smtClean="0"/>
              <a:t>TITELMASTERFORMAT</a:t>
            </a:r>
            <a:br>
              <a:rPr lang="en-US" noProof="0" dirty="0" smtClean="0"/>
            </a:br>
            <a:r>
              <a:rPr lang="en-US" noProof="0" dirty="0" smtClean="0"/>
              <a:t>DURCH KLICKEN BEARBEITEN</a:t>
            </a:r>
            <a:endParaRPr lang="en-US" noProof="0" dirty="0"/>
          </a:p>
        </p:txBody>
      </p:sp>
      <p:sp>
        <p:nvSpPr>
          <p:cNvPr id="3" name="Textplatzhalter 2"/>
          <p:cNvSpPr>
            <a:spLocks noGrp="1"/>
          </p:cNvSpPr>
          <p:nvPr>
            <p:ph type="body" idx="1"/>
          </p:nvPr>
        </p:nvSpPr>
        <p:spPr>
          <a:xfrm>
            <a:off x="412900" y="944563"/>
            <a:ext cx="9072000" cy="5653087"/>
          </a:xfrm>
          <a:prstGeom prst="rect">
            <a:avLst/>
          </a:prstGeom>
        </p:spPr>
        <p:txBody>
          <a:bodyPr vert="horz" lIns="0" tIns="144000" rIns="0" bIns="0" rtlCol="0">
            <a:noAutofit/>
          </a:body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4" name="Datumsplatzhalter 3"/>
          <p:cNvSpPr>
            <a:spLocks noGrp="1"/>
          </p:cNvSpPr>
          <p:nvPr>
            <p:ph type="dt" sz="half" idx="2"/>
          </p:nvPr>
        </p:nvSpPr>
        <p:spPr>
          <a:xfrm>
            <a:off x="415926" y="6660000"/>
            <a:ext cx="975000" cy="180000"/>
          </a:xfrm>
          <a:prstGeom prst="rect">
            <a:avLst/>
          </a:prstGeom>
        </p:spPr>
        <p:txBody>
          <a:bodyPr vert="horz" lIns="0" tIns="0" rIns="0" bIns="0" rtlCol="0" anchor="ctr" anchorCtr="0"/>
          <a:lstStyle>
            <a:lvl1pPr algn="l">
              <a:defRPr sz="900">
                <a:solidFill>
                  <a:schemeClr val="accent4"/>
                </a:solidFill>
              </a:defRPr>
            </a:lvl1pPr>
          </a:lstStyle>
          <a:p>
            <a:pPr fontAlgn="base">
              <a:spcBef>
                <a:spcPct val="0"/>
              </a:spcBef>
              <a:spcAft>
                <a:spcPct val="0"/>
              </a:spcAft>
            </a:pPr>
            <a:endParaRPr lang="en-US" dirty="0">
              <a:solidFill>
                <a:srgbClr val="8064A2"/>
              </a:solidFill>
              <a:latin typeface="Arial" charset="0"/>
              <a:cs typeface="Arial" charset="0"/>
            </a:endParaRPr>
          </a:p>
        </p:txBody>
      </p:sp>
      <p:sp>
        <p:nvSpPr>
          <p:cNvPr id="5" name="Fußzeilenplatzhalter 4"/>
          <p:cNvSpPr>
            <a:spLocks noGrp="1"/>
          </p:cNvSpPr>
          <p:nvPr>
            <p:ph type="ftr" sz="quarter" idx="3"/>
          </p:nvPr>
        </p:nvSpPr>
        <p:spPr>
          <a:xfrm>
            <a:off x="1560000" y="6660000"/>
            <a:ext cx="6786000" cy="180000"/>
          </a:xfrm>
          <a:prstGeom prst="rect">
            <a:avLst/>
          </a:prstGeom>
        </p:spPr>
        <p:txBody>
          <a:bodyPr vert="horz" lIns="0" tIns="0" rIns="0" bIns="0" rtlCol="0" anchor="ctr" anchorCtr="0"/>
          <a:lstStyle>
            <a:lvl1pPr algn="l">
              <a:defRPr sz="900">
                <a:solidFill>
                  <a:schemeClr val="tx2"/>
                </a:solidFill>
              </a:defRPr>
            </a:lvl1pPr>
          </a:lstStyle>
          <a:p>
            <a:pPr fontAlgn="base">
              <a:spcBef>
                <a:spcPct val="0"/>
              </a:spcBef>
              <a:spcAft>
                <a:spcPct val="0"/>
              </a:spcAft>
              <a:defRPr/>
            </a:pPr>
            <a:endParaRPr lang="de-DE" dirty="0">
              <a:solidFill>
                <a:srgbClr val="1F497D"/>
              </a:solidFill>
              <a:latin typeface="Arial" charset="0"/>
              <a:cs typeface="Arial" charset="0"/>
            </a:endParaRPr>
          </a:p>
        </p:txBody>
      </p:sp>
      <p:sp>
        <p:nvSpPr>
          <p:cNvPr id="6" name="Foliennummernplatzhalter 5"/>
          <p:cNvSpPr>
            <a:spLocks noGrp="1"/>
          </p:cNvSpPr>
          <p:nvPr>
            <p:ph type="sldNum" sz="quarter" idx="4"/>
          </p:nvPr>
        </p:nvSpPr>
        <p:spPr>
          <a:xfrm>
            <a:off x="8515075" y="6660000"/>
            <a:ext cx="975000" cy="180000"/>
          </a:xfrm>
          <a:prstGeom prst="rect">
            <a:avLst/>
          </a:prstGeom>
        </p:spPr>
        <p:txBody>
          <a:bodyPr vert="horz" lIns="0" tIns="0" rIns="0" bIns="0" rtlCol="0" anchor="ctr" anchorCtr="0"/>
          <a:lstStyle>
            <a:lvl1pPr algn="r">
              <a:defRPr sz="900" b="0">
                <a:solidFill>
                  <a:schemeClr val="accent4"/>
                </a:solidFill>
              </a:defRPr>
            </a:lvl1pPr>
          </a:lstStyle>
          <a:p>
            <a:pPr fontAlgn="base">
              <a:spcBef>
                <a:spcPct val="0"/>
              </a:spcBef>
              <a:spcAft>
                <a:spcPct val="0"/>
              </a:spcAft>
              <a:defRPr/>
            </a:pPr>
            <a:fld id="{66B62902-79D4-4DDE-94B0-E26D9C221627}" type="slidenum">
              <a:rPr lang="en-US" smtClean="0">
                <a:solidFill>
                  <a:srgbClr val="8064A2"/>
                </a:solidFill>
                <a:latin typeface="Arial" charset="0"/>
                <a:cs typeface="Arial" charset="0"/>
              </a:rPr>
              <a:pPr fontAlgn="base">
                <a:spcBef>
                  <a:spcPct val="0"/>
                </a:spcBef>
                <a:spcAft>
                  <a:spcPct val="0"/>
                </a:spcAft>
                <a:defRPr/>
              </a:pPr>
              <a:t>‹#›</a:t>
            </a:fld>
            <a:endParaRPr lang="en-US">
              <a:solidFill>
                <a:srgbClr val="8064A2"/>
              </a:solidFill>
              <a:latin typeface="Arial" charset="0"/>
              <a:cs typeface="Arial" charset="0"/>
            </a:endParaRPr>
          </a:p>
        </p:txBody>
      </p:sp>
      <p:cxnSp>
        <p:nvCxnSpPr>
          <p:cNvPr id="7" name="Gerade Verbindung 6"/>
          <p:cNvCxnSpPr/>
          <p:nvPr/>
        </p:nvCxnSpPr>
        <p:spPr>
          <a:xfrm>
            <a:off x="0" y="900000"/>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a:off x="8260550" y="306001"/>
            <a:ext cx="1228954" cy="504749"/>
          </a:xfrm>
          <a:prstGeom prst="rect">
            <a:avLst/>
          </a:prstGeom>
        </p:spPr>
      </p:pic>
      <p:sp>
        <p:nvSpPr>
          <p:cNvPr id="14" name="Rechteck 13"/>
          <p:cNvSpPr/>
          <p:nvPr/>
        </p:nvSpPr>
        <p:spPr>
          <a:xfrm>
            <a:off x="0" y="6624000"/>
            <a:ext cx="9906000" cy="36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cxnSp>
        <p:nvCxnSpPr>
          <p:cNvPr id="17" name="Gerade Verbindung 16"/>
          <p:cNvCxnSpPr/>
          <p:nvPr/>
        </p:nvCxnSpPr>
        <p:spPr>
          <a:xfrm>
            <a:off x="-390000" y="9360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9984000" y="9360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a:xfrm>
            <a:off x="9997020" y="65880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390000" y="65880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429000" y="693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9477000" y="693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9490075" y="-36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a:off x="415925" y="-36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a:xfrm>
            <a:off x="-234000" y="3762000"/>
            <a:ext cx="156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a:off x="4953000" y="-216000"/>
            <a:ext cx="0" cy="144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a:off x="9984000" y="3762000"/>
            <a:ext cx="156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a:off x="4953000" y="6930000"/>
            <a:ext cx="0" cy="144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1248000" y="3546000"/>
            <a:ext cx="1170000" cy="216000"/>
          </a:xfrm>
          <a:prstGeom prst="rect">
            <a:avLst/>
          </a:prstGeom>
          <a:noFill/>
        </p:spPr>
        <p:txBody>
          <a:bodyPr wrap="square" lIns="0" tIns="0" rIns="0" bIns="36000" rtlCol="0" anchor="b" anchorCtr="0">
            <a:noAutofit/>
          </a:bodyPr>
          <a:lstStyle/>
          <a:p>
            <a:pPr algn="r" fontAlgn="base">
              <a:spcBef>
                <a:spcPct val="0"/>
              </a:spcBef>
              <a:spcAft>
                <a:spcPct val="0"/>
              </a:spcAft>
            </a:pPr>
            <a:r>
              <a:rPr lang="en-US" sz="900" dirty="0" smtClean="0">
                <a:solidFill>
                  <a:srgbClr val="FFFFFF"/>
                </a:solidFill>
                <a:latin typeface="Arial" charset="0"/>
                <a:cs typeface="Arial" charset="0"/>
              </a:rPr>
              <a:t>Center line content</a:t>
            </a:r>
            <a:endParaRPr lang="en-US" sz="900" dirty="0">
              <a:solidFill>
                <a:srgbClr val="FFFFFF"/>
              </a:solidFill>
              <a:latin typeface="Arial" charset="0"/>
              <a:cs typeface="Arial" charset="0"/>
            </a:endParaRPr>
          </a:p>
        </p:txBody>
      </p:sp>
    </p:spTree>
    <p:extLst>
      <p:ext uri="{BB962C8B-B14F-4D97-AF65-F5344CB8AC3E}">
        <p14:creationId xmlns:p14="http://schemas.microsoft.com/office/powerpoint/2010/main" val="3107376869"/>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Lst>
  <p:transition>
    <p:zoom/>
  </p:transition>
  <p:timing>
    <p:tnLst>
      <p:par>
        <p:cTn id="1" dur="indefinite" restart="never" nodeType="tmRoot"/>
      </p:par>
    </p:tnLst>
  </p:timing>
  <p:hf sldNum="0" hdr="0" ftr="0" dt="0"/>
  <p:txStyles>
    <p:titleStyle>
      <a:lvl1pPr algn="l" defTabSz="914400" rtl="0" eaLnBrk="1" latinLnBrk="0" hangingPunct="1">
        <a:lnSpc>
          <a:spcPct val="80000"/>
        </a:lnSpc>
        <a:spcBef>
          <a:spcPct val="0"/>
        </a:spcBef>
        <a:buNone/>
        <a:defRPr sz="2400" kern="1200" cap="all" baseline="0">
          <a:solidFill>
            <a:schemeClr val="tx2"/>
          </a:solidFill>
          <a:latin typeface="+mj-lt"/>
          <a:ea typeface="+mj-ea"/>
          <a:cs typeface="+mj-cs"/>
        </a:defRPr>
      </a:lvl1pPr>
    </p:titleStyle>
    <p:bodyStyle>
      <a:lvl1pPr marL="271463" indent="-271463" algn="l" defTabSz="914400" rtl="0" eaLnBrk="1" latinLnBrk="0" hangingPunct="1">
        <a:spcBef>
          <a:spcPts val="600"/>
        </a:spcBef>
        <a:spcAft>
          <a:spcPts val="0"/>
        </a:spcAft>
        <a:buClr>
          <a:schemeClr val="accent4"/>
        </a:buClr>
        <a:buSzPct val="100000"/>
        <a:buFont typeface="Wingdings" panose="05000000000000000000" pitchFamily="2" charset="2"/>
        <a:buChar char="§"/>
        <a:defRPr sz="2000" kern="1200">
          <a:solidFill>
            <a:schemeClr val="accent4"/>
          </a:solidFill>
          <a:latin typeface="+mn-lt"/>
          <a:ea typeface="+mn-ea"/>
          <a:cs typeface="+mn-cs"/>
        </a:defRPr>
      </a:lvl1pPr>
      <a:lvl2pPr marL="541338" indent="-269875" algn="l" defTabSz="914400" rtl="0" eaLnBrk="1" latinLnBrk="0" hangingPunct="1">
        <a:spcBef>
          <a:spcPts val="600"/>
        </a:spcBef>
        <a:spcAft>
          <a:spcPts val="0"/>
        </a:spcAft>
        <a:buClr>
          <a:schemeClr val="accent4"/>
        </a:buClr>
        <a:buSzPct val="100000"/>
        <a:buFont typeface="SICK Franklin Condensed" pitchFamily="2" charset="0"/>
        <a:buChar char="▸"/>
        <a:defRPr sz="1800" kern="1200">
          <a:solidFill>
            <a:schemeClr val="accent4"/>
          </a:solidFill>
          <a:latin typeface="+mn-lt"/>
          <a:ea typeface="+mn-ea"/>
          <a:cs typeface="+mn-cs"/>
        </a:defRPr>
      </a:lvl2pPr>
      <a:lvl3pPr marL="804863" indent="-263525" algn="l" defTabSz="914400" rtl="0" eaLnBrk="1" latinLnBrk="0" hangingPunct="1">
        <a:spcBef>
          <a:spcPts val="600"/>
        </a:spcBef>
        <a:spcAft>
          <a:spcPts val="0"/>
        </a:spcAft>
        <a:buClr>
          <a:schemeClr val="accent4"/>
        </a:buClr>
        <a:buSzPct val="100000"/>
        <a:buFont typeface="SICK Franklin Condensed" pitchFamily="2" charset="0"/>
        <a:buChar char="―"/>
        <a:defRPr sz="1600" kern="1200">
          <a:solidFill>
            <a:schemeClr val="accent4"/>
          </a:solidFill>
          <a:latin typeface="+mn-lt"/>
          <a:ea typeface="+mn-ea"/>
          <a:cs typeface="+mn-cs"/>
        </a:defRPr>
      </a:lvl3pPr>
      <a:lvl4pPr marL="1074738" indent="-269875" algn="l" defTabSz="914400" rtl="0" eaLnBrk="1" latinLnBrk="0" hangingPunct="1">
        <a:spcBef>
          <a:spcPts val="600"/>
        </a:spcBef>
        <a:spcAft>
          <a:spcPts val="0"/>
        </a:spcAft>
        <a:buClr>
          <a:schemeClr val="accent4"/>
        </a:buClr>
        <a:buSzPct val="100000"/>
        <a:buFont typeface="SICK Franklin Condensed" pitchFamily="2" charset="0"/>
        <a:buChar char="―"/>
        <a:defRPr sz="1600" kern="1200">
          <a:solidFill>
            <a:schemeClr val="accent4"/>
          </a:solidFill>
          <a:latin typeface="+mn-lt"/>
          <a:ea typeface="+mn-ea"/>
          <a:cs typeface="+mn-cs"/>
        </a:defRPr>
      </a:lvl4pPr>
      <a:lvl5pPr marL="1346200" indent="-271463" algn="l" defTabSz="914400" rtl="0" eaLnBrk="1" latinLnBrk="0" hangingPunct="1">
        <a:spcBef>
          <a:spcPts val="600"/>
        </a:spcBef>
        <a:spcAft>
          <a:spcPts val="0"/>
        </a:spcAft>
        <a:buSzPct val="100000"/>
        <a:buFont typeface="Arial" panose="020B0604020202020204" pitchFamily="34" charset="0"/>
        <a:buChar char="•"/>
        <a:defRPr sz="1100" kern="120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15926" y="288000"/>
            <a:ext cx="7731680" cy="612000"/>
          </a:xfrm>
          <a:prstGeom prst="rect">
            <a:avLst/>
          </a:prstGeom>
        </p:spPr>
        <p:txBody>
          <a:bodyPr vert="horz" lIns="0" tIns="0" rIns="0" bIns="0" rtlCol="0" anchor="t" anchorCtr="0">
            <a:noAutofit/>
          </a:bodyPr>
          <a:lstStyle/>
          <a:p>
            <a:r>
              <a:rPr lang="en-US" noProof="0" dirty="0" smtClean="0"/>
              <a:t>TITELMASTERFORMAT</a:t>
            </a:r>
            <a:br>
              <a:rPr lang="en-US" noProof="0" dirty="0" smtClean="0"/>
            </a:br>
            <a:r>
              <a:rPr lang="en-US" noProof="0" dirty="0" smtClean="0"/>
              <a:t>DURCH KLICKEN BEARBEITEN</a:t>
            </a:r>
            <a:endParaRPr lang="en-US" noProof="0" dirty="0"/>
          </a:p>
        </p:txBody>
      </p:sp>
      <p:sp>
        <p:nvSpPr>
          <p:cNvPr id="3" name="Textplatzhalter 2"/>
          <p:cNvSpPr>
            <a:spLocks noGrp="1"/>
          </p:cNvSpPr>
          <p:nvPr>
            <p:ph type="body" idx="1"/>
          </p:nvPr>
        </p:nvSpPr>
        <p:spPr>
          <a:xfrm>
            <a:off x="412900" y="944563"/>
            <a:ext cx="9072000" cy="5653087"/>
          </a:xfrm>
          <a:prstGeom prst="rect">
            <a:avLst/>
          </a:prstGeom>
        </p:spPr>
        <p:txBody>
          <a:bodyPr vert="horz" lIns="0" tIns="144000" rIns="0" bIns="0" rtlCol="0">
            <a:noAutofit/>
          </a:body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4" name="Datumsplatzhalter 3"/>
          <p:cNvSpPr>
            <a:spLocks noGrp="1"/>
          </p:cNvSpPr>
          <p:nvPr>
            <p:ph type="dt" sz="half" idx="2"/>
          </p:nvPr>
        </p:nvSpPr>
        <p:spPr>
          <a:xfrm>
            <a:off x="415926" y="6660000"/>
            <a:ext cx="975000" cy="180000"/>
          </a:xfrm>
          <a:prstGeom prst="rect">
            <a:avLst/>
          </a:prstGeom>
        </p:spPr>
        <p:txBody>
          <a:bodyPr vert="horz" lIns="0" tIns="0" rIns="0" bIns="0" rtlCol="0" anchor="ctr" anchorCtr="0"/>
          <a:lstStyle>
            <a:lvl1pPr algn="l">
              <a:defRPr sz="900">
                <a:solidFill>
                  <a:schemeClr val="accent4"/>
                </a:solidFill>
              </a:defRPr>
            </a:lvl1pPr>
          </a:lstStyle>
          <a:p>
            <a:pPr fontAlgn="base">
              <a:spcBef>
                <a:spcPct val="0"/>
              </a:spcBef>
              <a:spcAft>
                <a:spcPct val="0"/>
              </a:spcAft>
            </a:pPr>
            <a:endParaRPr lang="en-US" dirty="0">
              <a:solidFill>
                <a:srgbClr val="8064A2"/>
              </a:solidFill>
              <a:latin typeface="Arial" charset="0"/>
              <a:cs typeface="Arial" charset="0"/>
            </a:endParaRPr>
          </a:p>
        </p:txBody>
      </p:sp>
      <p:sp>
        <p:nvSpPr>
          <p:cNvPr id="5" name="Fußzeilenplatzhalter 4"/>
          <p:cNvSpPr>
            <a:spLocks noGrp="1"/>
          </p:cNvSpPr>
          <p:nvPr>
            <p:ph type="ftr" sz="quarter" idx="3"/>
          </p:nvPr>
        </p:nvSpPr>
        <p:spPr>
          <a:xfrm>
            <a:off x="1560000" y="6660000"/>
            <a:ext cx="6786000" cy="180000"/>
          </a:xfrm>
          <a:prstGeom prst="rect">
            <a:avLst/>
          </a:prstGeom>
        </p:spPr>
        <p:txBody>
          <a:bodyPr vert="horz" lIns="0" tIns="0" rIns="0" bIns="0" rtlCol="0" anchor="ctr" anchorCtr="0"/>
          <a:lstStyle>
            <a:lvl1pPr algn="l">
              <a:defRPr sz="900">
                <a:solidFill>
                  <a:schemeClr val="tx2"/>
                </a:solidFill>
              </a:defRPr>
            </a:lvl1pPr>
          </a:lstStyle>
          <a:p>
            <a:pPr fontAlgn="base">
              <a:spcBef>
                <a:spcPct val="0"/>
              </a:spcBef>
              <a:spcAft>
                <a:spcPct val="0"/>
              </a:spcAft>
              <a:defRPr/>
            </a:pPr>
            <a:endParaRPr lang="de-DE" dirty="0">
              <a:solidFill>
                <a:srgbClr val="1F497D"/>
              </a:solidFill>
              <a:latin typeface="Arial" charset="0"/>
              <a:cs typeface="Arial" charset="0"/>
            </a:endParaRPr>
          </a:p>
        </p:txBody>
      </p:sp>
      <p:sp>
        <p:nvSpPr>
          <p:cNvPr id="6" name="Foliennummernplatzhalter 5"/>
          <p:cNvSpPr>
            <a:spLocks noGrp="1"/>
          </p:cNvSpPr>
          <p:nvPr>
            <p:ph type="sldNum" sz="quarter" idx="4"/>
          </p:nvPr>
        </p:nvSpPr>
        <p:spPr>
          <a:xfrm>
            <a:off x="8515075" y="6660000"/>
            <a:ext cx="975000" cy="180000"/>
          </a:xfrm>
          <a:prstGeom prst="rect">
            <a:avLst/>
          </a:prstGeom>
        </p:spPr>
        <p:txBody>
          <a:bodyPr vert="horz" lIns="0" tIns="0" rIns="0" bIns="0" rtlCol="0" anchor="ctr" anchorCtr="0"/>
          <a:lstStyle>
            <a:lvl1pPr algn="r">
              <a:defRPr sz="900" b="0">
                <a:solidFill>
                  <a:schemeClr val="accent4"/>
                </a:solidFill>
              </a:defRPr>
            </a:lvl1pPr>
          </a:lstStyle>
          <a:p>
            <a:pPr fontAlgn="base">
              <a:spcBef>
                <a:spcPct val="0"/>
              </a:spcBef>
              <a:spcAft>
                <a:spcPct val="0"/>
              </a:spcAft>
              <a:defRPr/>
            </a:pPr>
            <a:fld id="{66B62902-79D4-4DDE-94B0-E26D9C221627}" type="slidenum">
              <a:rPr lang="en-US" smtClean="0">
                <a:solidFill>
                  <a:srgbClr val="8064A2"/>
                </a:solidFill>
                <a:latin typeface="Arial" charset="0"/>
                <a:cs typeface="Arial" charset="0"/>
              </a:rPr>
              <a:pPr fontAlgn="base">
                <a:spcBef>
                  <a:spcPct val="0"/>
                </a:spcBef>
                <a:spcAft>
                  <a:spcPct val="0"/>
                </a:spcAft>
                <a:defRPr/>
              </a:pPr>
              <a:t>‹#›</a:t>
            </a:fld>
            <a:endParaRPr lang="en-US">
              <a:solidFill>
                <a:srgbClr val="8064A2"/>
              </a:solidFill>
              <a:latin typeface="Arial" charset="0"/>
              <a:cs typeface="Arial" charset="0"/>
            </a:endParaRPr>
          </a:p>
        </p:txBody>
      </p:sp>
      <p:cxnSp>
        <p:nvCxnSpPr>
          <p:cNvPr id="7" name="Gerade Verbindung 6"/>
          <p:cNvCxnSpPr/>
          <p:nvPr/>
        </p:nvCxnSpPr>
        <p:spPr>
          <a:xfrm>
            <a:off x="0" y="900000"/>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a:off x="8260550" y="306001"/>
            <a:ext cx="1228954" cy="504749"/>
          </a:xfrm>
          <a:prstGeom prst="rect">
            <a:avLst/>
          </a:prstGeom>
        </p:spPr>
      </p:pic>
      <p:sp>
        <p:nvSpPr>
          <p:cNvPr id="14" name="Rechteck 13"/>
          <p:cNvSpPr/>
          <p:nvPr/>
        </p:nvSpPr>
        <p:spPr>
          <a:xfrm>
            <a:off x="0" y="6624000"/>
            <a:ext cx="9906000" cy="36000"/>
          </a:xfrm>
          <a:prstGeom prst="rect">
            <a:avLst/>
          </a:prstGeom>
          <a:gradFill flip="none" rotWithShape="1">
            <a:gsLst>
              <a:gs pos="0">
                <a:schemeClr val="tx2"/>
              </a:gs>
              <a:gs pos="100000">
                <a:schemeClr val="tx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700" dirty="0">
              <a:solidFill>
                <a:prstClr val="white"/>
              </a:solidFill>
            </a:endParaRPr>
          </a:p>
        </p:txBody>
      </p:sp>
      <p:cxnSp>
        <p:nvCxnSpPr>
          <p:cNvPr id="17" name="Gerade Verbindung 16"/>
          <p:cNvCxnSpPr/>
          <p:nvPr/>
        </p:nvCxnSpPr>
        <p:spPr>
          <a:xfrm>
            <a:off x="-390000" y="9360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9984000" y="9360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a:xfrm>
            <a:off x="9997020" y="65880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390000" y="65880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429000" y="693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9477000" y="693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9490075" y="-36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a:off x="415925" y="-36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a:xfrm>
            <a:off x="-234000" y="3762000"/>
            <a:ext cx="156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a:off x="4953000" y="-216000"/>
            <a:ext cx="0" cy="144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a:off x="9984000" y="3762000"/>
            <a:ext cx="156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a:off x="4953000" y="6930000"/>
            <a:ext cx="0" cy="144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1248000" y="3546000"/>
            <a:ext cx="1170000" cy="216000"/>
          </a:xfrm>
          <a:prstGeom prst="rect">
            <a:avLst/>
          </a:prstGeom>
          <a:noFill/>
        </p:spPr>
        <p:txBody>
          <a:bodyPr wrap="square" lIns="0" tIns="0" rIns="0" bIns="36000" rtlCol="0" anchor="b" anchorCtr="0">
            <a:noAutofit/>
          </a:bodyPr>
          <a:lstStyle/>
          <a:p>
            <a:pPr algn="r" fontAlgn="base">
              <a:spcBef>
                <a:spcPct val="0"/>
              </a:spcBef>
              <a:spcAft>
                <a:spcPct val="0"/>
              </a:spcAft>
            </a:pPr>
            <a:r>
              <a:rPr lang="en-US" sz="900" dirty="0" smtClean="0">
                <a:solidFill>
                  <a:srgbClr val="FFFFFF"/>
                </a:solidFill>
                <a:latin typeface="Arial" charset="0"/>
                <a:cs typeface="Arial" charset="0"/>
              </a:rPr>
              <a:t>Center line content</a:t>
            </a:r>
            <a:endParaRPr lang="en-US" sz="900" dirty="0">
              <a:solidFill>
                <a:srgbClr val="FFFFFF"/>
              </a:solidFill>
              <a:latin typeface="Arial" charset="0"/>
              <a:cs typeface="Arial" charset="0"/>
            </a:endParaRPr>
          </a:p>
        </p:txBody>
      </p:sp>
    </p:spTree>
    <p:extLst>
      <p:ext uri="{BB962C8B-B14F-4D97-AF65-F5344CB8AC3E}">
        <p14:creationId xmlns:p14="http://schemas.microsoft.com/office/powerpoint/2010/main" val="2521508757"/>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822" r:id="rId20"/>
  </p:sldLayoutIdLst>
  <p:transition>
    <p:zoom/>
  </p:transition>
  <p:timing>
    <p:tnLst>
      <p:par>
        <p:cTn id="1" dur="indefinite" restart="never" nodeType="tmRoot"/>
      </p:par>
    </p:tnLst>
  </p:timing>
  <p:hf sldNum="0" hdr="0" ftr="0" dt="0"/>
  <p:txStyles>
    <p:titleStyle>
      <a:lvl1pPr algn="l" defTabSz="914400" rtl="0" eaLnBrk="1" latinLnBrk="0" hangingPunct="1">
        <a:lnSpc>
          <a:spcPct val="80000"/>
        </a:lnSpc>
        <a:spcBef>
          <a:spcPct val="0"/>
        </a:spcBef>
        <a:buNone/>
        <a:defRPr sz="2400" kern="1200" cap="all" baseline="0">
          <a:solidFill>
            <a:schemeClr val="tx2"/>
          </a:solidFill>
          <a:latin typeface="+mj-lt"/>
          <a:ea typeface="+mj-ea"/>
          <a:cs typeface="+mj-cs"/>
        </a:defRPr>
      </a:lvl1pPr>
    </p:titleStyle>
    <p:bodyStyle>
      <a:lvl1pPr marL="271463" indent="-271463" algn="l" defTabSz="914400" rtl="0" eaLnBrk="1" latinLnBrk="0" hangingPunct="1">
        <a:spcBef>
          <a:spcPts val="600"/>
        </a:spcBef>
        <a:spcAft>
          <a:spcPts val="0"/>
        </a:spcAft>
        <a:buClr>
          <a:schemeClr val="accent4"/>
        </a:buClr>
        <a:buSzPct val="100000"/>
        <a:buFont typeface="Wingdings" panose="05000000000000000000" pitchFamily="2" charset="2"/>
        <a:buChar char="§"/>
        <a:defRPr sz="2000" kern="1200">
          <a:solidFill>
            <a:schemeClr val="accent4"/>
          </a:solidFill>
          <a:latin typeface="+mn-lt"/>
          <a:ea typeface="+mn-ea"/>
          <a:cs typeface="+mn-cs"/>
        </a:defRPr>
      </a:lvl1pPr>
      <a:lvl2pPr marL="541338" indent="-269875" algn="l" defTabSz="914400" rtl="0" eaLnBrk="1" latinLnBrk="0" hangingPunct="1">
        <a:spcBef>
          <a:spcPts val="600"/>
        </a:spcBef>
        <a:spcAft>
          <a:spcPts val="0"/>
        </a:spcAft>
        <a:buClr>
          <a:schemeClr val="accent4"/>
        </a:buClr>
        <a:buSzPct val="100000"/>
        <a:buFont typeface="SICK Franklin Condensed" pitchFamily="2" charset="0"/>
        <a:buChar char="▸"/>
        <a:defRPr sz="1800" kern="1200">
          <a:solidFill>
            <a:schemeClr val="accent4"/>
          </a:solidFill>
          <a:latin typeface="+mn-lt"/>
          <a:ea typeface="+mn-ea"/>
          <a:cs typeface="+mn-cs"/>
        </a:defRPr>
      </a:lvl2pPr>
      <a:lvl3pPr marL="804863" indent="-263525" algn="l" defTabSz="914400" rtl="0" eaLnBrk="1" latinLnBrk="0" hangingPunct="1">
        <a:spcBef>
          <a:spcPts val="600"/>
        </a:spcBef>
        <a:spcAft>
          <a:spcPts val="0"/>
        </a:spcAft>
        <a:buClr>
          <a:schemeClr val="accent4"/>
        </a:buClr>
        <a:buSzPct val="100000"/>
        <a:buFont typeface="SICK Franklin Condensed" pitchFamily="2" charset="0"/>
        <a:buChar char="―"/>
        <a:defRPr sz="1600" kern="1200">
          <a:solidFill>
            <a:schemeClr val="accent4"/>
          </a:solidFill>
          <a:latin typeface="+mn-lt"/>
          <a:ea typeface="+mn-ea"/>
          <a:cs typeface="+mn-cs"/>
        </a:defRPr>
      </a:lvl3pPr>
      <a:lvl4pPr marL="1074738" indent="-269875" algn="l" defTabSz="914400" rtl="0" eaLnBrk="1" latinLnBrk="0" hangingPunct="1">
        <a:spcBef>
          <a:spcPts val="600"/>
        </a:spcBef>
        <a:spcAft>
          <a:spcPts val="0"/>
        </a:spcAft>
        <a:buClr>
          <a:schemeClr val="accent4"/>
        </a:buClr>
        <a:buSzPct val="100000"/>
        <a:buFont typeface="SICK Franklin Condensed" pitchFamily="2" charset="0"/>
        <a:buChar char="―"/>
        <a:defRPr sz="1600" kern="1200">
          <a:solidFill>
            <a:schemeClr val="accent4"/>
          </a:solidFill>
          <a:latin typeface="+mn-lt"/>
          <a:ea typeface="+mn-ea"/>
          <a:cs typeface="+mn-cs"/>
        </a:defRPr>
      </a:lvl4pPr>
      <a:lvl5pPr marL="1346200" indent="-271463" algn="l" defTabSz="914400" rtl="0" eaLnBrk="1" latinLnBrk="0" hangingPunct="1">
        <a:spcBef>
          <a:spcPts val="600"/>
        </a:spcBef>
        <a:spcAft>
          <a:spcPts val="0"/>
        </a:spcAft>
        <a:buSzPct val="100000"/>
        <a:buFont typeface="Arial" panose="020B0604020202020204" pitchFamily="34" charset="0"/>
        <a:buChar char="•"/>
        <a:defRPr sz="1100" kern="120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7" name="Hilfslinie oben links"/>
          <p:cNvCxnSpPr/>
          <p:nvPr/>
        </p:nvCxnSpPr>
        <p:spPr>
          <a:xfrm>
            <a:off x="-390000" y="9432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Hilfslinie oben rechts"/>
          <p:cNvCxnSpPr/>
          <p:nvPr/>
        </p:nvCxnSpPr>
        <p:spPr>
          <a:xfrm>
            <a:off x="9984000" y="9432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Hilfslinie unten rechts"/>
          <p:cNvCxnSpPr/>
          <p:nvPr/>
        </p:nvCxnSpPr>
        <p:spPr>
          <a:xfrm>
            <a:off x="9997020" y="65952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0" name="Hilfslinie unten links"/>
          <p:cNvCxnSpPr/>
          <p:nvPr/>
        </p:nvCxnSpPr>
        <p:spPr>
          <a:xfrm>
            <a:off x="-387619" y="6595200"/>
            <a:ext cx="312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2" name="Hilfslinie unten links"/>
          <p:cNvCxnSpPr/>
          <p:nvPr/>
        </p:nvCxnSpPr>
        <p:spPr>
          <a:xfrm>
            <a:off x="525600" y="693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3" name="Hilfslinie unten rechts"/>
          <p:cNvCxnSpPr/>
          <p:nvPr/>
        </p:nvCxnSpPr>
        <p:spPr>
          <a:xfrm>
            <a:off x="9381600" y="6954271"/>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4" name="Hilfslinie oben rechts"/>
          <p:cNvCxnSpPr/>
          <p:nvPr/>
        </p:nvCxnSpPr>
        <p:spPr>
          <a:xfrm>
            <a:off x="9381600" y="-36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5" name="Hilfslinie oben links"/>
          <p:cNvCxnSpPr/>
          <p:nvPr/>
        </p:nvCxnSpPr>
        <p:spPr>
          <a:xfrm>
            <a:off x="525600" y="-360000"/>
            <a:ext cx="0" cy="288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6" name="Hilfslinie Mitte links"/>
          <p:cNvCxnSpPr/>
          <p:nvPr/>
        </p:nvCxnSpPr>
        <p:spPr>
          <a:xfrm>
            <a:off x="-234000" y="3769200"/>
            <a:ext cx="156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7" name="Hilfslinie Mitte oben"/>
          <p:cNvCxnSpPr/>
          <p:nvPr/>
        </p:nvCxnSpPr>
        <p:spPr>
          <a:xfrm>
            <a:off x="4950619" y="-216000"/>
            <a:ext cx="0" cy="144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9" name="Hilfslinie Mitte rechts"/>
          <p:cNvCxnSpPr/>
          <p:nvPr/>
        </p:nvCxnSpPr>
        <p:spPr>
          <a:xfrm>
            <a:off x="9984000" y="3769200"/>
            <a:ext cx="15600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0" name="Hilfslinie Mitte unten"/>
          <p:cNvCxnSpPr/>
          <p:nvPr/>
        </p:nvCxnSpPr>
        <p:spPr>
          <a:xfrm>
            <a:off x="4950619" y="6930000"/>
            <a:ext cx="0" cy="14400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33" name="Hinweis Mittel Inhaltsbereich"/>
          <p:cNvSpPr txBox="1"/>
          <p:nvPr/>
        </p:nvSpPr>
        <p:spPr>
          <a:xfrm>
            <a:off x="-1248000" y="3546000"/>
            <a:ext cx="1170000" cy="216000"/>
          </a:xfrm>
          <a:prstGeom prst="rect">
            <a:avLst/>
          </a:prstGeom>
          <a:noFill/>
        </p:spPr>
        <p:txBody>
          <a:bodyPr wrap="square" lIns="0" tIns="0" rIns="0" bIns="36000" rtlCol="0" anchor="b" anchorCtr="0">
            <a:noAutofit/>
          </a:bodyPr>
          <a:lstStyle/>
          <a:p>
            <a:pPr algn="r"/>
            <a:r>
              <a:rPr lang="de-DE" sz="900" dirty="0" smtClean="0">
                <a:solidFill>
                  <a:srgbClr val="FFFFFF"/>
                </a:solidFill>
                <a:cs typeface="Arial" charset="0"/>
              </a:rPr>
              <a:t>Mitte Inhaltsbereich</a:t>
            </a:r>
            <a:endParaRPr lang="de-DE" sz="900" dirty="0">
              <a:solidFill>
                <a:srgbClr val="FFFFFF"/>
              </a:solidFill>
              <a:cs typeface="Arial" charset="0"/>
            </a:endParaRPr>
          </a:p>
        </p:txBody>
      </p:sp>
      <p:sp>
        <p:nvSpPr>
          <p:cNvPr id="6" name="Foliennummernplatzhalter"/>
          <p:cNvSpPr>
            <a:spLocks noGrp="1"/>
          </p:cNvSpPr>
          <p:nvPr>
            <p:ph type="sldNum" sz="quarter" idx="4"/>
          </p:nvPr>
        </p:nvSpPr>
        <p:spPr>
          <a:xfrm>
            <a:off x="8477892" y="6652800"/>
            <a:ext cx="903600" cy="180000"/>
          </a:xfrm>
          <a:prstGeom prst="rect">
            <a:avLst/>
          </a:prstGeom>
        </p:spPr>
        <p:txBody>
          <a:bodyPr vert="horz" lIns="0" tIns="0" rIns="0" bIns="0" rtlCol="0" anchor="ctr" anchorCtr="0"/>
          <a:lstStyle>
            <a:lvl1pPr algn="r">
              <a:defRPr sz="900" b="0">
                <a:solidFill>
                  <a:schemeClr val="tx1"/>
                </a:solidFill>
              </a:defRPr>
            </a:lvl1pPr>
          </a:lstStyle>
          <a:p>
            <a:fld id="{1FB8D038-2D38-4B10-A0EB-C05CC9130EB2}" type="slidenum">
              <a:rPr lang="de-DE" smtClean="0">
                <a:solidFill>
                  <a:srgbClr val="000000"/>
                </a:solidFill>
                <a:cs typeface="Arial" charset="0"/>
              </a:rPr>
              <a:pPr/>
              <a:t>‹#›</a:t>
            </a:fld>
            <a:endParaRPr lang="de-DE">
              <a:solidFill>
                <a:srgbClr val="000000"/>
              </a:solidFill>
              <a:cs typeface="Arial" charset="0"/>
            </a:endParaRPr>
          </a:p>
        </p:txBody>
      </p:sp>
      <p:sp>
        <p:nvSpPr>
          <p:cNvPr id="5" name="Fußzeilenplatzhalter"/>
          <p:cNvSpPr>
            <a:spLocks noGrp="1"/>
          </p:cNvSpPr>
          <p:nvPr>
            <p:ph type="ftr" sz="quarter" idx="3"/>
          </p:nvPr>
        </p:nvSpPr>
        <p:spPr>
          <a:xfrm>
            <a:off x="1560000" y="6652800"/>
            <a:ext cx="6786000" cy="180000"/>
          </a:xfrm>
          <a:prstGeom prst="rect">
            <a:avLst/>
          </a:prstGeom>
        </p:spPr>
        <p:txBody>
          <a:bodyPr vert="horz" lIns="0" tIns="0" rIns="0" bIns="0" rtlCol="0" anchor="ctr" anchorCtr="0"/>
          <a:lstStyle>
            <a:lvl1pPr algn="l">
              <a:defRPr sz="900">
                <a:solidFill>
                  <a:schemeClr val="tx2"/>
                </a:solidFill>
              </a:defRPr>
            </a:lvl1pPr>
          </a:lstStyle>
          <a:p>
            <a:endParaRPr lang="de-DE" dirty="0">
              <a:solidFill>
                <a:srgbClr val="007FC3"/>
              </a:solidFill>
              <a:cs typeface="Arial" charset="0"/>
            </a:endParaRPr>
          </a:p>
        </p:txBody>
      </p:sp>
      <p:sp>
        <p:nvSpPr>
          <p:cNvPr id="4" name="Datumsplatzhalter"/>
          <p:cNvSpPr>
            <a:spLocks noGrp="1"/>
          </p:cNvSpPr>
          <p:nvPr>
            <p:ph type="dt" sz="half" idx="2"/>
          </p:nvPr>
        </p:nvSpPr>
        <p:spPr>
          <a:xfrm>
            <a:off x="525600" y="6652800"/>
            <a:ext cx="902992" cy="180000"/>
          </a:xfrm>
          <a:prstGeom prst="rect">
            <a:avLst/>
          </a:prstGeom>
        </p:spPr>
        <p:txBody>
          <a:bodyPr vert="horz" lIns="0" tIns="0" rIns="0" bIns="0" rtlCol="0" anchor="ctr" anchorCtr="0"/>
          <a:lstStyle>
            <a:lvl1pPr algn="l">
              <a:defRPr sz="900">
                <a:solidFill>
                  <a:schemeClr val="tx1"/>
                </a:solidFill>
              </a:defRPr>
            </a:lvl1pPr>
          </a:lstStyle>
          <a:p>
            <a:endParaRPr lang="de-DE" dirty="0">
              <a:solidFill>
                <a:srgbClr val="000000"/>
              </a:solidFill>
              <a:cs typeface="Arial" charset="0"/>
            </a:endParaRPr>
          </a:p>
        </p:txBody>
      </p:sp>
      <p:cxnSp>
        <p:nvCxnSpPr>
          <p:cNvPr id="12" name="Trennstrich Fußzeile"/>
          <p:cNvCxnSpPr/>
          <p:nvPr/>
        </p:nvCxnSpPr>
        <p:spPr>
          <a:xfrm flipV="1">
            <a:off x="0" y="6624000"/>
            <a:ext cx="938212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Inhaltsplatzhalter"/>
          <p:cNvSpPr>
            <a:spLocks noGrp="1"/>
          </p:cNvSpPr>
          <p:nvPr>
            <p:ph type="body" idx="1"/>
          </p:nvPr>
        </p:nvSpPr>
        <p:spPr>
          <a:xfrm>
            <a:off x="523875" y="944563"/>
            <a:ext cx="8858250" cy="5653087"/>
          </a:xfrm>
          <a:prstGeom prst="rect">
            <a:avLst/>
          </a:prstGeom>
          <a:noFill/>
        </p:spPr>
        <p:txBody>
          <a:bodyPr vert="horz" lIns="0" tIns="144000" rIns="0" bIns="0" rtlCol="0">
            <a:noAutofit/>
          </a:bodyPr>
          <a:lstStyle/>
          <a:p>
            <a:pPr lvl="0"/>
            <a:r>
              <a:rPr lang="de-DE" noProof="0" dirty="0" smtClean="0"/>
              <a:t>Textmasterformat bearbeiten</a:t>
            </a:r>
          </a:p>
          <a:p>
            <a:pPr lvl="1"/>
            <a:r>
              <a:rPr lang="de-DE" noProof="0" dirty="0" smtClean="0"/>
              <a:t>Zweite Ebene</a:t>
            </a:r>
          </a:p>
          <a:p>
            <a:pPr lvl="2"/>
            <a:r>
              <a:rPr lang="de-DE" noProof="0" dirty="0" smtClean="0"/>
              <a:t>Dritte Ebene</a:t>
            </a:r>
          </a:p>
          <a:p>
            <a:pPr lvl="3"/>
            <a:r>
              <a:rPr lang="de-DE" noProof="0" dirty="0" smtClean="0"/>
              <a:t>Vierte Ebene</a:t>
            </a:r>
          </a:p>
        </p:txBody>
      </p:sp>
      <p:cxnSp>
        <p:nvCxnSpPr>
          <p:cNvPr id="7" name="Trennstrich Titel"/>
          <p:cNvCxnSpPr/>
          <p:nvPr/>
        </p:nvCxnSpPr>
        <p:spPr>
          <a:xfrm>
            <a:off x="0" y="900000"/>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pic>
        <p:nvPicPr>
          <p:cNvPr id="28" name="Logo"/>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8151624" y="306750"/>
            <a:ext cx="1229868" cy="504000"/>
          </a:xfrm>
          <a:prstGeom prst="rect">
            <a:avLst/>
          </a:prstGeom>
        </p:spPr>
      </p:pic>
      <p:sp>
        <p:nvSpPr>
          <p:cNvPr id="2" name="Titelplatzhalter"/>
          <p:cNvSpPr>
            <a:spLocks noGrp="1"/>
          </p:cNvSpPr>
          <p:nvPr>
            <p:ph type="title"/>
          </p:nvPr>
        </p:nvSpPr>
        <p:spPr>
          <a:xfrm>
            <a:off x="525600" y="288000"/>
            <a:ext cx="7308000" cy="612000"/>
          </a:xfrm>
          <a:prstGeom prst="rect">
            <a:avLst/>
          </a:prstGeom>
        </p:spPr>
        <p:txBody>
          <a:bodyPr vert="horz" lIns="0" tIns="0" rIns="0" bIns="0" rtlCol="0" anchor="t" anchorCtr="0">
            <a:noAutofit/>
          </a:bodyPr>
          <a:lstStyle/>
          <a:p>
            <a:r>
              <a:rPr lang="de-DE" dirty="0" smtClean="0"/>
              <a:t>TITELMASTERFORMAT</a:t>
            </a:r>
            <a:br>
              <a:rPr lang="de-DE" dirty="0" smtClean="0"/>
            </a:br>
            <a:r>
              <a:rPr lang="de-DE" dirty="0" smtClean="0"/>
              <a:t>DURCH KLICKEN BEARBEITEN</a:t>
            </a:r>
            <a:endParaRPr lang="de-DE" dirty="0"/>
          </a:p>
        </p:txBody>
      </p:sp>
    </p:spTree>
    <p:extLst>
      <p:ext uri="{BB962C8B-B14F-4D97-AF65-F5344CB8AC3E}">
        <p14:creationId xmlns:p14="http://schemas.microsoft.com/office/powerpoint/2010/main" val="1353729816"/>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Lst>
  <p:transition>
    <p:zoom/>
  </p:transition>
  <p:timing>
    <p:tnLst>
      <p:par>
        <p:cTn id="1" dur="indefinite" restart="never" nodeType="tmRoot"/>
      </p:par>
    </p:tnLst>
  </p:timing>
  <p:hf sldNum="0" hdr="0" ftr="0" dt="0"/>
  <p:txStyles>
    <p:titleStyle>
      <a:lvl1pPr algn="l" defTabSz="914400" rtl="0" eaLnBrk="1" latinLnBrk="0" hangingPunct="1">
        <a:lnSpc>
          <a:spcPct val="80000"/>
        </a:lnSpc>
        <a:spcBef>
          <a:spcPct val="0"/>
        </a:spcBef>
        <a:buNone/>
        <a:defRPr sz="2400" kern="1200" cap="all" baseline="0">
          <a:solidFill>
            <a:schemeClr val="tx2"/>
          </a:solidFill>
          <a:latin typeface="+mj-lt"/>
          <a:ea typeface="+mj-ea"/>
          <a:cs typeface="+mj-cs"/>
        </a:defRPr>
      </a:lvl1pPr>
    </p:titleStyle>
    <p:bodyStyle>
      <a:lvl1pPr marL="271463" indent="-271463" algn="l" defTabSz="914400" rtl="0" eaLnBrk="1" latinLnBrk="0" hangingPunct="1">
        <a:spcBef>
          <a:spcPts val="600"/>
        </a:spcBef>
        <a:spcAft>
          <a:spcPts val="0"/>
        </a:spcAft>
        <a:buClr>
          <a:srgbClr val="000000"/>
        </a:buClr>
        <a:buSzPct val="100000"/>
        <a:buFont typeface="Wingdings" panose="05000000000000000000" pitchFamily="2" charset="2"/>
        <a:buChar char="§"/>
        <a:defRPr sz="2000" kern="1200">
          <a:solidFill>
            <a:schemeClr val="tx1"/>
          </a:solidFill>
          <a:latin typeface="+mn-lt"/>
          <a:ea typeface="+mn-ea"/>
          <a:cs typeface="+mn-cs"/>
        </a:defRPr>
      </a:lvl1pPr>
      <a:lvl2pPr marL="541338" indent="-269875" algn="l" defTabSz="914400" rtl="0" eaLnBrk="1" latinLnBrk="0" hangingPunct="1">
        <a:spcBef>
          <a:spcPts val="600"/>
        </a:spcBef>
        <a:spcAft>
          <a:spcPts val="0"/>
        </a:spcAft>
        <a:buClr>
          <a:srgbClr val="000000"/>
        </a:buClr>
        <a:buSzPct val="100000"/>
        <a:buFont typeface="SICK Franklin Condensed" pitchFamily="2" charset="0"/>
        <a:buChar char="▸"/>
        <a:defRPr sz="1800" kern="1200">
          <a:solidFill>
            <a:schemeClr val="tx1"/>
          </a:solidFill>
          <a:latin typeface="+mn-lt"/>
          <a:ea typeface="+mn-ea"/>
          <a:cs typeface="+mn-cs"/>
        </a:defRPr>
      </a:lvl2pPr>
      <a:lvl3pPr marL="804863" indent="-263525" algn="l" defTabSz="914400" rtl="0" eaLnBrk="1" latinLnBrk="0" hangingPunct="1">
        <a:spcBef>
          <a:spcPts val="600"/>
        </a:spcBef>
        <a:spcAft>
          <a:spcPts val="0"/>
        </a:spcAft>
        <a:buClr>
          <a:srgbClr val="000000"/>
        </a:buClr>
        <a:buSzPct val="100000"/>
        <a:buFont typeface="SICK Franklin Condensed" pitchFamily="2" charset="0"/>
        <a:buChar char="―"/>
        <a:defRPr sz="1600" kern="1200">
          <a:solidFill>
            <a:schemeClr val="tx1"/>
          </a:solidFill>
          <a:latin typeface="+mn-lt"/>
          <a:ea typeface="+mn-ea"/>
          <a:cs typeface="+mn-cs"/>
        </a:defRPr>
      </a:lvl3pPr>
      <a:lvl4pPr marL="1074738" indent="-269875" algn="l" defTabSz="914400" rtl="0" eaLnBrk="1" latinLnBrk="0" hangingPunct="1">
        <a:spcBef>
          <a:spcPts val="600"/>
        </a:spcBef>
        <a:spcAft>
          <a:spcPts val="0"/>
        </a:spcAft>
        <a:buClr>
          <a:srgbClr val="000000"/>
        </a:buClr>
        <a:buSzPct val="100000"/>
        <a:buFont typeface="SICK Franklin Condensed" pitchFamily="2" charset="0"/>
        <a:buChar char="―"/>
        <a:defRPr sz="1600" kern="1200">
          <a:solidFill>
            <a:schemeClr val="tx1"/>
          </a:solidFill>
          <a:latin typeface="+mn-lt"/>
          <a:ea typeface="+mn-ea"/>
          <a:cs typeface="+mn-cs"/>
        </a:defRPr>
      </a:lvl4pPr>
      <a:lvl5pPr marL="1346200" indent="-271463" algn="l" defTabSz="914400" rtl="0" eaLnBrk="1" latinLnBrk="0" hangingPunct="1">
        <a:spcBef>
          <a:spcPts val="600"/>
        </a:spcBef>
        <a:spcAft>
          <a:spcPts val="0"/>
        </a:spcAft>
        <a:buSzPct val="100000"/>
        <a:buFont typeface="Arial" panose="020B0604020202020204" pitchFamily="34" charset="0"/>
        <a:buChar char="•"/>
        <a:defRPr sz="1100" kern="120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7" name="Hilfslinie oben links"/>
          <p:cNvCxnSpPr/>
          <p:nvPr/>
        </p:nvCxnSpPr>
        <p:spPr>
          <a:xfrm>
            <a:off x="-390525" y="942975"/>
            <a:ext cx="312737"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Hilfslinie oben rechts"/>
          <p:cNvCxnSpPr/>
          <p:nvPr/>
        </p:nvCxnSpPr>
        <p:spPr>
          <a:xfrm>
            <a:off x="9983788" y="942975"/>
            <a:ext cx="312737"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Hilfslinie unten rechts"/>
          <p:cNvCxnSpPr/>
          <p:nvPr/>
        </p:nvCxnSpPr>
        <p:spPr>
          <a:xfrm>
            <a:off x="9996488" y="6594475"/>
            <a:ext cx="312737"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0" name="Hilfslinie unten links"/>
          <p:cNvCxnSpPr/>
          <p:nvPr/>
        </p:nvCxnSpPr>
        <p:spPr>
          <a:xfrm>
            <a:off x="-387350" y="6594475"/>
            <a:ext cx="311150"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2" name="Hilfslinie unten links"/>
          <p:cNvCxnSpPr/>
          <p:nvPr/>
        </p:nvCxnSpPr>
        <p:spPr>
          <a:xfrm>
            <a:off x="525463" y="6929438"/>
            <a:ext cx="0" cy="288925"/>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3" name="Hilfslinie unten rechts"/>
          <p:cNvCxnSpPr/>
          <p:nvPr/>
        </p:nvCxnSpPr>
        <p:spPr>
          <a:xfrm>
            <a:off x="9382125" y="6954838"/>
            <a:ext cx="0" cy="287337"/>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4" name="Hilfslinie oben rechts"/>
          <p:cNvCxnSpPr/>
          <p:nvPr/>
        </p:nvCxnSpPr>
        <p:spPr>
          <a:xfrm>
            <a:off x="9382125" y="-360363"/>
            <a:ext cx="0" cy="288925"/>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5" name="Hilfslinie oben links"/>
          <p:cNvCxnSpPr/>
          <p:nvPr/>
        </p:nvCxnSpPr>
        <p:spPr>
          <a:xfrm>
            <a:off x="525463" y="-360363"/>
            <a:ext cx="0" cy="288925"/>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6" name="Hilfslinie Mitte links"/>
          <p:cNvCxnSpPr/>
          <p:nvPr/>
        </p:nvCxnSpPr>
        <p:spPr>
          <a:xfrm>
            <a:off x="-233363" y="3768725"/>
            <a:ext cx="155575"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7" name="Hilfslinie Mitte oben"/>
          <p:cNvCxnSpPr/>
          <p:nvPr/>
        </p:nvCxnSpPr>
        <p:spPr>
          <a:xfrm>
            <a:off x="4951413" y="-215900"/>
            <a:ext cx="0" cy="144462"/>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29" name="Hilfslinie Mitte rechts"/>
          <p:cNvCxnSpPr/>
          <p:nvPr/>
        </p:nvCxnSpPr>
        <p:spPr>
          <a:xfrm>
            <a:off x="9983788" y="3768725"/>
            <a:ext cx="155575" cy="0"/>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0" name="Hilfslinie Mitte unten"/>
          <p:cNvCxnSpPr/>
          <p:nvPr/>
        </p:nvCxnSpPr>
        <p:spPr>
          <a:xfrm>
            <a:off x="4951413" y="6929438"/>
            <a:ext cx="0" cy="144462"/>
          </a:xfrm>
          <a:prstGeom prst="line">
            <a:avLst/>
          </a:prstGeom>
          <a:ln w="63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33" name="Hinweis Mittel Inhaltsbereich"/>
          <p:cNvSpPr txBox="1"/>
          <p:nvPr/>
        </p:nvSpPr>
        <p:spPr>
          <a:xfrm>
            <a:off x="-1247775" y="3546475"/>
            <a:ext cx="1169987" cy="215900"/>
          </a:xfrm>
          <a:prstGeom prst="rect">
            <a:avLst/>
          </a:prstGeom>
          <a:noFill/>
        </p:spPr>
        <p:txBody>
          <a:bodyPr lIns="0" tIns="0" rIns="0" bIns="36000" anchor="b"/>
          <a:lstStyle/>
          <a:p>
            <a:pPr algn="r">
              <a:defRPr/>
            </a:pPr>
            <a:r>
              <a:rPr lang="de-DE" sz="900" dirty="0">
                <a:solidFill>
                  <a:srgbClr val="FFFFFF"/>
                </a:solidFill>
                <a:cs typeface="Arial" charset="0"/>
              </a:rPr>
              <a:t>Mitte Inhaltsbereich</a:t>
            </a:r>
          </a:p>
        </p:txBody>
      </p:sp>
      <p:sp>
        <p:nvSpPr>
          <p:cNvPr id="6" name="Foliennummernplatzhalter"/>
          <p:cNvSpPr>
            <a:spLocks noGrp="1"/>
          </p:cNvSpPr>
          <p:nvPr>
            <p:ph type="sldNum" sz="quarter" idx="4"/>
          </p:nvPr>
        </p:nvSpPr>
        <p:spPr>
          <a:xfrm>
            <a:off x="8477250" y="6653213"/>
            <a:ext cx="904875" cy="179387"/>
          </a:xfrm>
          <a:prstGeom prst="rect">
            <a:avLst/>
          </a:prstGeom>
        </p:spPr>
        <p:txBody>
          <a:bodyPr vert="horz" lIns="0" tIns="0" rIns="0" bIns="0" rtlCol="0" anchor="ctr" anchorCtr="0"/>
          <a:lstStyle>
            <a:lvl1pPr algn="r" fontAlgn="auto">
              <a:spcBef>
                <a:spcPts val="0"/>
              </a:spcBef>
              <a:spcAft>
                <a:spcPts val="0"/>
              </a:spcAft>
              <a:defRPr sz="900" b="0" smtClean="0">
                <a:solidFill>
                  <a:srgbClr val="000000"/>
                </a:solidFill>
                <a:latin typeface="+mn-lt"/>
              </a:defRPr>
            </a:lvl1pPr>
          </a:lstStyle>
          <a:p>
            <a:pPr>
              <a:defRPr/>
            </a:pPr>
            <a:fld id="{25D77538-C4BF-4B27-B375-E4152783C5D1}" type="slidenum">
              <a:rPr lang="de-DE">
                <a:cs typeface="Arial" charset="0"/>
              </a:rPr>
              <a:pPr>
                <a:defRPr/>
              </a:pPr>
              <a:t>‹#›</a:t>
            </a:fld>
            <a:endParaRPr lang="de-DE">
              <a:cs typeface="Arial" charset="0"/>
            </a:endParaRPr>
          </a:p>
        </p:txBody>
      </p:sp>
      <p:sp>
        <p:nvSpPr>
          <p:cNvPr id="5" name="Fußzeilenplatzhalter"/>
          <p:cNvSpPr>
            <a:spLocks noGrp="1"/>
          </p:cNvSpPr>
          <p:nvPr>
            <p:ph type="ftr" sz="quarter" idx="3"/>
          </p:nvPr>
        </p:nvSpPr>
        <p:spPr>
          <a:xfrm>
            <a:off x="1560513" y="6653213"/>
            <a:ext cx="6784975" cy="179387"/>
          </a:xfrm>
          <a:prstGeom prst="rect">
            <a:avLst/>
          </a:prstGeom>
        </p:spPr>
        <p:txBody>
          <a:bodyPr vert="horz" lIns="0" tIns="0" rIns="0" bIns="0" rtlCol="0" anchor="ctr" anchorCtr="0"/>
          <a:lstStyle>
            <a:lvl1pPr algn="l" fontAlgn="auto">
              <a:spcBef>
                <a:spcPts val="0"/>
              </a:spcBef>
              <a:spcAft>
                <a:spcPts val="0"/>
              </a:spcAft>
              <a:defRPr sz="900" dirty="0">
                <a:solidFill>
                  <a:srgbClr val="007FC3"/>
                </a:solidFill>
                <a:latin typeface="+mn-lt"/>
              </a:defRPr>
            </a:lvl1pPr>
          </a:lstStyle>
          <a:p>
            <a:pPr>
              <a:defRPr/>
            </a:pPr>
            <a:endParaRPr lang="de-DE">
              <a:cs typeface="Arial" charset="0"/>
            </a:endParaRPr>
          </a:p>
        </p:txBody>
      </p:sp>
      <p:sp>
        <p:nvSpPr>
          <p:cNvPr id="4" name="Datumsplatzhalter"/>
          <p:cNvSpPr>
            <a:spLocks noGrp="1"/>
          </p:cNvSpPr>
          <p:nvPr>
            <p:ph type="dt" sz="half" idx="2"/>
          </p:nvPr>
        </p:nvSpPr>
        <p:spPr>
          <a:xfrm>
            <a:off x="525463" y="6653213"/>
            <a:ext cx="903287" cy="179387"/>
          </a:xfrm>
          <a:prstGeom prst="rect">
            <a:avLst/>
          </a:prstGeom>
        </p:spPr>
        <p:txBody>
          <a:bodyPr vert="horz" lIns="0" tIns="0" rIns="0" bIns="0" rtlCol="0" anchor="ctr" anchorCtr="0"/>
          <a:lstStyle>
            <a:lvl1pPr algn="l" fontAlgn="auto">
              <a:spcBef>
                <a:spcPts val="0"/>
              </a:spcBef>
              <a:spcAft>
                <a:spcPts val="0"/>
              </a:spcAft>
              <a:defRPr sz="900" dirty="0">
                <a:solidFill>
                  <a:srgbClr val="000000"/>
                </a:solidFill>
                <a:latin typeface="+mn-lt"/>
              </a:defRPr>
            </a:lvl1pPr>
          </a:lstStyle>
          <a:p>
            <a:pPr>
              <a:defRPr/>
            </a:pPr>
            <a:endParaRPr lang="de-DE">
              <a:cs typeface="Arial" charset="0"/>
            </a:endParaRPr>
          </a:p>
        </p:txBody>
      </p:sp>
      <p:cxnSp>
        <p:nvCxnSpPr>
          <p:cNvPr id="12" name="Trennstrich Fußzeile"/>
          <p:cNvCxnSpPr/>
          <p:nvPr/>
        </p:nvCxnSpPr>
        <p:spPr>
          <a:xfrm flipV="1">
            <a:off x="0" y="6624638"/>
            <a:ext cx="938212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68627" name="Inhaltsplatzhalter"/>
          <p:cNvSpPr>
            <a:spLocks noGrp="1"/>
          </p:cNvSpPr>
          <p:nvPr>
            <p:ph type="body" idx="1"/>
          </p:nvPr>
        </p:nvSpPr>
        <p:spPr bwMode="auto">
          <a:xfrm>
            <a:off x="523875" y="944563"/>
            <a:ext cx="8858250" cy="5653087"/>
          </a:xfrm>
          <a:prstGeom prst="rect">
            <a:avLst/>
          </a:prstGeom>
          <a:noFill/>
          <a:ln w="9525">
            <a:noFill/>
            <a:miter lim="800000"/>
            <a:headEnd/>
            <a:tailEnd/>
          </a:ln>
        </p:spPr>
        <p:txBody>
          <a:bodyPr vert="horz" wrap="square" lIns="0" tIns="144000" rIns="0" bIns="0" numCol="1" anchor="t" anchorCtr="0" compatLnSpc="1">
            <a:prstTxWarp prst="textNoShape">
              <a:avLst/>
            </a:prstTxWarp>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cxnSp>
        <p:nvCxnSpPr>
          <p:cNvPr id="7" name="Trennstrich Titel"/>
          <p:cNvCxnSpPr/>
          <p:nvPr/>
        </p:nvCxnSpPr>
        <p:spPr>
          <a:xfrm>
            <a:off x="0" y="900113"/>
            <a:ext cx="9906000" cy="0"/>
          </a:xfrm>
          <a:prstGeom prst="line">
            <a:avLst/>
          </a:prstGeom>
          <a:ln w="9525" cap="sq">
            <a:solidFill>
              <a:schemeClr val="accent4">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pic>
        <p:nvPicPr>
          <p:cNvPr id="68629" name="Logo"/>
          <p:cNvPicPr>
            <a:picLocks noChangeAspect="1"/>
          </p:cNvPicPr>
          <p:nvPr/>
        </p:nvPicPr>
        <p:blipFill>
          <a:blip r:embed="rId19"/>
          <a:srcRect/>
          <a:stretch>
            <a:fillRect/>
          </a:stretch>
        </p:blipFill>
        <p:spPr bwMode="auto">
          <a:xfrm>
            <a:off x="8151813" y="306388"/>
            <a:ext cx="1230312" cy="504825"/>
          </a:xfrm>
          <a:prstGeom prst="rect">
            <a:avLst/>
          </a:prstGeom>
          <a:noFill/>
          <a:ln w="9525">
            <a:noFill/>
            <a:miter lim="800000"/>
            <a:headEnd/>
            <a:tailEnd/>
          </a:ln>
        </p:spPr>
      </p:pic>
      <p:sp>
        <p:nvSpPr>
          <p:cNvPr id="2" name="Titelplatzhalter"/>
          <p:cNvSpPr>
            <a:spLocks noGrp="1"/>
          </p:cNvSpPr>
          <p:nvPr>
            <p:ph type="title"/>
          </p:nvPr>
        </p:nvSpPr>
        <p:spPr>
          <a:xfrm>
            <a:off x="525463" y="287338"/>
            <a:ext cx="7308850" cy="612775"/>
          </a:xfrm>
          <a:prstGeom prst="rect">
            <a:avLst/>
          </a:prstGeom>
        </p:spPr>
        <p:txBody>
          <a:bodyPr vert="horz" lIns="0" tIns="0" rIns="0" bIns="0" rtlCol="0" anchor="t" anchorCtr="0">
            <a:noAutofit/>
          </a:bodyPr>
          <a:lstStyle/>
          <a:p>
            <a:r>
              <a:rPr lang="de-DE" dirty="0" smtClean="0"/>
              <a:t>TITELMASTERFORMAT</a:t>
            </a:r>
            <a:br>
              <a:rPr lang="de-DE" dirty="0" smtClean="0"/>
            </a:br>
            <a:r>
              <a:rPr lang="de-DE" dirty="0" smtClean="0"/>
              <a:t>DURCH KLICKEN BEARBEITEN</a:t>
            </a:r>
            <a:endParaRPr lang="de-DE" dirty="0"/>
          </a:p>
        </p:txBody>
      </p:sp>
    </p:spTree>
    <p:extLst>
      <p:ext uri="{BB962C8B-B14F-4D97-AF65-F5344CB8AC3E}">
        <p14:creationId xmlns:p14="http://schemas.microsoft.com/office/powerpoint/2010/main" val="1090611775"/>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Lst>
  <p:transition>
    <p:zoom/>
  </p:transition>
  <p:timing>
    <p:tnLst>
      <p:par>
        <p:cTn id="1" dur="indefinite" restart="never" nodeType="tmRoot"/>
      </p:par>
    </p:tnLst>
  </p:timing>
  <p:hf sldNum="0" hdr="0" ftr="0" dt="0"/>
  <p:txStyles>
    <p:titleStyle>
      <a:lvl1pPr algn="l" rtl="0" fontAlgn="base">
        <a:lnSpc>
          <a:spcPct val="80000"/>
        </a:lnSpc>
        <a:spcBef>
          <a:spcPct val="0"/>
        </a:spcBef>
        <a:spcAft>
          <a:spcPct val="0"/>
        </a:spcAft>
        <a:defRPr sz="2400" kern="1200" cap="all">
          <a:solidFill>
            <a:schemeClr val="tx2"/>
          </a:solidFill>
          <a:latin typeface="+mj-lt"/>
          <a:ea typeface="+mj-ea"/>
          <a:cs typeface="+mj-cs"/>
        </a:defRPr>
      </a:lvl1pPr>
      <a:lvl2pPr algn="l" rtl="0" fontAlgn="base">
        <a:lnSpc>
          <a:spcPct val="80000"/>
        </a:lnSpc>
        <a:spcBef>
          <a:spcPct val="0"/>
        </a:spcBef>
        <a:spcAft>
          <a:spcPct val="0"/>
        </a:spcAft>
        <a:defRPr sz="2400">
          <a:solidFill>
            <a:schemeClr val="tx2"/>
          </a:solidFill>
          <a:latin typeface="SICK Franklin"/>
        </a:defRPr>
      </a:lvl2pPr>
      <a:lvl3pPr algn="l" rtl="0" fontAlgn="base">
        <a:lnSpc>
          <a:spcPct val="80000"/>
        </a:lnSpc>
        <a:spcBef>
          <a:spcPct val="0"/>
        </a:spcBef>
        <a:spcAft>
          <a:spcPct val="0"/>
        </a:spcAft>
        <a:defRPr sz="2400">
          <a:solidFill>
            <a:schemeClr val="tx2"/>
          </a:solidFill>
          <a:latin typeface="SICK Franklin"/>
        </a:defRPr>
      </a:lvl3pPr>
      <a:lvl4pPr algn="l" rtl="0" fontAlgn="base">
        <a:lnSpc>
          <a:spcPct val="80000"/>
        </a:lnSpc>
        <a:spcBef>
          <a:spcPct val="0"/>
        </a:spcBef>
        <a:spcAft>
          <a:spcPct val="0"/>
        </a:spcAft>
        <a:defRPr sz="2400">
          <a:solidFill>
            <a:schemeClr val="tx2"/>
          </a:solidFill>
          <a:latin typeface="SICK Franklin"/>
        </a:defRPr>
      </a:lvl4pPr>
      <a:lvl5pPr algn="l" rtl="0" fontAlgn="base">
        <a:lnSpc>
          <a:spcPct val="80000"/>
        </a:lnSpc>
        <a:spcBef>
          <a:spcPct val="0"/>
        </a:spcBef>
        <a:spcAft>
          <a:spcPct val="0"/>
        </a:spcAft>
        <a:defRPr sz="2400">
          <a:solidFill>
            <a:schemeClr val="tx2"/>
          </a:solidFill>
          <a:latin typeface="SICK Franklin"/>
        </a:defRPr>
      </a:lvl5pPr>
      <a:lvl6pPr marL="457200" algn="l" rtl="0" fontAlgn="base">
        <a:lnSpc>
          <a:spcPct val="80000"/>
        </a:lnSpc>
        <a:spcBef>
          <a:spcPct val="0"/>
        </a:spcBef>
        <a:spcAft>
          <a:spcPct val="0"/>
        </a:spcAft>
        <a:defRPr sz="2400">
          <a:solidFill>
            <a:schemeClr val="tx2"/>
          </a:solidFill>
          <a:latin typeface="SICK Franklin"/>
        </a:defRPr>
      </a:lvl6pPr>
      <a:lvl7pPr marL="914400" algn="l" rtl="0" fontAlgn="base">
        <a:lnSpc>
          <a:spcPct val="80000"/>
        </a:lnSpc>
        <a:spcBef>
          <a:spcPct val="0"/>
        </a:spcBef>
        <a:spcAft>
          <a:spcPct val="0"/>
        </a:spcAft>
        <a:defRPr sz="2400">
          <a:solidFill>
            <a:schemeClr val="tx2"/>
          </a:solidFill>
          <a:latin typeface="SICK Franklin"/>
        </a:defRPr>
      </a:lvl7pPr>
      <a:lvl8pPr marL="1371600" algn="l" rtl="0" fontAlgn="base">
        <a:lnSpc>
          <a:spcPct val="80000"/>
        </a:lnSpc>
        <a:spcBef>
          <a:spcPct val="0"/>
        </a:spcBef>
        <a:spcAft>
          <a:spcPct val="0"/>
        </a:spcAft>
        <a:defRPr sz="2400">
          <a:solidFill>
            <a:schemeClr val="tx2"/>
          </a:solidFill>
          <a:latin typeface="SICK Franklin"/>
        </a:defRPr>
      </a:lvl8pPr>
      <a:lvl9pPr marL="1828800" algn="l" rtl="0" fontAlgn="base">
        <a:lnSpc>
          <a:spcPct val="80000"/>
        </a:lnSpc>
        <a:spcBef>
          <a:spcPct val="0"/>
        </a:spcBef>
        <a:spcAft>
          <a:spcPct val="0"/>
        </a:spcAft>
        <a:defRPr sz="2400">
          <a:solidFill>
            <a:schemeClr val="tx2"/>
          </a:solidFill>
          <a:latin typeface="SICK Franklin"/>
        </a:defRPr>
      </a:lvl9pPr>
    </p:titleStyle>
    <p:bodyStyle>
      <a:lvl1pPr marL="271463" indent="-271463" algn="l" rtl="0" fontAlgn="base">
        <a:spcBef>
          <a:spcPts val="600"/>
        </a:spcBef>
        <a:spcAft>
          <a:spcPct val="0"/>
        </a:spcAft>
        <a:buClr>
          <a:srgbClr val="000000"/>
        </a:buClr>
        <a:buSzPct val="100000"/>
        <a:buFont typeface="Wingdings" pitchFamily="2" charset="2"/>
        <a:buChar char="§"/>
        <a:defRPr sz="2000" kern="1200">
          <a:solidFill>
            <a:schemeClr val="tx1"/>
          </a:solidFill>
          <a:latin typeface="+mn-lt"/>
          <a:ea typeface="+mn-ea"/>
          <a:cs typeface="+mn-cs"/>
        </a:defRPr>
      </a:lvl1pPr>
      <a:lvl2pPr marL="541338" indent="-269875" algn="l" rtl="0" fontAlgn="base">
        <a:spcBef>
          <a:spcPts val="600"/>
        </a:spcBef>
        <a:spcAft>
          <a:spcPct val="0"/>
        </a:spcAft>
        <a:buClr>
          <a:srgbClr val="000000"/>
        </a:buClr>
        <a:buSzPct val="100000"/>
        <a:buFont typeface="SICK Franklin Condensed"/>
        <a:buChar char="▸"/>
        <a:defRPr kern="1200">
          <a:solidFill>
            <a:schemeClr val="tx1"/>
          </a:solidFill>
          <a:latin typeface="+mn-lt"/>
          <a:ea typeface="+mn-ea"/>
          <a:cs typeface="+mn-cs"/>
        </a:defRPr>
      </a:lvl2pPr>
      <a:lvl3pPr marL="804863" indent="-263525" algn="l" rtl="0" fontAlgn="base">
        <a:spcBef>
          <a:spcPts val="600"/>
        </a:spcBef>
        <a:spcAft>
          <a:spcPct val="0"/>
        </a:spcAft>
        <a:buClr>
          <a:srgbClr val="000000"/>
        </a:buClr>
        <a:buSzPct val="100000"/>
        <a:buFont typeface="SICK Franklin Condensed"/>
        <a:buChar char="―"/>
        <a:defRPr sz="1600" kern="1200">
          <a:solidFill>
            <a:schemeClr val="tx1"/>
          </a:solidFill>
          <a:latin typeface="+mn-lt"/>
          <a:ea typeface="+mn-ea"/>
          <a:cs typeface="+mn-cs"/>
        </a:defRPr>
      </a:lvl3pPr>
      <a:lvl4pPr marL="1074738" indent="-269875" algn="l" rtl="0" fontAlgn="base">
        <a:spcBef>
          <a:spcPts val="600"/>
        </a:spcBef>
        <a:spcAft>
          <a:spcPct val="0"/>
        </a:spcAft>
        <a:buClr>
          <a:srgbClr val="000000"/>
        </a:buClr>
        <a:buSzPct val="100000"/>
        <a:buFont typeface="SICK Franklin Condensed"/>
        <a:buChar char="―"/>
        <a:defRPr sz="1600" kern="1200">
          <a:solidFill>
            <a:schemeClr val="tx1"/>
          </a:solidFill>
          <a:latin typeface="+mn-lt"/>
          <a:ea typeface="+mn-ea"/>
          <a:cs typeface="+mn-cs"/>
        </a:defRPr>
      </a:lvl4pPr>
      <a:lvl5pPr marL="1346200" indent="-271463" algn="l" rtl="0" fontAlgn="base">
        <a:spcBef>
          <a:spcPts val="600"/>
        </a:spcBef>
        <a:spcAft>
          <a:spcPct val="0"/>
        </a:spcAft>
        <a:buSzPct val="100000"/>
        <a:buFont typeface="Arial" charset="0"/>
        <a:buChar char="•"/>
        <a:defRPr sz="1100" kern="120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1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13.xml"/><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3.xml"/></Relationships>
</file>

<file path=ppt/slides/_rels/slide1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0.xml"/><Relationship Id="rId1" Type="http://schemas.openxmlformats.org/officeDocument/2006/relationships/slideLayout" Target="../slideLayouts/slideLayout127.xml"/><Relationship Id="rId5" Type="http://schemas.openxmlformats.org/officeDocument/2006/relationships/image" Target="../media/image45.jpeg"/><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1.xml"/><Relationship Id="rId1" Type="http://schemas.openxmlformats.org/officeDocument/2006/relationships/slideLayout" Target="../slideLayouts/slideLayout113.xml"/></Relationships>
</file>

<file path=ppt/slides/_rels/slide1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2.xml"/><Relationship Id="rId1" Type="http://schemas.openxmlformats.org/officeDocument/2006/relationships/slideLayout" Target="../slideLayouts/slideLayout130.xml"/><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113.xml"/><Relationship Id="rId5" Type="http://schemas.openxmlformats.org/officeDocument/2006/relationships/image" Target="../media/image50.png"/><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3.xml"/><Relationship Id="rId2" Type="http://schemas.openxmlformats.org/officeDocument/2006/relationships/video" Target="../media/media1.avi"/><Relationship Id="rId1" Type="http://schemas.microsoft.com/office/2007/relationships/media" Target="../media/media1.avi"/><Relationship Id="rId5" Type="http://schemas.openxmlformats.org/officeDocument/2006/relationships/image" Target="../media/image51.png"/><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13.xml"/></Relationships>
</file>

<file path=ppt/slides/_rels/slide1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13.xml"/></Relationships>
</file>

<file path=ppt/slides/_rels/slide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png"/><Relationship Id="rId7"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13.jpeg"/><Relationship Id="rId5" Type="http://schemas.openxmlformats.org/officeDocument/2006/relationships/image" Target="../media/image12.png"/><Relationship Id="rId10" Type="http://schemas.openxmlformats.org/officeDocument/2006/relationships/image" Target="../media/image17.jpeg"/><Relationship Id="rId4" Type="http://schemas.openxmlformats.org/officeDocument/2006/relationships/image" Target="../media/image11.png"/><Relationship Id="rId9" Type="http://schemas.openxmlformats.org/officeDocument/2006/relationships/image" Target="../media/image16.jpeg"/></Relationships>
</file>

<file path=ppt/slides/_rels/slide2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13.xml"/></Relationships>
</file>

<file path=ppt/slides/_rels/slide21.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13.xml"/></Relationships>
</file>

<file path=ppt/slides/_rels/slide2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13.xml"/></Relationships>
</file>

<file path=ppt/slides/_rels/slide2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13.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113.xml"/></Relationships>
</file>

<file path=ppt/slides/_rels/slide25.xml.rels><?xml version="1.0" encoding="UTF-8" standalone="yes"?>
<Relationships xmlns="http://schemas.openxmlformats.org/package/2006/relationships"><Relationship Id="rId3" Type="http://schemas.openxmlformats.org/officeDocument/2006/relationships/hyperlink" Target="mailto:alexey.svotin@sickmaihak.ru" TargetMode="External"/><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hyperlink" Target="http://www.sick.com/ru1/ru-ru/home/Pages/Homepage1.aspx"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57.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xml"/><Relationship Id="rId1" Type="http://schemas.openxmlformats.org/officeDocument/2006/relationships/slideLayout" Target="../slideLayouts/slideLayout5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jpeg"/></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89.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5.xml"/><Relationship Id="rId1" Type="http://schemas.openxmlformats.org/officeDocument/2006/relationships/slideLayout" Target="../slideLayouts/slideLayout109.xml"/><Relationship Id="rId5" Type="http://schemas.openxmlformats.org/officeDocument/2006/relationships/image" Target="../media/image35.emf"/><Relationship Id="rId4" Type="http://schemas.openxmlformats.org/officeDocument/2006/relationships/image" Target="../media/image34.jpe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blipFill dpi="0" rotWithShape="1">
            <a:blip r:embed="rId3">
              <a:extLst>
                <a:ext uri="{28A0092B-C50C-407E-A947-70E740481C1C}">
                  <a14:useLocalDpi xmlns:a14="http://schemas.microsoft.com/office/drawing/2010/main" val="0"/>
                </a:ext>
              </a:extLst>
            </a:blip>
            <a:srcRect/>
            <a:stretch>
              <a:fillRect/>
            </a:stretch>
          </a:blipFill>
        </p:spPr>
        <p:txBody>
          <a:bodyPr/>
          <a:lstStyle/>
          <a:p>
            <a:r>
              <a:rPr lang="ru-RU" altLang="de-DE" sz="2400" spc="-40" dirty="0" smtClean="0"/>
              <a:t/>
            </a:r>
            <a:br>
              <a:rPr lang="ru-RU" altLang="de-DE" sz="2400" spc="-40" dirty="0" smtClean="0"/>
            </a:br>
            <a:r>
              <a:rPr lang="ru-RU" altLang="de-DE" sz="2400" spc="-40" dirty="0" smtClean="0"/>
              <a:t/>
            </a:r>
            <a:br>
              <a:rPr lang="ru-RU" altLang="de-DE" sz="2400" spc="-40" dirty="0" smtClean="0"/>
            </a:br>
            <a:r>
              <a:rPr lang="ru-RU" altLang="de-DE" sz="2400" spc="-40" dirty="0" smtClean="0"/>
              <a:t/>
            </a:r>
            <a:br>
              <a:rPr lang="ru-RU" altLang="de-DE" sz="2400" spc="-40" dirty="0" smtClean="0"/>
            </a:br>
            <a:r>
              <a:rPr lang="ru-RU" altLang="de-DE" sz="2400" spc="-40" dirty="0" smtClean="0"/>
              <a:t/>
            </a:r>
            <a:br>
              <a:rPr lang="ru-RU" altLang="de-DE" sz="2400" spc="-40" dirty="0" smtClean="0"/>
            </a:br>
            <a:r>
              <a:rPr lang="ru-RU" altLang="de-DE" sz="2400" spc="-40" dirty="0" smtClean="0"/>
              <a:t/>
            </a:r>
            <a:br>
              <a:rPr lang="ru-RU" altLang="de-DE" sz="2400" spc="-40" dirty="0" smtClean="0"/>
            </a:br>
            <a:r>
              <a:rPr lang="ru-RU" altLang="de-DE" sz="2400" spc="-40" dirty="0" smtClean="0"/>
              <a:t/>
            </a:r>
            <a:br>
              <a:rPr lang="ru-RU" altLang="de-DE" sz="2400" spc="-40" dirty="0" smtClean="0"/>
            </a:br>
            <a:r>
              <a:rPr lang="ru-RU" altLang="de-DE" sz="2400" spc="-40" dirty="0" smtClean="0"/>
              <a:t/>
            </a:r>
            <a:br>
              <a:rPr lang="ru-RU" altLang="de-DE" sz="2400" spc="-40" dirty="0" smtClean="0"/>
            </a:br>
            <a:r>
              <a:rPr lang="ru-RU" altLang="de-DE" sz="2400" spc="-40" dirty="0" smtClean="0"/>
              <a:t/>
            </a:r>
            <a:br>
              <a:rPr lang="ru-RU" altLang="de-DE" sz="2400" spc="-40" dirty="0" smtClean="0"/>
            </a:br>
            <a:r>
              <a:rPr lang="ru-RU" altLang="de-DE" sz="2400" spc="-40" dirty="0" smtClean="0"/>
              <a:t/>
            </a:r>
            <a:br>
              <a:rPr lang="ru-RU" altLang="de-DE" sz="2400" spc="-40" dirty="0" smtClean="0"/>
            </a:br>
            <a:endParaRPr lang="en-US" sz="2400" spc="-40" dirty="0"/>
          </a:p>
        </p:txBody>
      </p:sp>
      <p:sp>
        <p:nvSpPr>
          <p:cNvPr id="4" name="Untertitel 3"/>
          <p:cNvSpPr>
            <a:spLocks noGrp="1"/>
          </p:cNvSpPr>
          <p:nvPr>
            <p:ph type="subTitle" idx="1"/>
          </p:nvPr>
        </p:nvSpPr>
        <p:spPr/>
        <p:txBody>
          <a:bodyPr/>
          <a:lstStyle/>
          <a:p>
            <a:r>
              <a:rPr lang="ru-RU" dirty="0" smtClean="0"/>
              <a:t>Ломов Николай</a:t>
            </a:r>
            <a:endParaRPr lang="ru-RU" dirty="0"/>
          </a:p>
          <a:p>
            <a:r>
              <a:rPr lang="ru-RU" dirty="0" smtClean="0"/>
              <a:t>Представительство ЗИК АГ, Москва</a:t>
            </a:r>
            <a:endParaRPr lang="en-US" altLang="de-DE" dirty="0" smtClean="0"/>
          </a:p>
          <a:p>
            <a:r>
              <a:rPr lang="ru-RU" altLang="de-DE" dirty="0" smtClean="0"/>
              <a:t>Октябрь </a:t>
            </a:r>
            <a:r>
              <a:rPr lang="en-US" altLang="de-DE" dirty="0" smtClean="0"/>
              <a:t>2016</a:t>
            </a:r>
            <a:endParaRPr lang="en-US" altLang="de-DE" dirty="0"/>
          </a:p>
          <a:p>
            <a:endParaRPr lang="de-DE" dirty="0"/>
          </a:p>
        </p:txBody>
      </p:sp>
      <p:sp>
        <p:nvSpPr>
          <p:cNvPr id="5" name="Прямоугольник 4"/>
          <p:cNvSpPr/>
          <p:nvPr/>
        </p:nvSpPr>
        <p:spPr>
          <a:xfrm>
            <a:off x="452500" y="3020759"/>
            <a:ext cx="6832984" cy="1200329"/>
          </a:xfrm>
          <a:prstGeom prst="rect">
            <a:avLst/>
          </a:prstGeom>
        </p:spPr>
        <p:txBody>
          <a:bodyPr wrap="square">
            <a:spAutoFit/>
          </a:bodyPr>
          <a:lstStyle/>
          <a:p>
            <a:r>
              <a:rPr lang="ru-RU" sz="2400" dirty="0">
                <a:solidFill>
                  <a:schemeClr val="tx2"/>
                </a:solidFill>
              </a:rPr>
              <a:t>Новое поколение ультразвуковых расходомеров газа FLOWSIC600 XT – инструмент оптимизации затрат при строительстве и реконструкции ГРС</a:t>
            </a:r>
          </a:p>
        </p:txBody>
      </p:sp>
    </p:spTree>
    <p:extLst>
      <p:ext uri="{BB962C8B-B14F-4D97-AF65-F5344CB8AC3E}">
        <p14:creationId xmlns:p14="http://schemas.microsoft.com/office/powerpoint/2010/main" val="2698719775"/>
      </p:ext>
    </p:extLst>
  </p:cSld>
  <p:clrMapOvr>
    <a:masterClrMapping/>
  </p:clrMapOvr>
  <p:transition>
    <p:zoom/>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Foliennummernplatzhalter 1"/>
          <p:cNvSpPr>
            <a:spLocks noGrp="1"/>
          </p:cNvSpPr>
          <p:nvPr>
            <p:ph type="sldNum" sz="quarter" idx="4294967295"/>
          </p:nvPr>
        </p:nvSpPr>
        <p:spPr bwMode="auto">
          <a:xfrm>
            <a:off x="7950774" y="6653212"/>
            <a:ext cx="904875" cy="179387"/>
          </a:xfrm>
          <a:prstGeom prst="rect">
            <a:avLst/>
          </a:prstGeom>
          <a:noFill/>
          <a:ln>
            <a:miter lim="800000"/>
            <a:headEnd/>
            <a:tailEnd/>
          </a:ln>
        </p:spPr>
        <p:txBody>
          <a:bodyPr wrap="square" numCol="1" compatLnSpc="1">
            <a:prstTxWarp prst="textNoShape">
              <a:avLst/>
            </a:prstTxWarp>
          </a:bodyPr>
          <a:lstStyle/>
          <a:p>
            <a:pPr fontAlgn="base">
              <a:spcBef>
                <a:spcPct val="0"/>
              </a:spcBef>
              <a:spcAft>
                <a:spcPct val="0"/>
              </a:spcAft>
            </a:pPr>
            <a:fld id="{1C007AC3-05DA-4185-AC08-DBB772867A3E}" type="slidenum">
              <a:rPr lang="en-US">
                <a:solidFill>
                  <a:schemeClr val="tx1"/>
                </a:solidFill>
                <a:cs typeface="Arial" charset="0"/>
              </a:rPr>
              <a:pPr fontAlgn="base">
                <a:spcBef>
                  <a:spcPct val="0"/>
                </a:spcBef>
                <a:spcAft>
                  <a:spcPct val="0"/>
                </a:spcAft>
              </a:pPr>
              <a:t>10</a:t>
            </a:fld>
            <a:endParaRPr lang="en-US">
              <a:solidFill>
                <a:schemeClr val="tx1"/>
              </a:solidFill>
              <a:cs typeface="Arial" charset="0"/>
            </a:endParaRPr>
          </a:p>
        </p:txBody>
      </p:sp>
      <p:sp>
        <p:nvSpPr>
          <p:cNvPr id="97283" name="Datumsplatzhalter 3"/>
          <p:cNvSpPr>
            <a:spLocks noGrp="1"/>
          </p:cNvSpPr>
          <p:nvPr>
            <p:ph type="dt" sz="quarter" idx="4294967295"/>
          </p:nvPr>
        </p:nvSpPr>
        <p:spPr bwMode="auto">
          <a:xfrm>
            <a:off x="-1013" y="6653212"/>
            <a:ext cx="903287" cy="179387"/>
          </a:xfrm>
          <a:prstGeom prst="rect">
            <a:avLst/>
          </a:prstGeom>
          <a:noFill/>
          <a:ln>
            <a:miter lim="800000"/>
            <a:headEnd/>
            <a:tailEnd/>
          </a:ln>
        </p:spPr>
        <p:txBody>
          <a:bodyPr wrap="square" numCol="1" compatLnSpc="1">
            <a:prstTxWarp prst="textNoShape">
              <a:avLst/>
            </a:prstTxWarp>
          </a:bodyPr>
          <a:lstStyle/>
          <a:p>
            <a:pPr fontAlgn="base">
              <a:spcBef>
                <a:spcPct val="0"/>
              </a:spcBef>
              <a:spcAft>
                <a:spcPct val="0"/>
              </a:spcAft>
            </a:pPr>
            <a:endParaRPr lang="en-US" dirty="0" smtClean="0">
              <a:solidFill>
                <a:schemeClr val="tx1"/>
              </a:solidFill>
              <a:cs typeface="Arial" charset="0"/>
            </a:endParaRPr>
          </a:p>
        </p:txBody>
      </p:sp>
      <p:sp>
        <p:nvSpPr>
          <p:cNvPr id="7" name="Titel 6"/>
          <p:cNvSpPr>
            <a:spLocks noGrp="1"/>
          </p:cNvSpPr>
          <p:nvPr>
            <p:ph type="title"/>
          </p:nvPr>
        </p:nvSpPr>
        <p:spPr>
          <a:xfrm>
            <a:off x="525463" y="287338"/>
            <a:ext cx="7307262" cy="261937"/>
          </a:xfrm>
        </p:spPr>
        <p:txBody>
          <a:bodyPr/>
          <a:lstStyle/>
          <a:p>
            <a:pPr fontAlgn="auto">
              <a:spcAft>
                <a:spcPts val="0"/>
              </a:spcAft>
              <a:defRPr/>
            </a:pPr>
            <a:r>
              <a:rPr lang="en-US" dirty="0" smtClean="0"/>
              <a:t>FLOWSIC600-XT</a:t>
            </a:r>
            <a:endParaRPr lang="en-US" dirty="0"/>
          </a:p>
        </p:txBody>
      </p:sp>
      <p:sp>
        <p:nvSpPr>
          <p:cNvPr id="97287" name="Textfeld 12"/>
          <p:cNvSpPr txBox="1">
            <a:spLocks noChangeArrowheads="1"/>
          </p:cNvSpPr>
          <p:nvPr/>
        </p:nvSpPr>
        <p:spPr bwMode="auto">
          <a:xfrm>
            <a:off x="754016" y="1125537"/>
            <a:ext cx="5940759" cy="461665"/>
          </a:xfrm>
          <a:prstGeom prst="rect">
            <a:avLst/>
          </a:prstGeom>
          <a:noFill/>
          <a:ln w="9525">
            <a:noFill/>
            <a:miter lim="800000"/>
            <a:headEnd/>
            <a:tailEnd/>
          </a:ln>
        </p:spPr>
        <p:txBody>
          <a:bodyPr wrap="square">
            <a:spAutoFit/>
          </a:bodyPr>
          <a:lstStyle/>
          <a:p>
            <a:pPr marL="177800" indent="-177800" algn="l">
              <a:spcBef>
                <a:spcPct val="30000"/>
              </a:spcBef>
            </a:pPr>
            <a:r>
              <a:rPr lang="ru-RU" altLang="de-DE" sz="2400" b="1" dirty="0" smtClean="0">
                <a:latin typeface="SICK Franklin Condensed"/>
              </a:rPr>
              <a:t>Модельный ряд</a:t>
            </a:r>
            <a:endParaRPr lang="en-US" altLang="de-DE" sz="2400" b="1" dirty="0">
              <a:latin typeface="SICK Franklin Condensed"/>
            </a:endParaRPr>
          </a:p>
        </p:txBody>
      </p:sp>
      <p:cxnSp>
        <p:nvCxnSpPr>
          <p:cNvPr id="10" name="Gerade Verbindung 9"/>
          <p:cNvCxnSpPr/>
          <p:nvPr/>
        </p:nvCxnSpPr>
        <p:spPr>
          <a:xfrm>
            <a:off x="735587" y="1587499"/>
            <a:ext cx="5599149"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97289" name="Rechteck 22"/>
          <p:cNvSpPr>
            <a:spLocks noChangeArrowheads="1"/>
          </p:cNvSpPr>
          <p:nvPr/>
        </p:nvSpPr>
        <p:spPr bwMode="auto">
          <a:xfrm>
            <a:off x="1034037" y="1889124"/>
            <a:ext cx="7127875" cy="400110"/>
          </a:xfrm>
          <a:prstGeom prst="rect">
            <a:avLst/>
          </a:prstGeom>
          <a:noFill/>
          <a:ln w="9525">
            <a:noFill/>
            <a:miter lim="800000"/>
            <a:headEnd/>
            <a:tailEnd/>
          </a:ln>
        </p:spPr>
        <p:txBody>
          <a:bodyPr>
            <a:spAutoFit/>
          </a:bodyPr>
          <a:lstStyle/>
          <a:p>
            <a:pPr marL="285750" indent="-285750" algn="l">
              <a:buFont typeface="Wingdings" pitchFamily="2" charset="2"/>
              <a:buChar char="ü"/>
            </a:pPr>
            <a:r>
              <a:rPr lang="en-US" sz="2000" dirty="0">
                <a:latin typeface="SICK Franklin Condensed"/>
              </a:rPr>
              <a:t>4 </a:t>
            </a:r>
            <a:r>
              <a:rPr lang="ru-RU" sz="2000" dirty="0">
                <a:latin typeface="SICK Franklin Condensed"/>
              </a:rPr>
              <a:t>модификации</a:t>
            </a:r>
            <a:r>
              <a:rPr lang="en-US" sz="2000" dirty="0">
                <a:latin typeface="SICK Franklin Condensed"/>
              </a:rPr>
              <a:t>: FLOWSIC600-XT, 2-plex, </a:t>
            </a:r>
            <a:r>
              <a:rPr lang="en-US" sz="2000" dirty="0" err="1">
                <a:latin typeface="SICK Franklin Condensed"/>
              </a:rPr>
              <a:t>Quatro</a:t>
            </a:r>
            <a:r>
              <a:rPr lang="en-US" sz="2000" dirty="0">
                <a:latin typeface="SICK Franklin Condensed"/>
              </a:rPr>
              <a:t>, Forte</a:t>
            </a:r>
            <a:endParaRPr lang="en-US" sz="2400" dirty="0">
              <a:latin typeface="SICK Franklin Condensed"/>
            </a:endParaRPr>
          </a:p>
        </p:txBody>
      </p:sp>
      <p:sp>
        <p:nvSpPr>
          <p:cNvPr id="22" name="Legende mit Pfeil nach unten 5"/>
          <p:cNvSpPr>
            <a:spLocks noChangeArrowheads="1"/>
          </p:cNvSpPr>
          <p:nvPr/>
        </p:nvSpPr>
        <p:spPr bwMode="auto">
          <a:xfrm>
            <a:off x="1088012" y="4538662"/>
            <a:ext cx="1838325" cy="871537"/>
          </a:xfrm>
          <a:prstGeom prst="downArrowCallout">
            <a:avLst>
              <a:gd name="adj1" fmla="val 25000"/>
              <a:gd name="adj2" fmla="val 25000"/>
              <a:gd name="adj3" fmla="val 24999"/>
              <a:gd name="adj4" fmla="val 64977"/>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buFont typeface="Times New Roman" pitchFamily="18" charset="0"/>
              <a:buNone/>
            </a:pPr>
            <a:r>
              <a:rPr lang="ru-RU" altLang="de-DE" sz="1600" dirty="0" smtClean="0">
                <a:solidFill>
                  <a:schemeClr val="bg1"/>
                </a:solidFill>
                <a:cs typeface="Arial" charset="0"/>
              </a:rPr>
              <a:t>      Стандартный</a:t>
            </a:r>
            <a:endParaRPr lang="en-US" altLang="de-DE" sz="1600" dirty="0">
              <a:solidFill>
                <a:schemeClr val="bg1"/>
              </a:solidFill>
              <a:cs typeface="Arial" charset="0"/>
            </a:endParaRPr>
          </a:p>
        </p:txBody>
      </p:sp>
      <p:sp>
        <p:nvSpPr>
          <p:cNvPr id="24" name="Legende mit Pfeil nach unten 6"/>
          <p:cNvSpPr>
            <a:spLocks noChangeArrowheads="1"/>
          </p:cNvSpPr>
          <p:nvPr/>
        </p:nvSpPr>
        <p:spPr bwMode="auto">
          <a:xfrm>
            <a:off x="3131124" y="4543424"/>
            <a:ext cx="1871663" cy="871538"/>
          </a:xfrm>
          <a:prstGeom prst="downArrowCallout">
            <a:avLst>
              <a:gd name="adj1" fmla="val 25000"/>
              <a:gd name="adj2" fmla="val 25000"/>
              <a:gd name="adj3" fmla="val 24999"/>
              <a:gd name="adj4" fmla="val 64977"/>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buFont typeface="Times New Roman" pitchFamily="18" charset="0"/>
              <a:buNone/>
            </a:pPr>
            <a:r>
              <a:rPr lang="ru-RU" altLang="de-DE" sz="1600" dirty="0" smtClean="0">
                <a:solidFill>
                  <a:schemeClr val="bg1"/>
                </a:solidFill>
                <a:cs typeface="Arial" charset="0"/>
              </a:rPr>
              <a:t>     С контрольным</a:t>
            </a:r>
          </a:p>
          <a:p>
            <a:pPr>
              <a:buFont typeface="Times New Roman" pitchFamily="18" charset="0"/>
              <a:buNone/>
            </a:pPr>
            <a:r>
              <a:rPr lang="ru-RU" altLang="de-DE" sz="1600" dirty="0" smtClean="0">
                <a:solidFill>
                  <a:schemeClr val="bg1"/>
                </a:solidFill>
                <a:cs typeface="Arial" charset="0"/>
              </a:rPr>
              <a:t>           счётчиком</a:t>
            </a:r>
            <a:endParaRPr lang="en-US" altLang="de-DE" sz="1600" dirty="0">
              <a:solidFill>
                <a:schemeClr val="bg1"/>
              </a:solidFill>
              <a:cs typeface="Arial" charset="0"/>
            </a:endParaRPr>
          </a:p>
        </p:txBody>
      </p:sp>
      <p:sp>
        <p:nvSpPr>
          <p:cNvPr id="25" name="Legende mit Pfeil nach unten 7"/>
          <p:cNvSpPr>
            <a:spLocks noChangeArrowheads="1"/>
          </p:cNvSpPr>
          <p:nvPr/>
        </p:nvSpPr>
        <p:spPr bwMode="auto">
          <a:xfrm>
            <a:off x="5183762" y="4538662"/>
            <a:ext cx="1835150" cy="871537"/>
          </a:xfrm>
          <a:prstGeom prst="downArrowCallout">
            <a:avLst>
              <a:gd name="adj1" fmla="val 25000"/>
              <a:gd name="adj2" fmla="val 25000"/>
              <a:gd name="adj3" fmla="val 24999"/>
              <a:gd name="adj4" fmla="val 64977"/>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buFont typeface="Times New Roman" pitchFamily="18" charset="0"/>
              <a:buNone/>
            </a:pPr>
            <a:r>
              <a:rPr lang="ru-RU" altLang="de-DE" sz="1600" dirty="0">
                <a:solidFill>
                  <a:schemeClr val="bg1"/>
                </a:solidFill>
                <a:cs typeface="Arial" charset="0"/>
              </a:rPr>
              <a:t>С резервированием</a:t>
            </a:r>
            <a:endParaRPr lang="en-US" altLang="de-DE" sz="1600" dirty="0">
              <a:solidFill>
                <a:schemeClr val="bg1"/>
              </a:solidFill>
              <a:cs typeface="Arial" charset="0"/>
            </a:endParaRPr>
          </a:p>
        </p:txBody>
      </p:sp>
      <p:sp>
        <p:nvSpPr>
          <p:cNvPr id="26" name="Legende mit Pfeil nach unten 8"/>
          <p:cNvSpPr>
            <a:spLocks noChangeArrowheads="1"/>
          </p:cNvSpPr>
          <p:nvPr/>
        </p:nvSpPr>
        <p:spPr bwMode="auto">
          <a:xfrm>
            <a:off x="7210999" y="4543424"/>
            <a:ext cx="1701800" cy="871538"/>
          </a:xfrm>
          <a:prstGeom prst="downArrowCallout">
            <a:avLst>
              <a:gd name="adj1" fmla="val 25000"/>
              <a:gd name="adj2" fmla="val 25000"/>
              <a:gd name="adj3" fmla="val 24999"/>
              <a:gd name="adj4" fmla="val 64977"/>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buFont typeface="Times New Roman" pitchFamily="18" charset="0"/>
              <a:buNone/>
            </a:pPr>
            <a:r>
              <a:rPr lang="ru-RU" altLang="de-DE" sz="1600" dirty="0">
                <a:solidFill>
                  <a:schemeClr val="bg1"/>
                </a:solidFill>
                <a:cs typeface="Arial" charset="0"/>
              </a:rPr>
              <a:t>С коротким</a:t>
            </a:r>
          </a:p>
          <a:p>
            <a:pPr>
              <a:buFont typeface="Times New Roman" pitchFamily="18" charset="0"/>
              <a:buNone/>
            </a:pPr>
            <a:r>
              <a:rPr lang="ru-RU" altLang="de-DE" sz="1600" dirty="0">
                <a:solidFill>
                  <a:schemeClr val="bg1"/>
                </a:solidFill>
                <a:cs typeface="Arial" charset="0"/>
              </a:rPr>
              <a:t> входным у</a:t>
            </a:r>
            <a:r>
              <a:rPr lang="de-DE" altLang="de-DE" sz="1600" dirty="0">
                <a:solidFill>
                  <a:schemeClr val="bg1"/>
                </a:solidFill>
                <a:cs typeface="Arial" charset="0"/>
              </a:rPr>
              <a:t>ч</a:t>
            </a:r>
            <a:r>
              <a:rPr lang="ru-RU" altLang="de-DE" sz="1600" dirty="0" err="1">
                <a:solidFill>
                  <a:schemeClr val="bg1"/>
                </a:solidFill>
                <a:cs typeface="Arial" charset="0"/>
              </a:rPr>
              <a:t>астком</a:t>
            </a:r>
            <a:r>
              <a:rPr lang="ru-RU" altLang="de-DE" sz="1600" dirty="0">
                <a:solidFill>
                  <a:schemeClr val="bg1"/>
                </a:solidFill>
                <a:cs typeface="Arial" charset="0"/>
              </a:rPr>
              <a:t> </a:t>
            </a:r>
            <a:endParaRPr lang="en-US" altLang="de-DE" sz="1600" dirty="0">
              <a:solidFill>
                <a:schemeClr val="bg1"/>
              </a:solidFill>
              <a:cs typeface="Arial" charset="0"/>
            </a:endParaRPr>
          </a:p>
        </p:txBody>
      </p:sp>
      <p:sp>
        <p:nvSpPr>
          <p:cNvPr id="27" name="Rechteck 10"/>
          <p:cNvSpPr>
            <a:spLocks noChangeArrowheads="1"/>
          </p:cNvSpPr>
          <p:nvPr/>
        </p:nvSpPr>
        <p:spPr bwMode="auto">
          <a:xfrm>
            <a:off x="1088012" y="5794374"/>
            <a:ext cx="1851025" cy="498475"/>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lvl1pPr eaLnBrk="0" hangingPunct="0">
              <a:spcBef>
                <a:spcPts val="600"/>
              </a:spcBef>
              <a:buClr>
                <a:srgbClr val="6E7A82"/>
              </a:buClr>
              <a:buSzPct val="100000"/>
              <a:buFont typeface="Wingdings" pitchFamily="2" charset="2"/>
              <a:buChar char="§"/>
              <a:defRPr sz="2000">
                <a:solidFill>
                  <a:srgbClr val="6E7A82"/>
                </a:solidFill>
                <a:latin typeface="SICK Franklin Condensed" pitchFamily="2" charset="0"/>
              </a:defRPr>
            </a:lvl1pPr>
            <a:lvl2pPr marL="37931725" indent="-37474525" eaLnBrk="0" hangingPunct="0">
              <a:spcBef>
                <a:spcPts val="600"/>
              </a:spcBef>
              <a:buClr>
                <a:srgbClr val="6E7A82"/>
              </a:buClr>
              <a:buSzPct val="100000"/>
              <a:buFont typeface="SICK Franklin Condensed" pitchFamily="2" charset="0"/>
              <a:buChar char="▸"/>
              <a:defRPr>
                <a:solidFill>
                  <a:srgbClr val="6E7A82"/>
                </a:solidFill>
                <a:latin typeface="SICK Franklin Condensed" pitchFamily="2" charset="0"/>
              </a:defRPr>
            </a:lvl2pPr>
            <a:lvl3pPr marL="809625" indent="-266700" eaLnBrk="0" hangingPunct="0">
              <a:spcBef>
                <a:spcPts val="600"/>
              </a:spcBef>
              <a:buClr>
                <a:srgbClr val="6E7A82"/>
              </a:buClr>
              <a:buSzPct val="100000"/>
              <a:buFont typeface="SICK Franklin Condensed" pitchFamily="2" charset="0"/>
              <a:buChar char="―"/>
              <a:defRPr sz="1600">
                <a:solidFill>
                  <a:srgbClr val="6E7A82"/>
                </a:solidFill>
                <a:latin typeface="SICK Franklin Condensed" pitchFamily="2" charset="0"/>
              </a:defRPr>
            </a:lvl3pPr>
            <a:lvl4pPr marL="1073150" indent="-261938" eaLnBrk="0" hangingPunct="0">
              <a:spcBef>
                <a:spcPts val="600"/>
              </a:spcBef>
              <a:buClr>
                <a:srgbClr val="6E7A82"/>
              </a:buClr>
              <a:buSzPct val="100000"/>
              <a:buFont typeface="SICK Franklin Condensed" pitchFamily="2" charset="0"/>
              <a:buChar char="―"/>
              <a:defRPr sz="1600">
                <a:solidFill>
                  <a:srgbClr val="6E7A82"/>
                </a:solidFill>
                <a:latin typeface="SICK Franklin Condensed" pitchFamily="2" charset="0"/>
              </a:defRPr>
            </a:lvl4pPr>
            <a:lvl5pPr marL="2157413" indent="-228600" eaLnBrk="0" hangingPunct="0">
              <a:spcBef>
                <a:spcPts val="600"/>
              </a:spcBef>
              <a:buSzPct val="100000"/>
              <a:buFont typeface="Arial" pitchFamily="34" charset="0"/>
              <a:buChar char="•"/>
              <a:defRPr sz="1100">
                <a:solidFill>
                  <a:schemeClr val="accent1"/>
                </a:solidFill>
                <a:latin typeface="SICK Franklin Condensed" pitchFamily="2" charset="0"/>
              </a:defRPr>
            </a:lvl5pPr>
            <a:lvl6pPr marL="26146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6pPr>
            <a:lvl7pPr marL="30718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7pPr>
            <a:lvl8pPr marL="35290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8pPr>
            <a:lvl9pPr marL="39862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9pPr>
          </a:lstStyle>
          <a:p>
            <a:pPr eaLnBrk="1" fontAlgn="auto" hangingPunct="1">
              <a:spcBef>
                <a:spcPct val="0"/>
              </a:spcBef>
              <a:spcAft>
                <a:spcPts val="0"/>
              </a:spcAft>
              <a:buClrTx/>
              <a:buSzTx/>
              <a:buFont typeface="Times New Roman" pitchFamily="18" charset="0"/>
              <a:buNone/>
              <a:defRPr/>
            </a:pPr>
            <a:r>
              <a:rPr lang="en-US" altLang="de-DE" sz="1600" b="1" dirty="0" smtClean="0">
                <a:solidFill>
                  <a:schemeClr val="bg1"/>
                </a:solidFill>
                <a:latin typeface="+mn-lt"/>
                <a:ea typeface="MS PGothic" pitchFamily="34" charset="-128"/>
              </a:rPr>
              <a:t>FLOWSIC600-XT</a:t>
            </a:r>
          </a:p>
        </p:txBody>
      </p:sp>
      <p:sp>
        <p:nvSpPr>
          <p:cNvPr id="28" name="Rechteck 11"/>
          <p:cNvSpPr>
            <a:spLocks noChangeArrowheads="1"/>
          </p:cNvSpPr>
          <p:nvPr/>
        </p:nvSpPr>
        <p:spPr bwMode="auto">
          <a:xfrm>
            <a:off x="3131124" y="5795962"/>
            <a:ext cx="1871663" cy="498475"/>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lvl1pPr eaLnBrk="0" hangingPunct="0">
              <a:spcBef>
                <a:spcPts val="600"/>
              </a:spcBef>
              <a:buClr>
                <a:srgbClr val="6E7A82"/>
              </a:buClr>
              <a:buSzPct val="100000"/>
              <a:buFont typeface="Wingdings" pitchFamily="2" charset="2"/>
              <a:buChar char="§"/>
              <a:defRPr sz="2000">
                <a:solidFill>
                  <a:srgbClr val="6E7A82"/>
                </a:solidFill>
                <a:latin typeface="SICK Franklin Condensed" pitchFamily="2" charset="0"/>
              </a:defRPr>
            </a:lvl1pPr>
            <a:lvl2pPr marL="37931725" indent="-37474525" eaLnBrk="0" hangingPunct="0">
              <a:spcBef>
                <a:spcPts val="600"/>
              </a:spcBef>
              <a:buClr>
                <a:srgbClr val="6E7A82"/>
              </a:buClr>
              <a:buSzPct val="100000"/>
              <a:buFont typeface="SICK Franklin Condensed" pitchFamily="2" charset="0"/>
              <a:buChar char="▸"/>
              <a:defRPr>
                <a:solidFill>
                  <a:srgbClr val="6E7A82"/>
                </a:solidFill>
                <a:latin typeface="SICK Franklin Condensed" pitchFamily="2" charset="0"/>
              </a:defRPr>
            </a:lvl2pPr>
            <a:lvl3pPr marL="809625" indent="-266700" eaLnBrk="0" hangingPunct="0">
              <a:spcBef>
                <a:spcPts val="600"/>
              </a:spcBef>
              <a:buClr>
                <a:srgbClr val="6E7A82"/>
              </a:buClr>
              <a:buSzPct val="100000"/>
              <a:buFont typeface="SICK Franklin Condensed" pitchFamily="2" charset="0"/>
              <a:buChar char="―"/>
              <a:defRPr sz="1600">
                <a:solidFill>
                  <a:srgbClr val="6E7A82"/>
                </a:solidFill>
                <a:latin typeface="SICK Franklin Condensed" pitchFamily="2" charset="0"/>
              </a:defRPr>
            </a:lvl3pPr>
            <a:lvl4pPr marL="1073150" indent="-261938" eaLnBrk="0" hangingPunct="0">
              <a:spcBef>
                <a:spcPts val="600"/>
              </a:spcBef>
              <a:buClr>
                <a:srgbClr val="6E7A82"/>
              </a:buClr>
              <a:buSzPct val="100000"/>
              <a:buFont typeface="SICK Franklin Condensed" pitchFamily="2" charset="0"/>
              <a:buChar char="―"/>
              <a:defRPr sz="1600">
                <a:solidFill>
                  <a:srgbClr val="6E7A82"/>
                </a:solidFill>
                <a:latin typeface="SICK Franklin Condensed" pitchFamily="2" charset="0"/>
              </a:defRPr>
            </a:lvl4pPr>
            <a:lvl5pPr marL="2157413" indent="-228600" eaLnBrk="0" hangingPunct="0">
              <a:spcBef>
                <a:spcPts val="600"/>
              </a:spcBef>
              <a:buSzPct val="100000"/>
              <a:buFont typeface="Arial" pitchFamily="34" charset="0"/>
              <a:buChar char="•"/>
              <a:defRPr sz="1100">
                <a:solidFill>
                  <a:schemeClr val="accent1"/>
                </a:solidFill>
                <a:latin typeface="SICK Franklin Condensed" pitchFamily="2" charset="0"/>
              </a:defRPr>
            </a:lvl5pPr>
            <a:lvl6pPr marL="26146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6pPr>
            <a:lvl7pPr marL="30718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7pPr>
            <a:lvl8pPr marL="35290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8pPr>
            <a:lvl9pPr marL="39862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9pPr>
          </a:lstStyle>
          <a:p>
            <a:pPr eaLnBrk="1" fontAlgn="auto" hangingPunct="1">
              <a:spcBef>
                <a:spcPct val="0"/>
              </a:spcBef>
              <a:spcAft>
                <a:spcPts val="0"/>
              </a:spcAft>
              <a:buClrTx/>
              <a:buSzTx/>
              <a:buFont typeface="Times New Roman" pitchFamily="18" charset="0"/>
              <a:buNone/>
              <a:defRPr/>
            </a:pPr>
            <a:r>
              <a:rPr lang="en-US" altLang="de-DE" sz="1600" b="1" dirty="0" smtClean="0">
                <a:solidFill>
                  <a:schemeClr val="bg1"/>
                </a:solidFill>
                <a:latin typeface="+mn-lt"/>
                <a:ea typeface="MS PGothic" pitchFamily="34" charset="-128"/>
              </a:rPr>
              <a:t>FLOWSIC600-XT </a:t>
            </a:r>
          </a:p>
          <a:p>
            <a:pPr eaLnBrk="1" fontAlgn="auto" hangingPunct="1">
              <a:spcBef>
                <a:spcPct val="0"/>
              </a:spcBef>
              <a:spcAft>
                <a:spcPts val="0"/>
              </a:spcAft>
              <a:buClrTx/>
              <a:buSzTx/>
              <a:buFont typeface="Times New Roman" pitchFamily="18" charset="0"/>
              <a:buNone/>
              <a:defRPr/>
            </a:pPr>
            <a:r>
              <a:rPr lang="en-US" altLang="de-DE" sz="1600" b="1" dirty="0" smtClean="0">
                <a:solidFill>
                  <a:schemeClr val="bg1"/>
                </a:solidFill>
                <a:latin typeface="+mn-lt"/>
                <a:ea typeface="MS PGothic" pitchFamily="34" charset="-128"/>
              </a:rPr>
              <a:t>2plex</a:t>
            </a:r>
            <a:endParaRPr lang="en-US" altLang="de-DE" sz="1600" b="1" dirty="0">
              <a:solidFill>
                <a:schemeClr val="bg1"/>
              </a:solidFill>
              <a:latin typeface="+mn-lt"/>
              <a:ea typeface="MS PGothic" pitchFamily="34" charset="-128"/>
            </a:endParaRPr>
          </a:p>
        </p:txBody>
      </p:sp>
      <p:sp>
        <p:nvSpPr>
          <p:cNvPr id="29" name="Rechteck 12"/>
          <p:cNvSpPr>
            <a:spLocks noChangeArrowheads="1"/>
          </p:cNvSpPr>
          <p:nvPr/>
        </p:nvSpPr>
        <p:spPr bwMode="auto">
          <a:xfrm>
            <a:off x="5183762" y="5780087"/>
            <a:ext cx="1835150" cy="498475"/>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lvl1pPr eaLnBrk="0" hangingPunct="0">
              <a:spcBef>
                <a:spcPts val="600"/>
              </a:spcBef>
              <a:buClr>
                <a:srgbClr val="6E7A82"/>
              </a:buClr>
              <a:buSzPct val="100000"/>
              <a:buFont typeface="Wingdings" pitchFamily="2" charset="2"/>
              <a:buChar char="§"/>
              <a:defRPr sz="2000">
                <a:solidFill>
                  <a:srgbClr val="6E7A82"/>
                </a:solidFill>
                <a:latin typeface="SICK Franklin Condensed" pitchFamily="2" charset="0"/>
              </a:defRPr>
            </a:lvl1pPr>
            <a:lvl2pPr marL="37931725" indent="-37474525" eaLnBrk="0" hangingPunct="0">
              <a:spcBef>
                <a:spcPts val="600"/>
              </a:spcBef>
              <a:buClr>
                <a:srgbClr val="6E7A82"/>
              </a:buClr>
              <a:buSzPct val="100000"/>
              <a:buFont typeface="SICK Franklin Condensed" pitchFamily="2" charset="0"/>
              <a:buChar char="▸"/>
              <a:defRPr>
                <a:solidFill>
                  <a:srgbClr val="6E7A82"/>
                </a:solidFill>
                <a:latin typeface="SICK Franklin Condensed" pitchFamily="2" charset="0"/>
              </a:defRPr>
            </a:lvl2pPr>
            <a:lvl3pPr marL="809625" indent="-266700" eaLnBrk="0" hangingPunct="0">
              <a:spcBef>
                <a:spcPts val="600"/>
              </a:spcBef>
              <a:buClr>
                <a:srgbClr val="6E7A82"/>
              </a:buClr>
              <a:buSzPct val="100000"/>
              <a:buFont typeface="SICK Franklin Condensed" pitchFamily="2" charset="0"/>
              <a:buChar char="―"/>
              <a:defRPr sz="1600">
                <a:solidFill>
                  <a:srgbClr val="6E7A82"/>
                </a:solidFill>
                <a:latin typeface="SICK Franklin Condensed" pitchFamily="2" charset="0"/>
              </a:defRPr>
            </a:lvl3pPr>
            <a:lvl4pPr marL="1073150" indent="-261938" eaLnBrk="0" hangingPunct="0">
              <a:spcBef>
                <a:spcPts val="600"/>
              </a:spcBef>
              <a:buClr>
                <a:srgbClr val="6E7A82"/>
              </a:buClr>
              <a:buSzPct val="100000"/>
              <a:buFont typeface="SICK Franklin Condensed" pitchFamily="2" charset="0"/>
              <a:buChar char="―"/>
              <a:defRPr sz="1600">
                <a:solidFill>
                  <a:srgbClr val="6E7A82"/>
                </a:solidFill>
                <a:latin typeface="SICK Franklin Condensed" pitchFamily="2" charset="0"/>
              </a:defRPr>
            </a:lvl4pPr>
            <a:lvl5pPr marL="2157413" indent="-228600" eaLnBrk="0" hangingPunct="0">
              <a:spcBef>
                <a:spcPts val="600"/>
              </a:spcBef>
              <a:buSzPct val="100000"/>
              <a:buFont typeface="Arial" pitchFamily="34" charset="0"/>
              <a:buChar char="•"/>
              <a:defRPr sz="1100">
                <a:solidFill>
                  <a:schemeClr val="accent1"/>
                </a:solidFill>
                <a:latin typeface="SICK Franklin Condensed" pitchFamily="2" charset="0"/>
              </a:defRPr>
            </a:lvl5pPr>
            <a:lvl6pPr marL="26146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6pPr>
            <a:lvl7pPr marL="30718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7pPr>
            <a:lvl8pPr marL="35290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8pPr>
            <a:lvl9pPr marL="39862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9pPr>
          </a:lstStyle>
          <a:p>
            <a:pPr eaLnBrk="1" fontAlgn="auto" hangingPunct="1">
              <a:spcBef>
                <a:spcPct val="0"/>
              </a:spcBef>
              <a:spcAft>
                <a:spcPts val="0"/>
              </a:spcAft>
              <a:buClrTx/>
              <a:buSzTx/>
              <a:buFont typeface="Times New Roman" pitchFamily="18" charset="0"/>
              <a:buNone/>
              <a:defRPr/>
            </a:pPr>
            <a:r>
              <a:rPr lang="en-US" altLang="de-DE" sz="1600" b="1" dirty="0" smtClean="0">
                <a:solidFill>
                  <a:schemeClr val="bg1"/>
                </a:solidFill>
                <a:latin typeface="+mn-lt"/>
                <a:ea typeface="MS PGothic" pitchFamily="34" charset="-128"/>
              </a:rPr>
              <a:t>FLOWSIC600-XT</a:t>
            </a:r>
            <a:br>
              <a:rPr lang="en-US" altLang="de-DE" sz="1600" b="1" dirty="0" smtClean="0">
                <a:solidFill>
                  <a:schemeClr val="bg1"/>
                </a:solidFill>
                <a:latin typeface="+mn-lt"/>
                <a:ea typeface="MS PGothic" pitchFamily="34" charset="-128"/>
              </a:rPr>
            </a:br>
            <a:r>
              <a:rPr lang="en-US" altLang="de-DE" sz="1600" b="1" dirty="0" err="1" smtClean="0">
                <a:solidFill>
                  <a:schemeClr val="bg1"/>
                </a:solidFill>
                <a:latin typeface="+mn-lt"/>
                <a:ea typeface="MS PGothic" pitchFamily="34" charset="-128"/>
              </a:rPr>
              <a:t>Quatro</a:t>
            </a:r>
            <a:endParaRPr lang="en-US" altLang="de-DE" sz="1600" b="1" dirty="0">
              <a:solidFill>
                <a:schemeClr val="bg1"/>
              </a:solidFill>
              <a:latin typeface="+mn-lt"/>
              <a:ea typeface="MS PGothic" pitchFamily="34" charset="-128"/>
            </a:endParaRPr>
          </a:p>
        </p:txBody>
      </p:sp>
      <p:sp>
        <p:nvSpPr>
          <p:cNvPr id="34" name="Rechteck 13"/>
          <p:cNvSpPr>
            <a:spLocks noChangeArrowheads="1"/>
          </p:cNvSpPr>
          <p:nvPr/>
        </p:nvSpPr>
        <p:spPr bwMode="auto">
          <a:xfrm>
            <a:off x="7190362" y="5780087"/>
            <a:ext cx="1701800" cy="498475"/>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lvl1pPr eaLnBrk="0" hangingPunct="0">
              <a:spcBef>
                <a:spcPts val="600"/>
              </a:spcBef>
              <a:buClr>
                <a:srgbClr val="6E7A82"/>
              </a:buClr>
              <a:buSzPct val="100000"/>
              <a:buFont typeface="Wingdings" pitchFamily="2" charset="2"/>
              <a:buChar char="§"/>
              <a:defRPr sz="2000">
                <a:solidFill>
                  <a:srgbClr val="6E7A82"/>
                </a:solidFill>
                <a:latin typeface="SICK Franklin Condensed" pitchFamily="2" charset="0"/>
              </a:defRPr>
            </a:lvl1pPr>
            <a:lvl2pPr marL="37931725" indent="-37474525" eaLnBrk="0" hangingPunct="0">
              <a:spcBef>
                <a:spcPts val="600"/>
              </a:spcBef>
              <a:buClr>
                <a:srgbClr val="6E7A82"/>
              </a:buClr>
              <a:buSzPct val="100000"/>
              <a:buFont typeface="SICK Franklin Condensed" pitchFamily="2" charset="0"/>
              <a:buChar char="▸"/>
              <a:defRPr>
                <a:solidFill>
                  <a:srgbClr val="6E7A82"/>
                </a:solidFill>
                <a:latin typeface="SICK Franklin Condensed" pitchFamily="2" charset="0"/>
              </a:defRPr>
            </a:lvl2pPr>
            <a:lvl3pPr marL="809625" indent="-266700" eaLnBrk="0" hangingPunct="0">
              <a:spcBef>
                <a:spcPts val="600"/>
              </a:spcBef>
              <a:buClr>
                <a:srgbClr val="6E7A82"/>
              </a:buClr>
              <a:buSzPct val="100000"/>
              <a:buFont typeface="SICK Franklin Condensed" pitchFamily="2" charset="0"/>
              <a:buChar char="―"/>
              <a:defRPr sz="1600">
                <a:solidFill>
                  <a:srgbClr val="6E7A82"/>
                </a:solidFill>
                <a:latin typeface="SICK Franklin Condensed" pitchFamily="2" charset="0"/>
              </a:defRPr>
            </a:lvl3pPr>
            <a:lvl4pPr marL="1073150" indent="-261938" eaLnBrk="0" hangingPunct="0">
              <a:spcBef>
                <a:spcPts val="600"/>
              </a:spcBef>
              <a:buClr>
                <a:srgbClr val="6E7A82"/>
              </a:buClr>
              <a:buSzPct val="100000"/>
              <a:buFont typeface="SICK Franklin Condensed" pitchFamily="2" charset="0"/>
              <a:buChar char="―"/>
              <a:defRPr sz="1600">
                <a:solidFill>
                  <a:srgbClr val="6E7A82"/>
                </a:solidFill>
                <a:latin typeface="SICK Franklin Condensed" pitchFamily="2" charset="0"/>
              </a:defRPr>
            </a:lvl4pPr>
            <a:lvl5pPr marL="2157413" indent="-228600" eaLnBrk="0" hangingPunct="0">
              <a:spcBef>
                <a:spcPts val="600"/>
              </a:spcBef>
              <a:buSzPct val="100000"/>
              <a:buFont typeface="Arial" pitchFamily="34" charset="0"/>
              <a:buChar char="•"/>
              <a:defRPr sz="1100">
                <a:solidFill>
                  <a:schemeClr val="accent1"/>
                </a:solidFill>
                <a:latin typeface="SICK Franklin Condensed" pitchFamily="2" charset="0"/>
              </a:defRPr>
            </a:lvl5pPr>
            <a:lvl6pPr marL="26146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6pPr>
            <a:lvl7pPr marL="30718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7pPr>
            <a:lvl8pPr marL="35290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8pPr>
            <a:lvl9pPr marL="3986213" indent="-228600" eaLnBrk="0" fontAlgn="base" hangingPunct="0">
              <a:spcBef>
                <a:spcPts val="600"/>
              </a:spcBef>
              <a:spcAft>
                <a:spcPct val="0"/>
              </a:spcAft>
              <a:buSzPct val="100000"/>
              <a:buFont typeface="Arial" pitchFamily="34" charset="0"/>
              <a:buChar char="•"/>
              <a:defRPr sz="1100">
                <a:solidFill>
                  <a:schemeClr val="accent1"/>
                </a:solidFill>
                <a:latin typeface="SICK Franklin Condensed" pitchFamily="2" charset="0"/>
              </a:defRPr>
            </a:lvl9pPr>
          </a:lstStyle>
          <a:p>
            <a:pPr eaLnBrk="1" fontAlgn="auto" hangingPunct="1">
              <a:spcBef>
                <a:spcPct val="0"/>
              </a:spcBef>
              <a:spcAft>
                <a:spcPts val="0"/>
              </a:spcAft>
              <a:buClrTx/>
              <a:buSzTx/>
              <a:buFont typeface="Times New Roman" pitchFamily="18" charset="0"/>
              <a:buNone/>
              <a:defRPr/>
            </a:pPr>
            <a:r>
              <a:rPr lang="en-US" altLang="de-DE" sz="1600" b="1" dirty="0" smtClean="0">
                <a:solidFill>
                  <a:schemeClr val="bg1"/>
                </a:solidFill>
                <a:latin typeface="+mn-lt"/>
                <a:ea typeface="MS PGothic" pitchFamily="34" charset="-128"/>
              </a:rPr>
              <a:t>FLOWSIC600-XT</a:t>
            </a:r>
          </a:p>
          <a:p>
            <a:pPr eaLnBrk="1" fontAlgn="auto" hangingPunct="1">
              <a:spcBef>
                <a:spcPct val="0"/>
              </a:spcBef>
              <a:spcAft>
                <a:spcPts val="0"/>
              </a:spcAft>
              <a:buClrTx/>
              <a:buSzTx/>
              <a:buFont typeface="Times New Roman" pitchFamily="18" charset="0"/>
              <a:buNone/>
              <a:defRPr/>
            </a:pPr>
            <a:r>
              <a:rPr lang="en-US" altLang="de-DE" sz="1600" b="1" dirty="0" smtClean="0">
                <a:solidFill>
                  <a:schemeClr val="bg1"/>
                </a:solidFill>
                <a:latin typeface="+mn-lt"/>
                <a:ea typeface="MS PGothic" pitchFamily="34" charset="-128"/>
              </a:rPr>
              <a:t>Forte</a:t>
            </a:r>
            <a:endParaRPr lang="en-US" altLang="de-DE" sz="1600" b="1" dirty="0">
              <a:solidFill>
                <a:schemeClr val="bg1"/>
              </a:solidFill>
              <a:latin typeface="+mn-lt"/>
              <a:ea typeface="MS PGothic" pitchFamily="34" charset="-128"/>
            </a:endParaRPr>
          </a:p>
        </p:txBody>
      </p:sp>
      <p:sp>
        <p:nvSpPr>
          <p:cNvPr id="5" name="Textfeld 4"/>
          <p:cNvSpPr txBox="1"/>
          <p:nvPr/>
        </p:nvSpPr>
        <p:spPr>
          <a:xfrm>
            <a:off x="1627762" y="5419724"/>
            <a:ext cx="858837" cy="398463"/>
          </a:xfrm>
          <a:prstGeom prst="rect">
            <a:avLst/>
          </a:prstGeom>
          <a:noFill/>
        </p:spPr>
        <p:txBody>
          <a:bodyPr wrap="none" lIns="72000" tIns="36000" rIns="72000" bIns="54000">
            <a:spAutoFit/>
          </a:bodyPr>
          <a:lstStyle/>
          <a:p>
            <a:pPr algn="l" fontAlgn="auto">
              <a:spcBef>
                <a:spcPts val="600"/>
              </a:spcBef>
              <a:spcAft>
                <a:spcPts val="0"/>
              </a:spcAft>
              <a:buClr>
                <a:schemeClr val="accent4"/>
              </a:buClr>
              <a:defRPr/>
            </a:pPr>
            <a:r>
              <a:rPr lang="en-US" sz="2000" dirty="0">
                <a:latin typeface="+mn-lt"/>
                <a:cs typeface="+mn-cs"/>
              </a:rPr>
              <a:t>„Prime“</a:t>
            </a:r>
          </a:p>
        </p:txBody>
      </p:sp>
      <p:sp>
        <p:nvSpPr>
          <p:cNvPr id="30" name="Textfeld 29"/>
          <p:cNvSpPr txBox="1"/>
          <p:nvPr/>
        </p:nvSpPr>
        <p:spPr>
          <a:xfrm>
            <a:off x="3850262" y="5407024"/>
            <a:ext cx="631825" cy="398463"/>
          </a:xfrm>
          <a:prstGeom prst="rect">
            <a:avLst/>
          </a:prstGeom>
          <a:noFill/>
        </p:spPr>
        <p:txBody>
          <a:bodyPr wrap="none" lIns="72000" tIns="36000" rIns="72000" bIns="54000">
            <a:spAutoFit/>
          </a:bodyPr>
          <a:lstStyle/>
          <a:p>
            <a:pPr algn="l" fontAlgn="auto">
              <a:spcBef>
                <a:spcPts val="600"/>
              </a:spcBef>
              <a:spcAft>
                <a:spcPts val="0"/>
              </a:spcAft>
              <a:buClr>
                <a:schemeClr val="accent4"/>
              </a:buClr>
              <a:defRPr/>
            </a:pPr>
            <a:r>
              <a:rPr lang="en-US" sz="2000" dirty="0">
                <a:latin typeface="+mn-lt"/>
                <a:cs typeface="+mn-cs"/>
              </a:rPr>
              <a:t>„Pro“</a:t>
            </a:r>
          </a:p>
        </p:txBody>
      </p:sp>
      <p:sp>
        <p:nvSpPr>
          <p:cNvPr id="31" name="Textfeld 30"/>
          <p:cNvSpPr txBox="1"/>
          <p:nvPr/>
        </p:nvSpPr>
        <p:spPr>
          <a:xfrm>
            <a:off x="5844162" y="5407024"/>
            <a:ext cx="630237" cy="398463"/>
          </a:xfrm>
          <a:prstGeom prst="rect">
            <a:avLst/>
          </a:prstGeom>
          <a:noFill/>
        </p:spPr>
        <p:txBody>
          <a:bodyPr wrap="none" lIns="72000" tIns="36000" rIns="72000" bIns="54000">
            <a:spAutoFit/>
          </a:bodyPr>
          <a:lstStyle/>
          <a:p>
            <a:pPr algn="l" fontAlgn="auto">
              <a:spcBef>
                <a:spcPts val="600"/>
              </a:spcBef>
              <a:spcAft>
                <a:spcPts val="0"/>
              </a:spcAft>
              <a:buClr>
                <a:schemeClr val="accent4"/>
              </a:buClr>
              <a:defRPr/>
            </a:pPr>
            <a:r>
              <a:rPr lang="en-US" sz="2000" dirty="0">
                <a:latin typeface="+mn-lt"/>
                <a:cs typeface="+mn-cs"/>
              </a:rPr>
              <a:t>„Pro“</a:t>
            </a:r>
          </a:p>
        </p:txBody>
      </p:sp>
      <p:sp>
        <p:nvSpPr>
          <p:cNvPr id="32" name="Textfeld 31"/>
          <p:cNvSpPr txBox="1"/>
          <p:nvPr/>
        </p:nvSpPr>
        <p:spPr>
          <a:xfrm>
            <a:off x="7788849" y="5407024"/>
            <a:ext cx="630238" cy="398463"/>
          </a:xfrm>
          <a:prstGeom prst="rect">
            <a:avLst/>
          </a:prstGeom>
          <a:noFill/>
        </p:spPr>
        <p:txBody>
          <a:bodyPr wrap="none" lIns="72000" tIns="36000" rIns="72000" bIns="54000">
            <a:spAutoFit/>
          </a:bodyPr>
          <a:lstStyle/>
          <a:p>
            <a:pPr algn="l" fontAlgn="auto">
              <a:spcBef>
                <a:spcPts val="600"/>
              </a:spcBef>
              <a:spcAft>
                <a:spcPts val="0"/>
              </a:spcAft>
              <a:buClr>
                <a:schemeClr val="accent4"/>
              </a:buClr>
              <a:defRPr/>
            </a:pPr>
            <a:r>
              <a:rPr lang="en-US" sz="2000" dirty="0">
                <a:latin typeface="+mn-lt"/>
                <a:cs typeface="+mn-cs"/>
              </a:rPr>
              <a:t>„Pro“</a:t>
            </a:r>
          </a:p>
        </p:txBody>
      </p:sp>
      <p:pic>
        <p:nvPicPr>
          <p:cNvPr id="4098" name="Picture 2" descr="P:\PROJEKTE\G5\02_Arbeitspakete\2_12 PM\09_MarketingMarkteinführung\02_Markteinführung\99_Bildmaterial\Bilder_8inch_rendering\FLOWSIC600-XT_Render small\FLWOSIC600-XT_pfad_render_Forte Kopie.png"/>
          <p:cNvPicPr>
            <a:picLocks noChangeAspect="1" noChangeArrowheads="1"/>
          </p:cNvPicPr>
          <p:nvPr/>
        </p:nvPicPr>
        <p:blipFill>
          <a:blip r:embed="rId3"/>
          <a:srcRect/>
          <a:stretch>
            <a:fillRect/>
          </a:stretch>
        </p:blipFill>
        <p:spPr bwMode="auto">
          <a:xfrm>
            <a:off x="6779199" y="2479674"/>
            <a:ext cx="2874963" cy="2155825"/>
          </a:xfrm>
          <a:prstGeom prst="rect">
            <a:avLst/>
          </a:prstGeom>
          <a:noFill/>
          <a:ln w="9525">
            <a:noFill/>
            <a:miter lim="800000"/>
            <a:headEnd/>
            <a:tailEnd/>
          </a:ln>
        </p:spPr>
      </p:pic>
      <p:pic>
        <p:nvPicPr>
          <p:cNvPr id="4099" name="Picture 3" descr="P:\PROJEKTE\G5\02_Arbeitspakete\2_12 PM\09_MarketingMarkteinführung\02_Markteinführung\99_Bildmaterial\Bilder_8inch_rendering\FLOWSIC600-XT_Render small\FLOWSIC600-XT_pfad_render Kopie.png"/>
          <p:cNvPicPr>
            <a:picLocks noChangeAspect="1" noChangeArrowheads="1"/>
          </p:cNvPicPr>
          <p:nvPr/>
        </p:nvPicPr>
        <p:blipFill>
          <a:blip r:embed="rId4"/>
          <a:srcRect/>
          <a:stretch>
            <a:fillRect/>
          </a:stretch>
        </p:blipFill>
        <p:spPr bwMode="auto">
          <a:xfrm>
            <a:off x="741937" y="2479674"/>
            <a:ext cx="2874962" cy="2155825"/>
          </a:xfrm>
          <a:prstGeom prst="rect">
            <a:avLst/>
          </a:prstGeom>
          <a:noFill/>
          <a:ln w="9525">
            <a:noFill/>
            <a:miter lim="800000"/>
            <a:headEnd/>
            <a:tailEnd/>
          </a:ln>
        </p:spPr>
      </p:pic>
      <p:pic>
        <p:nvPicPr>
          <p:cNvPr id="4100" name="Picture 4" descr="P:\PROJEKTE\G5\02_Arbeitspakete\2_12 PM\09_MarketingMarkteinführung\02_Markteinführung\99_Bildmaterial\Bilder_8inch_rendering\FLOWSIC600-XT_Render small\FLOWSIC600-XT_pfad_render_2plex Kopie.png"/>
          <p:cNvPicPr>
            <a:picLocks noChangeAspect="1" noChangeArrowheads="1"/>
          </p:cNvPicPr>
          <p:nvPr/>
        </p:nvPicPr>
        <p:blipFill>
          <a:blip r:embed="rId5"/>
          <a:srcRect/>
          <a:stretch>
            <a:fillRect/>
          </a:stretch>
        </p:blipFill>
        <p:spPr bwMode="auto">
          <a:xfrm>
            <a:off x="2770762" y="2479674"/>
            <a:ext cx="2874962" cy="2155825"/>
          </a:xfrm>
          <a:prstGeom prst="rect">
            <a:avLst/>
          </a:prstGeom>
          <a:noFill/>
          <a:ln w="9525">
            <a:noFill/>
            <a:miter lim="800000"/>
            <a:headEnd/>
            <a:tailEnd/>
          </a:ln>
        </p:spPr>
      </p:pic>
      <p:pic>
        <p:nvPicPr>
          <p:cNvPr id="4101" name="Picture 5" descr="P:\PROJEKTE\G5\02_Arbeitspakete\2_12 PM\09_MarketingMarkteinführung\02_Markteinführung\99_Bildmaterial\Bilder_8inch_rendering\FLOWSIC600-XT_Render small\FLOWSIC600-XT_pfad_render_Quatro Kopie.png"/>
          <p:cNvPicPr>
            <a:picLocks noChangeAspect="1" noChangeArrowheads="1"/>
          </p:cNvPicPr>
          <p:nvPr/>
        </p:nvPicPr>
        <p:blipFill>
          <a:blip r:embed="rId6"/>
          <a:srcRect/>
          <a:stretch>
            <a:fillRect/>
          </a:stretch>
        </p:blipFill>
        <p:spPr bwMode="auto">
          <a:xfrm>
            <a:off x="4721799" y="2479674"/>
            <a:ext cx="2874963" cy="2155825"/>
          </a:xfrm>
          <a:prstGeom prst="rect">
            <a:avLst/>
          </a:prstGeom>
          <a:noFill/>
          <a:ln w="9525">
            <a:noFill/>
            <a:miter lim="800000"/>
            <a:headEnd/>
            <a:tailEnd/>
          </a:ln>
        </p:spPr>
      </p:pic>
      <p:sp>
        <p:nvSpPr>
          <p:cNvPr id="97312" name="Fußzeilenplatzhalter 2"/>
          <p:cNvSpPr>
            <a:spLocks noGrp="1"/>
          </p:cNvSpPr>
          <p:nvPr>
            <p:ph type="ftr" sz="quarter" idx="4294967295"/>
          </p:nvPr>
        </p:nvSpPr>
        <p:spPr bwMode="auto">
          <a:xfrm>
            <a:off x="1034037" y="6653212"/>
            <a:ext cx="6784975" cy="179387"/>
          </a:xfrm>
          <a:prstGeom prst="rect">
            <a:avLst/>
          </a:prstGeom>
          <a:noFill/>
          <a:ln>
            <a:miter lim="800000"/>
            <a:headEnd/>
            <a:tailEnd/>
          </a:ln>
        </p:spPr>
        <p:txBody>
          <a:bodyPr wrap="square" numCol="1" compatLnSpc="1">
            <a:prstTxWarp prst="textNoShape">
              <a:avLst/>
            </a:prstTxWarp>
          </a:bodyPr>
          <a:lstStyle/>
          <a:p>
            <a:pPr fontAlgn="base">
              <a:spcBef>
                <a:spcPct val="0"/>
              </a:spcBef>
              <a:spcAft>
                <a:spcPct val="0"/>
              </a:spcAft>
            </a:pPr>
            <a:endParaRPr lang="de-DE" dirty="0" smtClean="0">
              <a:solidFill>
                <a:schemeClr val="tx2"/>
              </a:solidFill>
              <a:cs typeface="Arial" charset="0"/>
            </a:endParaRPr>
          </a:p>
        </p:txBody>
      </p:sp>
    </p:spTree>
    <p:extLst>
      <p:ext uri="{BB962C8B-B14F-4D97-AF65-F5344CB8AC3E}">
        <p14:creationId xmlns:p14="http://schemas.microsoft.com/office/powerpoint/2010/main" val="3384263755"/>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75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75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0"/>
                                  </p:stCondLst>
                                  <p:childTnLst>
                                    <p:set>
                                      <p:cBhvr>
                                        <p:cTn id="15" dur="1" fill="hold">
                                          <p:stCondLst>
                                            <p:cond delay="0"/>
                                          </p:stCondLst>
                                        </p:cTn>
                                        <p:tgtEl>
                                          <p:spTgt spid="4099"/>
                                        </p:tgtEl>
                                        <p:attrNameLst>
                                          <p:attrName>style.visibility</p:attrName>
                                        </p:attrNameLst>
                                      </p:cBhvr>
                                      <p:to>
                                        <p:strVal val="visible"/>
                                      </p:to>
                                    </p:set>
                                    <p:animEffect transition="in" filter="fade">
                                      <p:cBhvr>
                                        <p:cTn id="16" dur="500"/>
                                        <p:tgtEl>
                                          <p:spTgt spid="4099"/>
                                        </p:tgtEl>
                                      </p:cBhvr>
                                    </p:animEffect>
                                  </p:childTnLst>
                                </p:cTn>
                              </p:par>
                              <p:par>
                                <p:cTn id="17" presetID="10" presetClass="entr" presetSubtype="0" fill="hold" grpId="0" nodeType="withEffect">
                                  <p:stCondLst>
                                    <p:cond delay="7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750"/>
                                        <p:tgtEl>
                                          <p:spTgt spid="24"/>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750"/>
                                        <p:tgtEl>
                                          <p:spTgt spid="28"/>
                                        </p:tgtEl>
                                      </p:cBhvr>
                                    </p:animEffect>
                                  </p:childTnLst>
                                </p:cTn>
                              </p:par>
                              <p:par>
                                <p:cTn id="23" presetID="10" presetClass="entr" presetSubtype="0" fill="hold" grpId="0" nodeType="withEffect">
                                  <p:stCondLst>
                                    <p:cond delay="75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par>
                                <p:cTn id="26" presetID="10" presetClass="entr" presetSubtype="0" fill="hold" nodeType="withEffect">
                                  <p:stCondLst>
                                    <p:cond delay="750"/>
                                  </p:stCondLst>
                                  <p:childTnLst>
                                    <p:set>
                                      <p:cBhvr>
                                        <p:cTn id="27" dur="1" fill="hold">
                                          <p:stCondLst>
                                            <p:cond delay="0"/>
                                          </p:stCondLst>
                                        </p:cTn>
                                        <p:tgtEl>
                                          <p:spTgt spid="4100"/>
                                        </p:tgtEl>
                                        <p:attrNameLst>
                                          <p:attrName>style.visibility</p:attrName>
                                        </p:attrNameLst>
                                      </p:cBhvr>
                                      <p:to>
                                        <p:strVal val="visible"/>
                                      </p:to>
                                    </p:set>
                                    <p:animEffect transition="in" filter="fade">
                                      <p:cBhvr>
                                        <p:cTn id="28" dur="500"/>
                                        <p:tgtEl>
                                          <p:spTgt spid="4100"/>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750"/>
                                        <p:tgtEl>
                                          <p:spTgt spid="25"/>
                                        </p:tgtEl>
                                      </p:cBhvr>
                                    </p:animEffect>
                                  </p:childTnLst>
                                </p:cTn>
                              </p:par>
                              <p:par>
                                <p:cTn id="32" presetID="10" presetClass="entr" presetSubtype="0" fill="hold" grpId="0" nodeType="withEffect">
                                  <p:stCondLst>
                                    <p:cond delay="150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750"/>
                                        <p:tgtEl>
                                          <p:spTgt spid="29"/>
                                        </p:tgtEl>
                                      </p:cBhvr>
                                    </p:animEffect>
                                  </p:childTnLst>
                                </p:cTn>
                              </p:par>
                              <p:par>
                                <p:cTn id="35" presetID="10" presetClass="entr" presetSubtype="0" fill="hold" grpId="0" nodeType="withEffect">
                                  <p:stCondLst>
                                    <p:cond delay="150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nodeType="withEffect">
                                  <p:stCondLst>
                                    <p:cond delay="1500"/>
                                  </p:stCondLst>
                                  <p:childTnLst>
                                    <p:set>
                                      <p:cBhvr>
                                        <p:cTn id="39" dur="1" fill="hold">
                                          <p:stCondLst>
                                            <p:cond delay="0"/>
                                          </p:stCondLst>
                                        </p:cTn>
                                        <p:tgtEl>
                                          <p:spTgt spid="4101"/>
                                        </p:tgtEl>
                                        <p:attrNameLst>
                                          <p:attrName>style.visibility</p:attrName>
                                        </p:attrNameLst>
                                      </p:cBhvr>
                                      <p:to>
                                        <p:strVal val="visible"/>
                                      </p:to>
                                    </p:set>
                                    <p:animEffect transition="in" filter="fade">
                                      <p:cBhvr>
                                        <p:cTn id="40" dur="500"/>
                                        <p:tgtEl>
                                          <p:spTgt spid="4101"/>
                                        </p:tgtEl>
                                      </p:cBhvr>
                                    </p:animEffect>
                                  </p:childTnLst>
                                </p:cTn>
                              </p:par>
                              <p:par>
                                <p:cTn id="41" presetID="10" presetClass="entr" presetSubtype="0" fill="hold" grpId="0" nodeType="withEffect">
                                  <p:stCondLst>
                                    <p:cond delay="225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750"/>
                                        <p:tgtEl>
                                          <p:spTgt spid="26"/>
                                        </p:tgtEl>
                                      </p:cBhvr>
                                    </p:animEffect>
                                  </p:childTnLst>
                                </p:cTn>
                              </p:par>
                              <p:par>
                                <p:cTn id="44" presetID="10" presetClass="entr" presetSubtype="0" fill="hold" grpId="0" nodeType="withEffect">
                                  <p:stCondLst>
                                    <p:cond delay="2250"/>
                                  </p:stCondLst>
                                  <p:childTnLst>
                                    <p:set>
                                      <p:cBhvr>
                                        <p:cTn id="45" dur="1" fill="hold">
                                          <p:stCondLst>
                                            <p:cond delay="0"/>
                                          </p:stCondLst>
                                        </p:cTn>
                                        <p:tgtEl>
                                          <p:spTgt spid="34"/>
                                        </p:tgtEl>
                                        <p:attrNameLst>
                                          <p:attrName>style.visibility</p:attrName>
                                        </p:attrNameLst>
                                      </p:cBhvr>
                                      <p:to>
                                        <p:strVal val="visible"/>
                                      </p:to>
                                    </p:set>
                                    <p:animEffect transition="in" filter="fade">
                                      <p:cBhvr>
                                        <p:cTn id="46" dur="750"/>
                                        <p:tgtEl>
                                          <p:spTgt spid="34"/>
                                        </p:tgtEl>
                                      </p:cBhvr>
                                    </p:animEffect>
                                  </p:childTnLst>
                                </p:cTn>
                              </p:par>
                              <p:par>
                                <p:cTn id="47" presetID="10" presetClass="entr" presetSubtype="0" fill="hold" grpId="0" nodeType="withEffect">
                                  <p:stCondLst>
                                    <p:cond delay="2250"/>
                                  </p:stCondLst>
                                  <p:childTnLst>
                                    <p:set>
                                      <p:cBhvr>
                                        <p:cTn id="48" dur="1" fill="hold">
                                          <p:stCondLst>
                                            <p:cond delay="0"/>
                                          </p:stCondLst>
                                        </p:cTn>
                                        <p:tgtEl>
                                          <p:spTgt spid="32"/>
                                        </p:tgtEl>
                                        <p:attrNameLst>
                                          <p:attrName>style.visibility</p:attrName>
                                        </p:attrNameLst>
                                      </p:cBhvr>
                                      <p:to>
                                        <p:strVal val="visible"/>
                                      </p:to>
                                    </p:set>
                                    <p:animEffect transition="in" filter="fade">
                                      <p:cBhvr>
                                        <p:cTn id="49" dur="500"/>
                                        <p:tgtEl>
                                          <p:spTgt spid="32"/>
                                        </p:tgtEl>
                                      </p:cBhvr>
                                    </p:animEffect>
                                  </p:childTnLst>
                                </p:cTn>
                              </p:par>
                              <p:par>
                                <p:cTn id="50" presetID="10" presetClass="entr" presetSubtype="0" fill="hold" nodeType="withEffect">
                                  <p:stCondLst>
                                    <p:cond delay="2250"/>
                                  </p:stCondLst>
                                  <p:childTnLst>
                                    <p:set>
                                      <p:cBhvr>
                                        <p:cTn id="51" dur="1" fill="hold">
                                          <p:stCondLst>
                                            <p:cond delay="0"/>
                                          </p:stCondLst>
                                        </p:cTn>
                                        <p:tgtEl>
                                          <p:spTgt spid="4098"/>
                                        </p:tgtEl>
                                        <p:attrNameLst>
                                          <p:attrName>style.visibility</p:attrName>
                                        </p:attrNameLst>
                                      </p:cBhvr>
                                      <p:to>
                                        <p:strVal val="visible"/>
                                      </p:to>
                                    </p:set>
                                    <p:animEffect transition="in" filter="fade">
                                      <p:cBhvr>
                                        <p:cTn id="52" dur="500"/>
                                        <p:tgtEl>
                                          <p:spTgt spid="4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animBg="1"/>
      <p:bldP spid="25" grpId="0" animBg="1"/>
      <p:bldP spid="26" grpId="0" animBg="1"/>
      <p:bldP spid="27" grpId="0" animBg="1"/>
      <p:bldP spid="28" grpId="0" animBg="1"/>
      <p:bldP spid="29" grpId="0" animBg="1"/>
      <p:bldP spid="34" grpId="0" animBg="1"/>
      <p:bldP spid="5" grpId="0"/>
      <p:bldP spid="30" grpId="0"/>
      <p:bldP spid="31" grpId="0"/>
      <p:bldP spid="3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525463" y="287338"/>
            <a:ext cx="7307262" cy="261937"/>
          </a:xfrm>
        </p:spPr>
        <p:txBody>
          <a:bodyPr/>
          <a:lstStyle/>
          <a:p>
            <a:pPr fontAlgn="auto">
              <a:spcAft>
                <a:spcPts val="0"/>
              </a:spcAft>
              <a:defRPr/>
            </a:pPr>
            <a:r>
              <a:rPr lang="en-US" dirty="0" smtClean="0"/>
              <a:t>FLOWSIC600-XT </a:t>
            </a:r>
            <a:r>
              <a:rPr lang="en-US" dirty="0" err="1" smtClean="0"/>
              <a:t>fORTE</a:t>
            </a:r>
            <a:endParaRPr lang="en-US" dirty="0"/>
          </a:p>
        </p:txBody>
      </p:sp>
      <p:sp>
        <p:nvSpPr>
          <p:cNvPr id="99331" name="Textfeld 12"/>
          <p:cNvSpPr txBox="1">
            <a:spLocks noChangeArrowheads="1"/>
          </p:cNvSpPr>
          <p:nvPr/>
        </p:nvSpPr>
        <p:spPr bwMode="auto">
          <a:xfrm>
            <a:off x="1262063" y="1125538"/>
            <a:ext cx="6570662" cy="461962"/>
          </a:xfrm>
          <a:prstGeom prst="rect">
            <a:avLst/>
          </a:prstGeom>
          <a:noFill/>
          <a:ln w="9525">
            <a:noFill/>
            <a:miter lim="800000"/>
            <a:headEnd/>
            <a:tailEnd/>
          </a:ln>
        </p:spPr>
        <p:txBody>
          <a:bodyPr>
            <a:spAutoFit/>
          </a:bodyPr>
          <a:lstStyle/>
          <a:p>
            <a:pPr marL="177800" indent="-177800" algn="l">
              <a:spcBef>
                <a:spcPct val="30000"/>
              </a:spcBef>
            </a:pPr>
            <a:r>
              <a:rPr lang="ru-RU" altLang="de-DE" sz="2400" b="1" dirty="0">
                <a:solidFill>
                  <a:srgbClr val="000000"/>
                </a:solidFill>
                <a:latin typeface="SICK Franklin Condensed"/>
              </a:rPr>
              <a:t>Самый короткий входной участок</a:t>
            </a:r>
            <a:endParaRPr lang="en-US" altLang="de-DE" sz="2400" b="1" dirty="0">
              <a:solidFill>
                <a:srgbClr val="000000"/>
              </a:solidFill>
              <a:latin typeface="SICK Franklin Condensed"/>
            </a:endParaRPr>
          </a:p>
        </p:txBody>
      </p:sp>
      <p:cxnSp>
        <p:nvCxnSpPr>
          <p:cNvPr id="10" name="Gerade Verbindung 9"/>
          <p:cNvCxnSpPr/>
          <p:nvPr/>
        </p:nvCxnSpPr>
        <p:spPr>
          <a:xfrm>
            <a:off x="1262063" y="1587500"/>
            <a:ext cx="412298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45" name="Picture 2" descr="P:\PROJEKTE\G5\02_Arbeitspakete\2_12 PM\09_MarketingMarkteinführung\02_Markteinführung\99_Bildmaterial\Bilder_8inch_rendering\FLOWSIC600-XT_Render small\FLWOSIC600-XT_pfad_render_Forte Kopie.png"/>
          <p:cNvPicPr>
            <a:picLocks noChangeAspect="1" noChangeArrowheads="1"/>
          </p:cNvPicPr>
          <p:nvPr/>
        </p:nvPicPr>
        <p:blipFill>
          <a:blip r:embed="rId3"/>
          <a:srcRect l="16011" t="20287" r="23608" b="5396"/>
          <a:stretch>
            <a:fillRect/>
          </a:stretch>
        </p:blipFill>
        <p:spPr bwMode="auto">
          <a:xfrm>
            <a:off x="1171575" y="2593975"/>
            <a:ext cx="2830513" cy="2611438"/>
          </a:xfrm>
          <a:prstGeom prst="rect">
            <a:avLst/>
          </a:prstGeom>
          <a:noFill/>
          <a:ln w="9525">
            <a:noFill/>
            <a:miter lim="800000"/>
            <a:headEnd/>
            <a:tailEnd/>
          </a:ln>
        </p:spPr>
      </p:pic>
      <p:grpSp>
        <p:nvGrpSpPr>
          <p:cNvPr id="5" name="Gruppieren 4"/>
          <p:cNvGrpSpPr>
            <a:grpSpLocks/>
          </p:cNvGrpSpPr>
          <p:nvPr/>
        </p:nvGrpSpPr>
        <p:grpSpPr bwMode="auto">
          <a:xfrm>
            <a:off x="4179888" y="2566988"/>
            <a:ext cx="4968875" cy="1231900"/>
            <a:chOff x="4180517" y="2566263"/>
            <a:chExt cx="4967502" cy="1233289"/>
          </a:xfrm>
        </p:grpSpPr>
        <p:sp>
          <p:nvSpPr>
            <p:cNvPr id="99349" name="Textfeld 55"/>
            <p:cNvSpPr txBox="1">
              <a:spLocks noChangeArrowheads="1"/>
            </p:cNvSpPr>
            <p:nvPr/>
          </p:nvSpPr>
          <p:spPr bwMode="auto">
            <a:xfrm>
              <a:off x="8810937" y="3063165"/>
              <a:ext cx="337082" cy="583321"/>
            </a:xfrm>
            <a:prstGeom prst="rect">
              <a:avLst/>
            </a:prstGeom>
            <a:noFill/>
            <a:ln w="9525">
              <a:noFill/>
              <a:miter lim="800000"/>
              <a:headEnd/>
              <a:tailEnd/>
            </a:ln>
          </p:spPr>
          <p:txBody>
            <a:bodyPr lIns="72000" tIns="36000" rIns="72000" bIns="54000">
              <a:spAutoFit/>
            </a:bodyPr>
            <a:lstStyle/>
            <a:p>
              <a:pPr algn="l">
                <a:spcBef>
                  <a:spcPts val="600"/>
                </a:spcBef>
                <a:buClr>
                  <a:srgbClr val="6E7A82"/>
                </a:buClr>
              </a:pPr>
              <a:r>
                <a:rPr lang="en-US" sz="3200" b="1">
                  <a:solidFill>
                    <a:srgbClr val="F29400"/>
                  </a:solidFill>
                  <a:latin typeface="SICK Franklin Condensed"/>
                </a:rPr>
                <a:t>A</a:t>
              </a:r>
            </a:p>
          </p:txBody>
        </p:sp>
        <p:pic>
          <p:nvPicPr>
            <p:cNvPr id="99350" name="Picture 2"/>
            <p:cNvPicPr>
              <a:picLocks noChangeAspect="1" noChangeArrowheads="1"/>
            </p:cNvPicPr>
            <p:nvPr/>
          </p:nvPicPr>
          <p:blipFill>
            <a:blip r:embed="rId4"/>
            <a:srcRect b="53702"/>
            <a:stretch>
              <a:fillRect/>
            </a:stretch>
          </p:blipFill>
          <p:spPr bwMode="auto">
            <a:xfrm>
              <a:off x="4180517" y="2566263"/>
              <a:ext cx="4372883" cy="1233289"/>
            </a:xfrm>
            <a:prstGeom prst="rect">
              <a:avLst/>
            </a:prstGeom>
            <a:noFill/>
            <a:ln w="9525">
              <a:noFill/>
              <a:miter lim="800000"/>
              <a:headEnd/>
              <a:tailEnd/>
            </a:ln>
          </p:spPr>
        </p:pic>
        <p:sp>
          <p:nvSpPr>
            <p:cNvPr id="99351" name="Textfeld 57"/>
            <p:cNvSpPr txBox="1">
              <a:spLocks noChangeArrowheads="1"/>
            </p:cNvSpPr>
            <p:nvPr/>
          </p:nvSpPr>
          <p:spPr bwMode="auto">
            <a:xfrm>
              <a:off x="5214583" y="2647945"/>
              <a:ext cx="635925" cy="276999"/>
            </a:xfrm>
            <a:prstGeom prst="rect">
              <a:avLst/>
            </a:prstGeom>
            <a:solidFill>
              <a:schemeClr val="bg1"/>
            </a:solidFill>
            <a:ln w="9525">
              <a:noFill/>
              <a:miter lim="800000"/>
              <a:headEnd/>
              <a:tailEnd/>
            </a:ln>
          </p:spPr>
          <p:txBody>
            <a:bodyPr wrap="none" lIns="72000" tIns="0" rIns="72000" bIns="0">
              <a:spAutoFit/>
            </a:bodyPr>
            <a:lstStyle/>
            <a:p>
              <a:pPr>
                <a:spcBef>
                  <a:spcPts val="600"/>
                </a:spcBef>
                <a:buClr>
                  <a:srgbClr val="6E7A82"/>
                </a:buClr>
              </a:pPr>
              <a:r>
                <a:rPr lang="en-US" b="1">
                  <a:solidFill>
                    <a:srgbClr val="000000"/>
                  </a:solidFill>
                  <a:latin typeface="SICK Franklin Condensed"/>
                </a:rPr>
                <a:t>≥2 </a:t>
              </a:r>
              <a:r>
                <a:rPr lang="ru-RU" b="1">
                  <a:solidFill>
                    <a:srgbClr val="000000"/>
                  </a:solidFill>
                  <a:latin typeface="SICK Franklin Condensed"/>
                </a:rPr>
                <a:t>Ду</a:t>
              </a:r>
              <a:endParaRPr lang="en-US" b="1">
                <a:solidFill>
                  <a:srgbClr val="000000"/>
                </a:solidFill>
                <a:latin typeface="SICK Franklin Condensed"/>
              </a:endParaRPr>
            </a:p>
          </p:txBody>
        </p:sp>
      </p:grpSp>
      <p:grpSp>
        <p:nvGrpSpPr>
          <p:cNvPr id="11" name="Gruppieren 10"/>
          <p:cNvGrpSpPr>
            <a:grpSpLocks/>
          </p:cNvGrpSpPr>
          <p:nvPr/>
        </p:nvGrpSpPr>
        <p:grpSpPr bwMode="auto">
          <a:xfrm>
            <a:off x="4179888" y="3789363"/>
            <a:ext cx="5002212" cy="1233487"/>
            <a:chOff x="4180517" y="3789040"/>
            <a:chExt cx="5001154" cy="1233289"/>
          </a:xfrm>
        </p:grpSpPr>
        <p:sp>
          <p:nvSpPr>
            <p:cNvPr id="99345" name="Textfeld 59"/>
            <p:cNvSpPr txBox="1">
              <a:spLocks noChangeArrowheads="1"/>
            </p:cNvSpPr>
            <p:nvPr/>
          </p:nvSpPr>
          <p:spPr bwMode="auto">
            <a:xfrm>
              <a:off x="8824824" y="4266337"/>
              <a:ext cx="356847" cy="583321"/>
            </a:xfrm>
            <a:prstGeom prst="rect">
              <a:avLst/>
            </a:prstGeom>
            <a:noFill/>
            <a:ln w="9525">
              <a:noFill/>
              <a:miter lim="800000"/>
              <a:headEnd/>
              <a:tailEnd/>
            </a:ln>
          </p:spPr>
          <p:txBody>
            <a:bodyPr lIns="72000" tIns="36000" rIns="72000" bIns="54000">
              <a:spAutoFit/>
            </a:bodyPr>
            <a:lstStyle/>
            <a:p>
              <a:pPr algn="l">
                <a:spcBef>
                  <a:spcPts val="600"/>
                </a:spcBef>
                <a:buClr>
                  <a:srgbClr val="6E7A82"/>
                </a:buClr>
              </a:pPr>
              <a:r>
                <a:rPr lang="en-US" sz="3200" b="1">
                  <a:solidFill>
                    <a:srgbClr val="F29400"/>
                  </a:solidFill>
                  <a:latin typeface="SICK Franklin Condensed"/>
                </a:rPr>
                <a:t>B</a:t>
              </a:r>
            </a:p>
          </p:txBody>
        </p:sp>
        <p:pic>
          <p:nvPicPr>
            <p:cNvPr id="99346" name="Picture 2"/>
            <p:cNvPicPr>
              <a:picLocks noChangeAspect="1" noChangeArrowheads="1"/>
            </p:cNvPicPr>
            <p:nvPr/>
          </p:nvPicPr>
          <p:blipFill>
            <a:blip r:embed="rId4"/>
            <a:srcRect b="53702"/>
            <a:stretch>
              <a:fillRect/>
            </a:stretch>
          </p:blipFill>
          <p:spPr bwMode="auto">
            <a:xfrm>
              <a:off x="4180517" y="3789040"/>
              <a:ext cx="4372883" cy="1233289"/>
            </a:xfrm>
            <a:prstGeom prst="rect">
              <a:avLst/>
            </a:prstGeom>
            <a:noFill/>
            <a:ln w="9525">
              <a:noFill/>
              <a:miter lim="800000"/>
              <a:headEnd/>
              <a:tailEnd/>
            </a:ln>
          </p:spPr>
        </p:pic>
        <p:sp>
          <p:nvSpPr>
            <p:cNvPr id="99347" name="Textfeld 61"/>
            <p:cNvSpPr txBox="1">
              <a:spLocks noChangeArrowheads="1"/>
            </p:cNvSpPr>
            <p:nvPr/>
          </p:nvSpPr>
          <p:spPr bwMode="auto">
            <a:xfrm>
              <a:off x="5269463" y="3900026"/>
              <a:ext cx="635925" cy="276999"/>
            </a:xfrm>
            <a:prstGeom prst="rect">
              <a:avLst/>
            </a:prstGeom>
            <a:solidFill>
              <a:schemeClr val="bg1"/>
            </a:solidFill>
            <a:ln w="9525">
              <a:noFill/>
              <a:miter lim="800000"/>
              <a:headEnd/>
              <a:tailEnd/>
            </a:ln>
          </p:spPr>
          <p:txBody>
            <a:bodyPr wrap="none" lIns="72000" tIns="0" rIns="72000" bIns="0">
              <a:spAutoFit/>
            </a:bodyPr>
            <a:lstStyle/>
            <a:p>
              <a:pPr algn="l">
                <a:spcBef>
                  <a:spcPts val="600"/>
                </a:spcBef>
                <a:buClr>
                  <a:srgbClr val="6E7A82"/>
                </a:buClr>
              </a:pPr>
              <a:r>
                <a:rPr lang="en-US" b="1">
                  <a:solidFill>
                    <a:srgbClr val="000000"/>
                  </a:solidFill>
                  <a:latin typeface="SICK Franklin Condensed"/>
                </a:rPr>
                <a:t>≥5 </a:t>
              </a:r>
              <a:r>
                <a:rPr lang="ru-RU" b="1">
                  <a:solidFill>
                    <a:srgbClr val="000000"/>
                  </a:solidFill>
                  <a:latin typeface="SICK Franklin Condensed"/>
                </a:rPr>
                <a:t>Ду</a:t>
              </a:r>
              <a:endParaRPr lang="en-US" b="1">
                <a:solidFill>
                  <a:srgbClr val="000000"/>
                </a:solidFill>
                <a:latin typeface="SICK Franklin Condensed"/>
              </a:endParaRPr>
            </a:p>
          </p:txBody>
        </p:sp>
        <p:sp>
          <p:nvSpPr>
            <p:cNvPr id="66" name="Textfeld 65"/>
            <p:cNvSpPr txBox="1"/>
            <p:nvPr/>
          </p:nvSpPr>
          <p:spPr>
            <a:xfrm>
              <a:off x="4263050" y="4700119"/>
              <a:ext cx="226964" cy="161899"/>
            </a:xfrm>
            <a:prstGeom prst="rect">
              <a:avLst/>
            </a:prstGeom>
            <a:solidFill>
              <a:schemeClr val="bg1"/>
            </a:solidFill>
          </p:spPr>
          <p:txBody>
            <a:bodyPr wrap="none" lIns="72000" tIns="0" rIns="72000" bIns="0">
              <a:spAutoFit/>
            </a:bodyPr>
            <a:lstStyle/>
            <a:p>
              <a:pPr algn="l" fontAlgn="auto">
                <a:spcBef>
                  <a:spcPts val="600"/>
                </a:spcBef>
                <a:spcAft>
                  <a:spcPts val="0"/>
                </a:spcAft>
                <a:buClr>
                  <a:srgbClr val="6E7A82"/>
                </a:buClr>
                <a:defRPr/>
              </a:pPr>
              <a:r>
                <a:rPr lang="en-US" sz="1050" dirty="0">
                  <a:solidFill>
                    <a:srgbClr val="000000"/>
                  </a:solidFill>
                  <a:latin typeface="SICK Franklin"/>
                </a:rPr>
                <a:t>B</a:t>
              </a:r>
            </a:p>
          </p:txBody>
        </p:sp>
      </p:grpSp>
      <p:sp>
        <p:nvSpPr>
          <p:cNvPr id="38" name="Textfeld 37"/>
          <p:cNvSpPr txBox="1"/>
          <p:nvPr/>
        </p:nvSpPr>
        <p:spPr>
          <a:xfrm>
            <a:off x="4630738" y="5805488"/>
            <a:ext cx="4584700" cy="400050"/>
          </a:xfrm>
          <a:prstGeom prst="rect">
            <a:avLst/>
          </a:prstGeom>
          <a:solidFill>
            <a:schemeClr val="accent6">
              <a:alpha val="79000"/>
            </a:schemeClr>
          </a:solidFill>
        </p:spPr>
        <p:style>
          <a:lnRef idx="3">
            <a:schemeClr val="lt1"/>
          </a:lnRef>
          <a:fillRef idx="1">
            <a:schemeClr val="accent6"/>
          </a:fillRef>
          <a:effectRef idx="1">
            <a:schemeClr val="accent6"/>
          </a:effectRef>
          <a:fontRef idx="minor">
            <a:schemeClr val="lt1"/>
          </a:fontRef>
        </p:style>
        <p:txBody>
          <a:bodyPr lIns="72000" tIns="36000" rIns="72000" bIns="54000">
            <a:spAutoFit/>
          </a:bodyPr>
          <a:lstStyle/>
          <a:p>
            <a:pPr algn="l" fontAlgn="auto">
              <a:spcBef>
                <a:spcPts val="600"/>
              </a:spcBef>
              <a:spcAft>
                <a:spcPts val="0"/>
              </a:spcAft>
              <a:buClr>
                <a:srgbClr val="6E7A82"/>
              </a:buClr>
              <a:defRPr/>
            </a:pPr>
            <a:r>
              <a:rPr lang="en-US" sz="2000" dirty="0">
                <a:solidFill>
                  <a:srgbClr val="FFFFFF"/>
                </a:solidFill>
                <a:latin typeface="Kristen ITC" panose="03050502040202030202" pitchFamily="66" charset="0"/>
              </a:rPr>
              <a:t>1:1 </a:t>
            </a:r>
            <a:r>
              <a:rPr lang="ru-RU" sz="2000" dirty="0">
                <a:solidFill>
                  <a:srgbClr val="FFFFFF"/>
                </a:solidFill>
                <a:latin typeface="Kristen ITC" panose="03050502040202030202" pitchFamily="66" charset="0"/>
              </a:rPr>
              <a:t>замена турбинного расходомера</a:t>
            </a:r>
            <a:r>
              <a:rPr lang="en-US" sz="2000" dirty="0">
                <a:solidFill>
                  <a:srgbClr val="FFFFFF"/>
                </a:solidFill>
                <a:latin typeface="Kristen ITC" panose="03050502040202030202" pitchFamily="66" charset="0"/>
              </a:rPr>
              <a:t>!</a:t>
            </a:r>
          </a:p>
        </p:txBody>
      </p:sp>
      <p:sp>
        <p:nvSpPr>
          <p:cNvPr id="12" name="Bogen 11"/>
          <p:cNvSpPr/>
          <p:nvPr/>
        </p:nvSpPr>
        <p:spPr>
          <a:xfrm flipH="1">
            <a:off x="4851400" y="3427413"/>
            <a:ext cx="749300" cy="2384425"/>
          </a:xfrm>
          <a:prstGeom prst="arc">
            <a:avLst>
              <a:gd name="adj1" fmla="val 16200000"/>
              <a:gd name="adj2" fmla="val 4943685"/>
            </a:avLst>
          </a:prstGeom>
          <a:ln w="38100">
            <a:solidFill>
              <a:schemeClr val="accent6">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fontAlgn="auto">
              <a:spcBef>
                <a:spcPts val="0"/>
              </a:spcBef>
              <a:spcAft>
                <a:spcPts val="0"/>
              </a:spcAft>
              <a:defRPr/>
            </a:pPr>
            <a:endParaRPr lang="de-DE">
              <a:solidFill>
                <a:srgbClr val="000000"/>
              </a:solidFill>
            </a:endParaRPr>
          </a:p>
        </p:txBody>
      </p:sp>
      <p:sp>
        <p:nvSpPr>
          <p:cNvPr id="26" name="Datumsplatzhalter 3"/>
          <p:cNvSpPr>
            <a:spLocks noGrp="1"/>
          </p:cNvSpPr>
          <p:nvPr>
            <p:ph type="dt" sz="quarter" idx="4294967295"/>
          </p:nvPr>
        </p:nvSpPr>
        <p:spPr bwMode="auto">
          <a:xfrm>
            <a:off x="525463" y="6653213"/>
            <a:ext cx="903287" cy="179387"/>
          </a:xfrm>
          <a:prstGeom prst="rect">
            <a:avLst/>
          </a:prstGeom>
          <a:noFill/>
          <a:ln>
            <a:miter lim="800000"/>
            <a:headEnd/>
            <a:tailEnd/>
          </a:ln>
        </p:spPr>
        <p:txBody>
          <a:bodyPr wrap="square" numCol="1" compatLnSpc="1">
            <a:prstTxWarp prst="textNoShape">
              <a:avLst/>
            </a:prstTxWarp>
          </a:bodyPr>
          <a:lstStyle/>
          <a:p>
            <a:pPr fontAlgn="base">
              <a:spcBef>
                <a:spcPct val="0"/>
              </a:spcBef>
              <a:spcAft>
                <a:spcPct val="0"/>
              </a:spcAft>
            </a:pPr>
            <a:endParaRPr lang="en-US" dirty="0" smtClean="0">
              <a:solidFill>
                <a:schemeClr val="tx1"/>
              </a:solidFill>
              <a:cs typeface="Arial" charset="0"/>
            </a:endParaRPr>
          </a:p>
        </p:txBody>
      </p:sp>
      <p:sp>
        <p:nvSpPr>
          <p:cNvPr id="27" name="Fußzeilenplatzhalter 2"/>
          <p:cNvSpPr>
            <a:spLocks noGrp="1"/>
          </p:cNvSpPr>
          <p:nvPr>
            <p:ph type="ftr" sz="quarter" idx="4294967295"/>
          </p:nvPr>
        </p:nvSpPr>
        <p:spPr bwMode="auto">
          <a:xfrm>
            <a:off x="1560513" y="6653213"/>
            <a:ext cx="6784975" cy="179387"/>
          </a:xfrm>
          <a:prstGeom prst="rect">
            <a:avLst/>
          </a:prstGeom>
          <a:noFill/>
          <a:ln>
            <a:miter lim="800000"/>
            <a:headEnd/>
            <a:tailEnd/>
          </a:ln>
        </p:spPr>
        <p:txBody>
          <a:bodyPr wrap="square" numCol="1" compatLnSpc="1">
            <a:prstTxWarp prst="textNoShape">
              <a:avLst/>
            </a:prstTxWarp>
          </a:bodyPr>
          <a:lstStyle/>
          <a:p>
            <a:pPr fontAlgn="base">
              <a:spcBef>
                <a:spcPct val="0"/>
              </a:spcBef>
              <a:spcAft>
                <a:spcPct val="0"/>
              </a:spcAft>
            </a:pPr>
            <a:endParaRPr lang="de-DE" dirty="0" smtClean="0">
              <a:solidFill>
                <a:schemeClr val="tx2"/>
              </a:solidFill>
              <a:cs typeface="Arial" charset="0"/>
            </a:endParaRPr>
          </a:p>
        </p:txBody>
      </p:sp>
    </p:spTree>
    <p:extLst>
      <p:ext uri="{BB962C8B-B14F-4D97-AF65-F5344CB8AC3E}">
        <p14:creationId xmlns:p14="http://schemas.microsoft.com/office/powerpoint/2010/main" val="834174085"/>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2"/>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1FB8D038-2D38-4B10-A0EB-C05CC9130EB2}" type="slidenum">
              <a:rPr lang="en-US" smtClean="0">
                <a:solidFill>
                  <a:srgbClr val="000000"/>
                </a:solidFill>
              </a:rPr>
              <a:pPr/>
              <a:t>12</a:t>
            </a:fld>
            <a:endParaRPr lang="en-US" dirty="0">
              <a:solidFill>
                <a:srgbClr val="000000"/>
              </a:solidFill>
            </a:endParaRPr>
          </a:p>
        </p:txBody>
      </p:sp>
      <p:sp>
        <p:nvSpPr>
          <p:cNvPr id="4" name="Datumsplatzhalter 3"/>
          <p:cNvSpPr>
            <a:spLocks noGrp="1"/>
          </p:cNvSpPr>
          <p:nvPr>
            <p:ph type="dt" sz="half" idx="10"/>
          </p:nvPr>
        </p:nvSpPr>
        <p:spPr/>
        <p:txBody>
          <a:bodyPr/>
          <a:lstStyle/>
          <a:p>
            <a:endParaRPr lang="en-US" dirty="0">
              <a:solidFill>
                <a:srgbClr val="000000"/>
              </a:solidFill>
            </a:endParaRPr>
          </a:p>
        </p:txBody>
      </p:sp>
      <p:sp>
        <p:nvSpPr>
          <p:cNvPr id="7" name="Titel 6"/>
          <p:cNvSpPr>
            <a:spLocks noGrp="1"/>
          </p:cNvSpPr>
          <p:nvPr>
            <p:ph type="title"/>
          </p:nvPr>
        </p:nvSpPr>
        <p:spPr/>
        <p:txBody>
          <a:bodyPr/>
          <a:lstStyle/>
          <a:p>
            <a:r>
              <a:rPr lang="en-US" dirty="0" smtClean="0"/>
              <a:t>FLOWSIC600-XT</a:t>
            </a:r>
            <a:endParaRPr lang="en-US" dirty="0"/>
          </a:p>
        </p:txBody>
      </p:sp>
      <p:sp>
        <p:nvSpPr>
          <p:cNvPr id="8" name="Textfeld 12"/>
          <p:cNvSpPr txBox="1">
            <a:spLocks noChangeArrowheads="1"/>
          </p:cNvSpPr>
          <p:nvPr/>
        </p:nvSpPr>
        <p:spPr bwMode="auto">
          <a:xfrm>
            <a:off x="1261919" y="1125466"/>
            <a:ext cx="39167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7800" indent="-177800" fontAlgn="auto">
              <a:spcBef>
                <a:spcPct val="30000"/>
              </a:spcBef>
              <a:spcAft>
                <a:spcPts val="0"/>
              </a:spcAft>
            </a:pPr>
            <a:r>
              <a:rPr lang="ru-RU" altLang="de-DE" sz="2400" b="1" dirty="0" smtClean="0">
                <a:solidFill>
                  <a:srgbClr val="000000"/>
                </a:solidFill>
              </a:rPr>
              <a:t>Широкий диапазон измерений</a:t>
            </a:r>
            <a:endParaRPr lang="en-US" altLang="de-DE" sz="2400" b="1" dirty="0">
              <a:solidFill>
                <a:srgbClr val="000000"/>
              </a:solidFill>
            </a:endParaRPr>
          </a:p>
        </p:txBody>
      </p:sp>
      <p:cxnSp>
        <p:nvCxnSpPr>
          <p:cNvPr id="10" name="Gerade Verbindung 9"/>
          <p:cNvCxnSpPr/>
          <p:nvPr/>
        </p:nvCxnSpPr>
        <p:spPr>
          <a:xfrm>
            <a:off x="1261918" y="1587132"/>
            <a:ext cx="444561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Fußzeilenplatzhalter 2"/>
          <p:cNvSpPr>
            <a:spLocks noGrp="1"/>
          </p:cNvSpPr>
          <p:nvPr>
            <p:ph type="ftr" sz="quarter" idx="11"/>
          </p:nvPr>
        </p:nvSpPr>
        <p:spPr>
          <a:xfrm>
            <a:off x="1560000" y="6652800"/>
            <a:ext cx="6786000" cy="180000"/>
          </a:xfrm>
        </p:spPr>
        <p:txBody>
          <a:bodyPr/>
          <a:lstStyle/>
          <a:p>
            <a:endParaRPr lang="de-DE" dirty="0">
              <a:solidFill>
                <a:srgbClr val="007FC3"/>
              </a:solidFill>
            </a:endParaRPr>
          </a:p>
        </p:txBody>
      </p:sp>
      <p:sp>
        <p:nvSpPr>
          <p:cNvPr id="30" name="Textfeld 29"/>
          <p:cNvSpPr txBox="1"/>
          <p:nvPr/>
        </p:nvSpPr>
        <p:spPr>
          <a:xfrm>
            <a:off x="1426365" y="2527449"/>
            <a:ext cx="8222939" cy="644877"/>
          </a:xfrm>
          <a:prstGeom prst="rect">
            <a:avLst/>
          </a:prstGeom>
          <a:noFill/>
        </p:spPr>
        <p:txBody>
          <a:bodyPr wrap="none" lIns="72000" tIns="36000" rIns="72000" bIns="54000" rtlCol="0">
            <a:spAutoFit/>
          </a:bodyPr>
          <a:lstStyle/>
          <a:p>
            <a:pPr fontAlgn="auto">
              <a:spcBef>
                <a:spcPts val="600"/>
              </a:spcBef>
              <a:spcAft>
                <a:spcPts val="0"/>
              </a:spcAft>
              <a:buClr>
                <a:srgbClr val="6E7A82"/>
              </a:buClr>
            </a:pPr>
            <a:r>
              <a:rPr lang="ru-RU" dirty="0" smtClean="0">
                <a:solidFill>
                  <a:srgbClr val="000000"/>
                </a:solidFill>
                <a:latin typeface="SICK Franklin Condensed"/>
                <a:cs typeface="+mn-cs"/>
              </a:rPr>
              <a:t>Пример </a:t>
            </a:r>
            <a:r>
              <a:rPr lang="en-US" dirty="0" smtClean="0">
                <a:solidFill>
                  <a:srgbClr val="000000"/>
                </a:solidFill>
                <a:latin typeface="SICK Franklin Condensed"/>
                <a:cs typeface="+mn-cs"/>
              </a:rPr>
              <a:t>DN400</a:t>
            </a:r>
            <a:r>
              <a:rPr lang="ru-RU" dirty="0" smtClean="0">
                <a:solidFill>
                  <a:srgbClr val="000000"/>
                </a:solidFill>
                <a:latin typeface="SICK Franklin Condensed"/>
                <a:cs typeface="+mn-cs"/>
              </a:rPr>
              <a:t> счетчик</a:t>
            </a:r>
            <a:r>
              <a:rPr lang="en-US" dirty="0" smtClean="0">
                <a:solidFill>
                  <a:srgbClr val="000000"/>
                </a:solidFill>
                <a:latin typeface="SICK Franklin Condensed"/>
                <a:cs typeface="+mn-cs"/>
              </a:rPr>
              <a:t>:	</a:t>
            </a:r>
            <a:r>
              <a:rPr lang="en-US" dirty="0" smtClean="0">
                <a:solidFill>
                  <a:srgbClr val="000000"/>
                </a:solidFill>
                <a:latin typeface="SICK Franklin Condensed"/>
              </a:rPr>
              <a:t>FLOWSIC600-XT</a:t>
            </a:r>
            <a:r>
              <a:rPr lang="en-US" dirty="0" smtClean="0">
                <a:solidFill>
                  <a:srgbClr val="000000"/>
                </a:solidFill>
                <a:latin typeface="SICK Franklin Condensed"/>
                <a:cs typeface="+mn-cs"/>
              </a:rPr>
              <a:t>		60 ... 14.000 m³/h   	</a:t>
            </a:r>
            <a:r>
              <a:rPr lang="en-US" b="1" dirty="0" smtClean="0">
                <a:solidFill>
                  <a:srgbClr val="000000"/>
                </a:solidFill>
                <a:latin typeface="SICK Franklin Condensed"/>
                <a:cs typeface="+mn-cs"/>
              </a:rPr>
              <a:t>(1:233)</a:t>
            </a:r>
            <a:r>
              <a:rPr lang="en-US" dirty="0" smtClean="0">
                <a:solidFill>
                  <a:srgbClr val="000000"/>
                </a:solidFill>
                <a:latin typeface="SICK Franklin Condensed"/>
                <a:cs typeface="+mn-cs"/>
              </a:rPr>
              <a:t/>
            </a:r>
            <a:br>
              <a:rPr lang="en-US" dirty="0" smtClean="0">
                <a:solidFill>
                  <a:srgbClr val="000000"/>
                </a:solidFill>
                <a:latin typeface="SICK Franklin Condensed"/>
                <a:cs typeface="+mn-cs"/>
              </a:rPr>
            </a:br>
            <a:r>
              <a:rPr lang="en-US" dirty="0" smtClean="0">
                <a:solidFill>
                  <a:srgbClr val="000000"/>
                </a:solidFill>
                <a:latin typeface="SICK Franklin Condensed"/>
                <a:cs typeface="+mn-cs"/>
              </a:rPr>
              <a:t>			</a:t>
            </a:r>
            <a:r>
              <a:rPr lang="en-US" dirty="0">
                <a:solidFill>
                  <a:srgbClr val="000000"/>
                </a:solidFill>
              </a:rPr>
              <a:t>FLOWSIC600 </a:t>
            </a:r>
            <a:r>
              <a:rPr lang="en-US" dirty="0" smtClean="0">
                <a:solidFill>
                  <a:srgbClr val="000000"/>
                </a:solidFill>
              </a:rPr>
              <a:t>                     </a:t>
            </a:r>
            <a:r>
              <a:rPr lang="en-US" dirty="0" smtClean="0">
                <a:solidFill>
                  <a:srgbClr val="000000"/>
                </a:solidFill>
                <a:latin typeface="SICK Franklin Condensed"/>
                <a:cs typeface="+mn-cs"/>
              </a:rPr>
              <a:t>	120 … 1</a:t>
            </a:r>
            <a:r>
              <a:rPr lang="ru-RU" dirty="0" smtClean="0">
                <a:solidFill>
                  <a:srgbClr val="000000"/>
                </a:solidFill>
                <a:latin typeface="SICK Franklin Condensed"/>
                <a:cs typeface="+mn-cs"/>
              </a:rPr>
              <a:t>4</a:t>
            </a:r>
            <a:r>
              <a:rPr lang="en-US" dirty="0" smtClean="0">
                <a:solidFill>
                  <a:srgbClr val="000000"/>
                </a:solidFill>
                <a:latin typeface="SICK Franklin Condensed"/>
                <a:cs typeface="+mn-cs"/>
              </a:rPr>
              <a:t>.000 m³/h 	</a:t>
            </a:r>
            <a:r>
              <a:rPr lang="en-US" b="1" dirty="0" smtClean="0">
                <a:solidFill>
                  <a:srgbClr val="000000"/>
                </a:solidFill>
                <a:latin typeface="SICK Franklin Condensed"/>
                <a:cs typeface="+mn-cs"/>
              </a:rPr>
              <a:t>(1: 1</a:t>
            </a:r>
            <a:r>
              <a:rPr lang="ru-RU" b="1" dirty="0" smtClean="0">
                <a:solidFill>
                  <a:srgbClr val="000000"/>
                </a:solidFill>
                <a:latin typeface="SICK Franklin Condensed"/>
                <a:cs typeface="+mn-cs"/>
              </a:rPr>
              <a:t>16</a:t>
            </a:r>
            <a:r>
              <a:rPr lang="en-US" b="1" dirty="0" smtClean="0">
                <a:solidFill>
                  <a:srgbClr val="000000"/>
                </a:solidFill>
                <a:latin typeface="SICK Franklin Condensed"/>
                <a:cs typeface="+mn-cs"/>
              </a:rPr>
              <a:t>)</a:t>
            </a:r>
          </a:p>
        </p:txBody>
      </p:sp>
      <p:sp>
        <p:nvSpPr>
          <p:cNvPr id="31" name="Rechteck 30"/>
          <p:cNvSpPr/>
          <p:nvPr/>
        </p:nvSpPr>
        <p:spPr>
          <a:xfrm>
            <a:off x="1525107" y="3573063"/>
            <a:ext cx="7272808" cy="643166"/>
          </a:xfrm>
          <a:prstGeom prst="rect">
            <a:avLst/>
          </a:prstGeom>
          <a:noFill/>
          <a:ln w="571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54000" rtlCol="0" anchor="ctr">
            <a:noAutofit/>
          </a:bodyPr>
          <a:lstStyle/>
          <a:p>
            <a:pPr algn="ctr" fontAlgn="auto">
              <a:spcBef>
                <a:spcPts val="0"/>
              </a:spcBef>
              <a:spcAft>
                <a:spcPts val="0"/>
              </a:spcAft>
            </a:pPr>
            <a:endParaRPr lang="en-US" sz="2000" dirty="0" smtClean="0">
              <a:solidFill>
                <a:srgbClr val="FFFFFF"/>
              </a:solidFill>
            </a:endParaRPr>
          </a:p>
        </p:txBody>
      </p:sp>
      <p:sp>
        <p:nvSpPr>
          <p:cNvPr id="32" name="Textfeld 31"/>
          <p:cNvSpPr txBox="1"/>
          <p:nvPr/>
        </p:nvSpPr>
        <p:spPr>
          <a:xfrm>
            <a:off x="1365300" y="4187293"/>
            <a:ext cx="328149" cy="306323"/>
          </a:xfrm>
          <a:prstGeom prst="rect">
            <a:avLst/>
          </a:prstGeom>
          <a:noFill/>
        </p:spPr>
        <p:txBody>
          <a:bodyPr wrap="none" lIns="72000" tIns="36000" rIns="72000" bIns="54000" rtlCol="0">
            <a:spAutoFit/>
          </a:bodyPr>
          <a:lstStyle/>
          <a:p>
            <a:pPr fontAlgn="auto">
              <a:spcBef>
                <a:spcPts val="600"/>
              </a:spcBef>
              <a:spcAft>
                <a:spcPts val="0"/>
              </a:spcAft>
              <a:buClr>
                <a:srgbClr val="6E7A82"/>
              </a:buClr>
            </a:pPr>
            <a:r>
              <a:rPr lang="en-US" sz="1400" dirty="0" smtClean="0">
                <a:solidFill>
                  <a:srgbClr val="000000"/>
                </a:solidFill>
                <a:latin typeface="SICK Franklin Condensed"/>
                <a:cs typeface="+mn-cs"/>
              </a:rPr>
              <a:t>60</a:t>
            </a:r>
          </a:p>
        </p:txBody>
      </p:sp>
      <p:sp>
        <p:nvSpPr>
          <p:cNvPr id="33" name="Textfeld 32"/>
          <p:cNvSpPr txBox="1"/>
          <p:nvPr/>
        </p:nvSpPr>
        <p:spPr>
          <a:xfrm>
            <a:off x="8548182" y="4227791"/>
            <a:ext cx="645543" cy="306323"/>
          </a:xfrm>
          <a:prstGeom prst="rect">
            <a:avLst/>
          </a:prstGeom>
          <a:noFill/>
        </p:spPr>
        <p:txBody>
          <a:bodyPr wrap="none" lIns="72000" tIns="36000" rIns="72000" bIns="54000" rtlCol="0">
            <a:spAutoFit/>
          </a:bodyPr>
          <a:lstStyle/>
          <a:p>
            <a:pPr fontAlgn="auto">
              <a:spcBef>
                <a:spcPts val="600"/>
              </a:spcBef>
              <a:spcAft>
                <a:spcPts val="0"/>
              </a:spcAft>
              <a:buClr>
                <a:srgbClr val="6E7A82"/>
              </a:buClr>
            </a:pPr>
            <a:r>
              <a:rPr lang="en-US" sz="1400" dirty="0" smtClean="0">
                <a:solidFill>
                  <a:srgbClr val="000000"/>
                </a:solidFill>
                <a:latin typeface="SICK Franklin Condensed"/>
                <a:cs typeface="+mn-cs"/>
              </a:rPr>
              <a:t>14.000</a:t>
            </a:r>
          </a:p>
        </p:txBody>
      </p:sp>
      <p:sp>
        <p:nvSpPr>
          <p:cNvPr id="34" name="Rechteck 33"/>
          <p:cNvSpPr/>
          <p:nvPr/>
        </p:nvSpPr>
        <p:spPr>
          <a:xfrm>
            <a:off x="2218453" y="3573063"/>
            <a:ext cx="6579466" cy="6431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54000" rtlCol="0" anchor="ctr">
            <a:noAutofit/>
          </a:bodyPr>
          <a:lstStyle/>
          <a:p>
            <a:pPr algn="ctr" fontAlgn="auto">
              <a:spcBef>
                <a:spcPts val="0"/>
              </a:spcBef>
              <a:spcAft>
                <a:spcPts val="0"/>
              </a:spcAft>
            </a:pPr>
            <a:endParaRPr lang="en-US" sz="2000" dirty="0" smtClean="0">
              <a:solidFill>
                <a:srgbClr val="FFFFFF"/>
              </a:solidFill>
            </a:endParaRPr>
          </a:p>
        </p:txBody>
      </p:sp>
      <p:sp>
        <p:nvSpPr>
          <p:cNvPr id="36" name="Textfeld 35"/>
          <p:cNvSpPr txBox="1"/>
          <p:nvPr/>
        </p:nvSpPr>
        <p:spPr>
          <a:xfrm>
            <a:off x="2027127" y="4179746"/>
            <a:ext cx="419520" cy="306323"/>
          </a:xfrm>
          <a:prstGeom prst="rect">
            <a:avLst/>
          </a:prstGeom>
          <a:noFill/>
        </p:spPr>
        <p:txBody>
          <a:bodyPr wrap="none" lIns="72000" tIns="36000" rIns="72000" bIns="54000" rtlCol="0">
            <a:spAutoFit/>
          </a:bodyPr>
          <a:lstStyle/>
          <a:p>
            <a:pPr fontAlgn="auto">
              <a:spcBef>
                <a:spcPts val="600"/>
              </a:spcBef>
              <a:spcAft>
                <a:spcPts val="0"/>
              </a:spcAft>
              <a:buClr>
                <a:srgbClr val="6E7A82"/>
              </a:buClr>
            </a:pPr>
            <a:r>
              <a:rPr lang="en-US" sz="1400" dirty="0" smtClean="0">
                <a:solidFill>
                  <a:srgbClr val="000000"/>
                </a:solidFill>
                <a:latin typeface="SICK Franklin Condensed"/>
                <a:cs typeface="+mn-cs"/>
              </a:rPr>
              <a:t>120</a:t>
            </a:r>
          </a:p>
        </p:txBody>
      </p:sp>
      <p:sp>
        <p:nvSpPr>
          <p:cNvPr id="38" name="Rechteck 37"/>
          <p:cNvSpPr/>
          <p:nvPr/>
        </p:nvSpPr>
        <p:spPr>
          <a:xfrm>
            <a:off x="1525107" y="3573016"/>
            <a:ext cx="693346" cy="64316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54000" rtlCol="0" anchor="ctr">
            <a:noAutofit/>
          </a:bodyPr>
          <a:lstStyle/>
          <a:p>
            <a:pPr algn="ctr" fontAlgn="auto">
              <a:spcBef>
                <a:spcPts val="0"/>
              </a:spcBef>
              <a:spcAft>
                <a:spcPts val="0"/>
              </a:spcAft>
            </a:pPr>
            <a:endParaRPr lang="en-US" sz="2000" dirty="0" smtClean="0">
              <a:solidFill>
                <a:srgbClr val="FFFFFF"/>
              </a:solidFill>
            </a:endParaRPr>
          </a:p>
        </p:txBody>
      </p:sp>
      <p:sp>
        <p:nvSpPr>
          <p:cNvPr id="40" name="Geschweifte Klammer links 39"/>
          <p:cNvSpPr/>
          <p:nvPr/>
        </p:nvSpPr>
        <p:spPr>
          <a:xfrm rot="16200000">
            <a:off x="4925245" y="2364638"/>
            <a:ext cx="504056" cy="7241291"/>
          </a:xfrm>
          <a:prstGeom prst="leftBrace">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400" dirty="0">
              <a:solidFill>
                <a:srgbClr val="000000"/>
              </a:solidFill>
            </a:endParaRPr>
          </a:p>
        </p:txBody>
      </p:sp>
      <p:sp>
        <p:nvSpPr>
          <p:cNvPr id="41" name="Geschweifte Klammer links 40"/>
          <p:cNvSpPr/>
          <p:nvPr/>
        </p:nvSpPr>
        <p:spPr>
          <a:xfrm rot="16200000">
            <a:off x="1634960" y="4492826"/>
            <a:ext cx="401638" cy="621342"/>
          </a:xfrm>
          <a:prstGeom prst="leftBrace">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400" dirty="0">
              <a:solidFill>
                <a:srgbClr val="000000"/>
              </a:solidFill>
            </a:endParaRPr>
          </a:p>
        </p:txBody>
      </p:sp>
      <p:sp>
        <p:nvSpPr>
          <p:cNvPr id="42" name="Geschweifte Klammer links 41"/>
          <p:cNvSpPr/>
          <p:nvPr/>
        </p:nvSpPr>
        <p:spPr>
          <a:xfrm rot="16200000">
            <a:off x="5303861" y="1510261"/>
            <a:ext cx="408646" cy="6579462"/>
          </a:xfrm>
          <a:prstGeom prst="leftBrace">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400" dirty="0">
              <a:solidFill>
                <a:srgbClr val="000000"/>
              </a:solidFill>
            </a:endParaRPr>
          </a:p>
        </p:txBody>
      </p:sp>
      <p:sp>
        <p:nvSpPr>
          <p:cNvPr id="44" name="Textfeld 43"/>
          <p:cNvSpPr txBox="1"/>
          <p:nvPr/>
        </p:nvSpPr>
        <p:spPr>
          <a:xfrm>
            <a:off x="4665692" y="5004315"/>
            <a:ext cx="2123512" cy="337100"/>
          </a:xfrm>
          <a:prstGeom prst="rect">
            <a:avLst/>
          </a:prstGeom>
          <a:noFill/>
        </p:spPr>
        <p:txBody>
          <a:bodyPr wrap="none" lIns="72000" tIns="36000" rIns="72000" bIns="54000" rtlCol="0">
            <a:spAutoFit/>
          </a:bodyPr>
          <a:lstStyle/>
          <a:p>
            <a:pPr fontAlgn="auto">
              <a:spcBef>
                <a:spcPts val="600"/>
              </a:spcBef>
              <a:spcAft>
                <a:spcPts val="0"/>
              </a:spcAft>
              <a:buClr>
                <a:srgbClr val="6E7A82"/>
              </a:buClr>
            </a:pPr>
            <a:r>
              <a:rPr lang="ru-RU" sz="1600" dirty="0">
                <a:solidFill>
                  <a:srgbClr val="000000"/>
                </a:solidFill>
              </a:rPr>
              <a:t>Рабочий диапазон </a:t>
            </a:r>
            <a:r>
              <a:rPr lang="en-US" sz="1600" dirty="0" smtClean="0">
                <a:solidFill>
                  <a:srgbClr val="000000"/>
                </a:solidFill>
                <a:latin typeface="SICK Franklin Condensed"/>
                <a:cs typeface="+mn-cs"/>
              </a:rPr>
              <a:t>FL600</a:t>
            </a:r>
          </a:p>
        </p:txBody>
      </p:sp>
      <p:sp>
        <p:nvSpPr>
          <p:cNvPr id="46" name="Textfeld 45"/>
          <p:cNvSpPr txBox="1"/>
          <p:nvPr/>
        </p:nvSpPr>
        <p:spPr>
          <a:xfrm>
            <a:off x="1352600" y="4979672"/>
            <a:ext cx="2293430" cy="583321"/>
          </a:xfrm>
          <a:prstGeom prst="rect">
            <a:avLst/>
          </a:prstGeom>
          <a:noFill/>
        </p:spPr>
        <p:txBody>
          <a:bodyPr wrap="none" lIns="72000" tIns="36000" rIns="72000" bIns="54000" rtlCol="0">
            <a:spAutoFit/>
          </a:bodyPr>
          <a:lstStyle/>
          <a:p>
            <a:pPr fontAlgn="auto">
              <a:spcBef>
                <a:spcPts val="0"/>
              </a:spcBef>
              <a:spcAft>
                <a:spcPts val="0"/>
              </a:spcAft>
              <a:buClr>
                <a:srgbClr val="6E7A82"/>
              </a:buClr>
            </a:pPr>
            <a:r>
              <a:rPr lang="ru-RU" sz="1600" dirty="0" smtClean="0">
                <a:solidFill>
                  <a:srgbClr val="000000"/>
                </a:solidFill>
                <a:latin typeface="SICK Franklin Condensed"/>
                <a:cs typeface="+mn-cs"/>
              </a:rPr>
              <a:t>Расширенная нижняя часть </a:t>
            </a:r>
          </a:p>
          <a:p>
            <a:pPr fontAlgn="auto">
              <a:spcBef>
                <a:spcPts val="0"/>
              </a:spcBef>
              <a:spcAft>
                <a:spcPts val="0"/>
              </a:spcAft>
              <a:buClr>
                <a:srgbClr val="6E7A82"/>
              </a:buClr>
            </a:pPr>
            <a:r>
              <a:rPr lang="ru-RU" sz="1600" dirty="0" smtClean="0">
                <a:solidFill>
                  <a:srgbClr val="000000"/>
                </a:solidFill>
                <a:latin typeface="SICK Franklin Condensed"/>
                <a:cs typeface="+mn-cs"/>
              </a:rPr>
              <a:t>диапазона</a:t>
            </a:r>
            <a:endParaRPr lang="en-US" sz="1600" dirty="0" smtClean="0">
              <a:solidFill>
                <a:srgbClr val="000000"/>
              </a:solidFill>
              <a:latin typeface="SICK Franklin Condensed"/>
              <a:cs typeface="+mn-cs"/>
            </a:endParaRPr>
          </a:p>
        </p:txBody>
      </p:sp>
      <p:sp>
        <p:nvSpPr>
          <p:cNvPr id="47" name="Textfeld 46"/>
          <p:cNvSpPr txBox="1"/>
          <p:nvPr/>
        </p:nvSpPr>
        <p:spPr>
          <a:xfrm>
            <a:off x="3816185" y="6198697"/>
            <a:ext cx="3520882" cy="398655"/>
          </a:xfrm>
          <a:prstGeom prst="rect">
            <a:avLst/>
          </a:prstGeom>
          <a:noFill/>
        </p:spPr>
        <p:txBody>
          <a:bodyPr wrap="none" lIns="72000" tIns="36000" rIns="72000" bIns="54000" rtlCol="0">
            <a:spAutoFit/>
          </a:bodyPr>
          <a:lstStyle/>
          <a:p>
            <a:pPr fontAlgn="auto">
              <a:spcBef>
                <a:spcPts val="600"/>
              </a:spcBef>
              <a:spcAft>
                <a:spcPts val="0"/>
              </a:spcAft>
              <a:buClr>
                <a:srgbClr val="6E7A82"/>
              </a:buClr>
            </a:pPr>
            <a:r>
              <a:rPr lang="ru-RU" sz="2000" dirty="0" smtClean="0">
                <a:solidFill>
                  <a:srgbClr val="000000"/>
                </a:solidFill>
                <a:latin typeface="SICK Franklin Condensed"/>
                <a:cs typeface="+mn-cs"/>
              </a:rPr>
              <a:t>Рабочий диапазон </a:t>
            </a:r>
            <a:r>
              <a:rPr lang="en-US" sz="2000" dirty="0" smtClean="0">
                <a:solidFill>
                  <a:srgbClr val="000000"/>
                </a:solidFill>
                <a:latin typeface="SICK Franklin Condensed"/>
                <a:cs typeface="+mn-cs"/>
              </a:rPr>
              <a:t>FLOWSIC600-XT </a:t>
            </a:r>
          </a:p>
        </p:txBody>
      </p:sp>
      <p:sp>
        <p:nvSpPr>
          <p:cNvPr id="48" name="Rechteck 22"/>
          <p:cNvSpPr/>
          <p:nvPr/>
        </p:nvSpPr>
        <p:spPr>
          <a:xfrm>
            <a:off x="1614291" y="1988840"/>
            <a:ext cx="7128792" cy="400110"/>
          </a:xfrm>
          <a:prstGeom prst="rect">
            <a:avLst/>
          </a:prstGeom>
          <a:ln>
            <a:noFill/>
          </a:ln>
        </p:spPr>
        <p:txBody>
          <a:bodyPr wrap="square">
            <a:spAutoFit/>
          </a:bodyPr>
          <a:lstStyle/>
          <a:p>
            <a:pPr marL="285750" indent="-285750">
              <a:buFont typeface="Wingdings" panose="05000000000000000000" pitchFamily="2" charset="2"/>
              <a:buChar char="ü"/>
            </a:pPr>
            <a:r>
              <a:rPr lang="ru-RU" sz="2000" b="1" dirty="0" smtClean="0"/>
              <a:t>Самый низкий </a:t>
            </a:r>
            <a:r>
              <a:rPr lang="en-US" sz="2000" b="1" dirty="0" err="1" smtClean="0"/>
              <a:t>Q</a:t>
            </a:r>
            <a:r>
              <a:rPr lang="en-US" sz="2000" b="1" baseline="-25000" dirty="0" err="1" smtClean="0"/>
              <a:t>min</a:t>
            </a:r>
            <a:r>
              <a:rPr lang="en-US" sz="2000" b="1" dirty="0" smtClean="0"/>
              <a:t> </a:t>
            </a:r>
            <a:r>
              <a:rPr lang="ru-RU" sz="2000" b="1" dirty="0" smtClean="0"/>
              <a:t>на рынке</a:t>
            </a:r>
            <a:endParaRPr lang="en-US" sz="2000" b="1" dirty="0"/>
          </a:p>
        </p:txBody>
      </p:sp>
    </p:spTree>
    <p:extLst>
      <p:ext uri="{BB962C8B-B14F-4D97-AF65-F5344CB8AC3E}">
        <p14:creationId xmlns:p14="http://schemas.microsoft.com/office/powerpoint/2010/main" val="161348537"/>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p:bldP spid="33" grpId="0"/>
      <p:bldP spid="34" grpId="0" animBg="1"/>
      <p:bldP spid="36" grpId="0"/>
      <p:bldP spid="38" grpId="0" animBg="1"/>
      <p:bldP spid="40" grpId="0" animBg="1"/>
      <p:bldP spid="41" grpId="0" animBg="1"/>
      <p:bldP spid="42" grpId="0" animBg="1"/>
      <p:bldP spid="44" grpId="0"/>
      <p:bldP spid="46" grpId="0"/>
      <p:bldP spid="4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885343" y="5157192"/>
            <a:ext cx="2028098" cy="14307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oliennummernplatzhalter 1"/>
          <p:cNvSpPr>
            <a:spLocks noGrp="1"/>
          </p:cNvSpPr>
          <p:nvPr>
            <p:ph type="sldNum" sz="quarter" idx="12"/>
          </p:nvPr>
        </p:nvSpPr>
        <p:spPr/>
        <p:txBody>
          <a:bodyPr/>
          <a:lstStyle/>
          <a:p>
            <a:fld id="{1FB8D038-2D38-4B10-A0EB-C05CC9130EB2}" type="slidenum">
              <a:rPr lang="en-US" noProof="0" smtClean="0"/>
              <a:t>13</a:t>
            </a:fld>
            <a:endParaRPr lang="en-US" noProof="0" dirty="0"/>
          </a:p>
        </p:txBody>
      </p:sp>
      <p:sp>
        <p:nvSpPr>
          <p:cNvPr id="4" name="Datumsplatzhalter 3"/>
          <p:cNvSpPr>
            <a:spLocks noGrp="1"/>
          </p:cNvSpPr>
          <p:nvPr>
            <p:ph type="dt" sz="half" idx="10"/>
          </p:nvPr>
        </p:nvSpPr>
        <p:spPr/>
        <p:txBody>
          <a:bodyPr/>
          <a:lstStyle/>
          <a:p>
            <a:r>
              <a:rPr lang="en-US" smtClean="0"/>
              <a:t>Jan. 15</a:t>
            </a:r>
            <a:r>
              <a:rPr lang="en-US" baseline="30000" smtClean="0"/>
              <a:t>th</a:t>
            </a:r>
            <a:r>
              <a:rPr lang="en-US" smtClean="0"/>
              <a:t> 2016</a:t>
            </a:r>
            <a:endParaRPr lang="en-US" dirty="0"/>
          </a:p>
        </p:txBody>
      </p:sp>
      <p:sp>
        <p:nvSpPr>
          <p:cNvPr id="7" name="Titel 6"/>
          <p:cNvSpPr>
            <a:spLocks noGrp="1"/>
          </p:cNvSpPr>
          <p:nvPr>
            <p:ph type="title"/>
          </p:nvPr>
        </p:nvSpPr>
        <p:spPr/>
        <p:txBody>
          <a:bodyPr/>
          <a:lstStyle/>
          <a:p>
            <a:r>
              <a:rPr lang="de-DE" dirty="0" smtClean="0"/>
              <a:t>FLOWSIC600-XT</a:t>
            </a:r>
            <a:endParaRPr lang="de-DE" dirty="0"/>
          </a:p>
        </p:txBody>
      </p:sp>
      <p:sp>
        <p:nvSpPr>
          <p:cNvPr id="9" name="Textfeld 12"/>
          <p:cNvSpPr txBox="1">
            <a:spLocks noChangeArrowheads="1"/>
          </p:cNvSpPr>
          <p:nvPr/>
        </p:nvSpPr>
        <p:spPr bwMode="auto">
          <a:xfrm>
            <a:off x="1261918" y="1125466"/>
            <a:ext cx="685943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7800" indent="-177800"/>
            <a:r>
              <a:rPr lang="en-US" altLang="de-DE" sz="2400" b="1" dirty="0" smtClean="0"/>
              <a:t>  </a:t>
            </a:r>
            <a:r>
              <a:rPr lang="ru-RU" altLang="de-DE" sz="2400" b="1" dirty="0" smtClean="0"/>
              <a:t>Высокая точность и надежность измерений</a:t>
            </a:r>
            <a:endParaRPr lang="en-US" altLang="de-DE" sz="2400" b="1" dirty="0"/>
          </a:p>
        </p:txBody>
      </p:sp>
      <p:cxnSp>
        <p:nvCxnSpPr>
          <p:cNvPr id="11" name="Gerade Verbindung 10"/>
          <p:cNvCxnSpPr/>
          <p:nvPr/>
        </p:nvCxnSpPr>
        <p:spPr>
          <a:xfrm>
            <a:off x="992560" y="1556792"/>
            <a:ext cx="657080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a:xfrm>
            <a:off x="1064568" y="1808820"/>
            <a:ext cx="7628124" cy="4539704"/>
          </a:xfrm>
          <a:prstGeom prst="rect">
            <a:avLst/>
          </a:prstGeom>
          <a:ln>
            <a:noFill/>
          </a:ln>
        </p:spPr>
        <p:txBody>
          <a:bodyPr wrap="square">
            <a:spAutoFit/>
          </a:bodyPr>
          <a:lstStyle/>
          <a:p>
            <a:r>
              <a:rPr lang="ru-RU" sz="2000" dirty="0" smtClean="0"/>
              <a:t>Новые приемопередатчики, электроника, алгоритмы</a:t>
            </a:r>
            <a:r>
              <a:rPr lang="en-US" sz="2000" dirty="0" smtClean="0"/>
              <a:t>…</a:t>
            </a:r>
            <a:endParaRPr lang="en-US" sz="2000" dirty="0"/>
          </a:p>
          <a:p>
            <a:pPr marL="800100" lvl="1" indent="-342900">
              <a:spcBef>
                <a:spcPts val="600"/>
              </a:spcBef>
              <a:buFont typeface="Wingdings" panose="05000000000000000000" pitchFamily="2" charset="2"/>
              <a:buChar char="ü"/>
            </a:pPr>
            <a:r>
              <a:rPr lang="ru-RU" dirty="0" smtClean="0"/>
              <a:t>Повышенная защита от влияния шумов.                                                           Соотношение сигнал/шум  до </a:t>
            </a:r>
            <a:r>
              <a:rPr lang="en-US" dirty="0" smtClean="0"/>
              <a:t>6dB </a:t>
            </a:r>
            <a:r>
              <a:rPr lang="ru-RU" dirty="0" smtClean="0"/>
              <a:t>лучше, чем </a:t>
            </a:r>
            <a:r>
              <a:rPr lang="en-US" dirty="0" smtClean="0"/>
              <a:t> FLOWSIC600</a:t>
            </a:r>
            <a:endParaRPr lang="ru-RU" dirty="0" smtClean="0"/>
          </a:p>
          <a:p>
            <a:pPr marL="800100" lvl="1" indent="-342900">
              <a:spcBef>
                <a:spcPts val="600"/>
              </a:spcBef>
              <a:buFont typeface="Wingdings" panose="05000000000000000000" pitchFamily="2" charset="2"/>
              <a:buChar char="ü"/>
            </a:pPr>
            <a:r>
              <a:rPr lang="ru-RU" dirty="0" smtClean="0"/>
              <a:t> Повышенная защита от влияния загрязнений</a:t>
            </a:r>
            <a:endParaRPr lang="en-US" dirty="0"/>
          </a:p>
          <a:p>
            <a:endParaRPr lang="en-US" sz="2000" dirty="0" smtClean="0"/>
          </a:p>
          <a:p>
            <a:endParaRPr lang="en-US" sz="2000" dirty="0" smtClean="0"/>
          </a:p>
          <a:p>
            <a:endParaRPr lang="en-US" sz="2000" dirty="0" smtClean="0"/>
          </a:p>
          <a:p>
            <a:r>
              <a:rPr lang="ru-RU" sz="2000" dirty="0" smtClean="0"/>
              <a:t>Автоматическая коррекция изменения геометрии и числа </a:t>
            </a:r>
            <a:r>
              <a:rPr lang="ru-RU" sz="2000" dirty="0" err="1" smtClean="0"/>
              <a:t>Рейнольдса</a:t>
            </a:r>
            <a:r>
              <a:rPr lang="en-US" sz="2000" dirty="0" smtClean="0"/>
              <a:t> …</a:t>
            </a:r>
          </a:p>
          <a:p>
            <a:pPr marL="742950" lvl="1" indent="-285750">
              <a:spcBef>
                <a:spcPts val="600"/>
              </a:spcBef>
              <a:buFont typeface="Wingdings" panose="05000000000000000000" pitchFamily="2" charset="2"/>
              <a:buChar char="ü"/>
            </a:pPr>
            <a:r>
              <a:rPr lang="ru-RU" dirty="0" smtClean="0"/>
              <a:t>Повышенная точность за счет автоматической коррекции изменения температуры и давления </a:t>
            </a:r>
            <a:endParaRPr lang="en-US" dirty="0" smtClean="0"/>
          </a:p>
          <a:p>
            <a:pPr marL="742950" lvl="1" indent="-285750">
              <a:buFont typeface="Wingdings" panose="05000000000000000000" pitchFamily="2" charset="2"/>
              <a:buChar char="ü"/>
            </a:pPr>
            <a:r>
              <a:rPr lang="ru-RU" dirty="0" smtClean="0"/>
              <a:t>Автоматический перенос из калибровочных условий к рабочим.</a:t>
            </a:r>
            <a:endParaRPr lang="en-US" dirty="0" smtClean="0"/>
          </a:p>
          <a:p>
            <a:pPr marL="742950" lvl="1" indent="-285750">
              <a:buFont typeface="Wingdings" panose="05000000000000000000" pitchFamily="2" charset="2"/>
              <a:buChar char="ü"/>
            </a:pPr>
            <a:r>
              <a:rPr lang="ru-RU" dirty="0" smtClean="0"/>
              <a:t>Обновление текущих значений температуры и давления</a:t>
            </a:r>
            <a:r>
              <a:rPr lang="en-US" dirty="0" smtClean="0"/>
              <a:t>:</a:t>
            </a:r>
          </a:p>
          <a:p>
            <a:pPr marL="1200150" lvl="2" indent="-285750">
              <a:buFont typeface="Wingdings" panose="05000000000000000000" pitchFamily="2" charset="2"/>
              <a:buChar char="ü"/>
            </a:pPr>
            <a:r>
              <a:rPr lang="ru-RU" sz="1600" dirty="0" smtClean="0"/>
              <a:t>От встроенных датчиков </a:t>
            </a:r>
            <a:r>
              <a:rPr lang="ru-RU" sz="1600" dirty="0"/>
              <a:t>температуры и </a:t>
            </a:r>
            <a:r>
              <a:rPr lang="ru-RU" sz="1600" dirty="0" smtClean="0"/>
              <a:t>давления или</a:t>
            </a:r>
            <a:endParaRPr lang="en-US" sz="1600" dirty="0"/>
          </a:p>
          <a:p>
            <a:pPr marL="1200150" lvl="2" indent="-285750">
              <a:buFont typeface="Wingdings" panose="05000000000000000000" pitchFamily="2" charset="2"/>
              <a:buChar char="ü"/>
            </a:pPr>
            <a:r>
              <a:rPr lang="ru-RU" sz="1600" dirty="0" smtClean="0"/>
              <a:t>Используя внешние датчики или</a:t>
            </a:r>
            <a:endParaRPr lang="en-US" sz="1600" dirty="0"/>
          </a:p>
          <a:p>
            <a:pPr marL="1200150" lvl="2" indent="-285750">
              <a:buFont typeface="Wingdings" panose="05000000000000000000" pitchFamily="2" charset="2"/>
              <a:buChar char="ü"/>
            </a:pPr>
            <a:r>
              <a:rPr lang="ru-RU" sz="1600" dirty="0" smtClean="0"/>
              <a:t>Получая данные от внешнего корректора расхода</a:t>
            </a:r>
            <a:endParaRPr lang="en-US" sz="1600" dirty="0"/>
          </a:p>
        </p:txBody>
      </p:sp>
      <p:pic>
        <p:nvPicPr>
          <p:cNvPr id="13" name="Picture 2"/>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087169" y="2899754"/>
            <a:ext cx="1692052" cy="8172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391747" y="1979315"/>
            <a:ext cx="2140960" cy="122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Fußzeilenplatzhalter 2"/>
          <p:cNvSpPr>
            <a:spLocks noGrp="1"/>
          </p:cNvSpPr>
          <p:nvPr>
            <p:ph type="ftr" sz="quarter" idx="11"/>
          </p:nvPr>
        </p:nvSpPr>
        <p:spPr>
          <a:xfrm>
            <a:off x="1560000" y="6653505"/>
            <a:ext cx="6786000" cy="180000"/>
          </a:xfrm>
        </p:spPr>
        <p:txBody>
          <a:bodyPr/>
          <a:lstStyle/>
          <a:p>
            <a:r>
              <a:rPr lang="en-US" dirty="0" smtClean="0"/>
              <a:t>Daniel </a:t>
            </a:r>
            <a:r>
              <a:rPr lang="en-US" dirty="0" err="1" smtClean="0"/>
              <a:t>Heinig</a:t>
            </a:r>
            <a:r>
              <a:rPr lang="en-US" dirty="0" smtClean="0"/>
              <a:t> | FLOWSIC600-XT | for external use</a:t>
            </a:r>
            <a:endParaRPr lang="en-US" dirty="0"/>
          </a:p>
        </p:txBody>
      </p:sp>
    </p:spTree>
    <p:extLst>
      <p:ext uri="{BB962C8B-B14F-4D97-AF65-F5344CB8AC3E}">
        <p14:creationId xmlns:p14="http://schemas.microsoft.com/office/powerpoint/2010/main" val="1773332239"/>
      </p:ext>
    </p:extLst>
  </p:cSld>
  <p:clrMapOvr>
    <a:masterClrMapping/>
  </p:clrMapOvr>
  <p:transition>
    <p:zoom/>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1FB8D038-2D38-4B10-A0EB-C05CC9130EB2}" type="slidenum">
              <a:rPr lang="en-US" smtClean="0"/>
              <a:t>14</a:t>
            </a:fld>
            <a:endParaRPr lang="en-US" dirty="0"/>
          </a:p>
        </p:txBody>
      </p:sp>
      <p:sp>
        <p:nvSpPr>
          <p:cNvPr id="7" name="Titel 6"/>
          <p:cNvSpPr>
            <a:spLocks noGrp="1"/>
          </p:cNvSpPr>
          <p:nvPr>
            <p:ph type="title"/>
          </p:nvPr>
        </p:nvSpPr>
        <p:spPr/>
        <p:txBody>
          <a:bodyPr/>
          <a:lstStyle/>
          <a:p>
            <a:r>
              <a:rPr lang="en-US" dirty="0" smtClean="0"/>
              <a:t>FLOWSIC600-XT</a:t>
            </a:r>
            <a:endParaRPr lang="en-US" dirty="0"/>
          </a:p>
        </p:txBody>
      </p:sp>
      <p:sp>
        <p:nvSpPr>
          <p:cNvPr id="8" name="Textfeld 12"/>
          <p:cNvSpPr txBox="1">
            <a:spLocks noChangeArrowheads="1"/>
          </p:cNvSpPr>
          <p:nvPr/>
        </p:nvSpPr>
        <p:spPr bwMode="auto">
          <a:xfrm>
            <a:off x="1261918" y="1125466"/>
            <a:ext cx="651595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7800" indent="-177800"/>
            <a:r>
              <a:rPr lang="en-US" altLang="de-DE" sz="2400" b="1" dirty="0" err="1" smtClean="0"/>
              <a:t>PowerIn</a:t>
            </a:r>
            <a:r>
              <a:rPr lang="en-US" altLang="de-DE" sz="2400" b="1" dirty="0" smtClean="0"/>
              <a:t> </a:t>
            </a:r>
            <a:r>
              <a:rPr lang="en-US" altLang="de-DE" sz="2400" b="1" dirty="0"/>
              <a:t>Technology</a:t>
            </a:r>
            <a:r>
              <a:rPr lang="en-US" altLang="de-DE" sz="2400" b="1" dirty="0" smtClean="0"/>
              <a:t>™ </a:t>
            </a:r>
            <a:r>
              <a:rPr lang="ru-RU" sz="2400" b="1" dirty="0" smtClean="0"/>
              <a:t>для автономной работы</a:t>
            </a:r>
            <a:endParaRPr lang="en-US" altLang="de-DE" sz="2400" b="1" dirty="0"/>
          </a:p>
        </p:txBody>
      </p:sp>
      <p:cxnSp>
        <p:nvCxnSpPr>
          <p:cNvPr id="10" name="Gerade Verbindung 9"/>
          <p:cNvCxnSpPr/>
          <p:nvPr/>
        </p:nvCxnSpPr>
        <p:spPr>
          <a:xfrm flipV="1">
            <a:off x="1261918" y="1587131"/>
            <a:ext cx="6643410" cy="1"/>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Fußzeilenplatzhalter 2"/>
          <p:cNvSpPr>
            <a:spLocks noGrp="1"/>
          </p:cNvSpPr>
          <p:nvPr>
            <p:ph type="ftr" sz="quarter" idx="11"/>
          </p:nvPr>
        </p:nvSpPr>
        <p:spPr>
          <a:xfrm>
            <a:off x="1560000" y="6652800"/>
            <a:ext cx="6786000" cy="180000"/>
          </a:xfrm>
        </p:spPr>
        <p:txBody>
          <a:bodyPr/>
          <a:lstStyle/>
          <a:p>
            <a:endParaRPr lang="de-DE" dirty="0"/>
          </a:p>
        </p:txBody>
      </p:sp>
      <p:sp>
        <p:nvSpPr>
          <p:cNvPr id="34" name="Rechteck 33"/>
          <p:cNvSpPr/>
          <p:nvPr/>
        </p:nvSpPr>
        <p:spPr>
          <a:xfrm>
            <a:off x="1612800" y="2009261"/>
            <a:ext cx="6733200" cy="400110"/>
          </a:xfrm>
          <a:prstGeom prst="rect">
            <a:avLst/>
          </a:prstGeom>
          <a:ln>
            <a:noFill/>
          </a:ln>
        </p:spPr>
        <p:txBody>
          <a:bodyPr wrap="square">
            <a:spAutoFit/>
          </a:bodyPr>
          <a:lstStyle/>
          <a:p>
            <a:pPr marL="285750" indent="-285750">
              <a:buFont typeface="Wingdings" panose="05000000000000000000" pitchFamily="2" charset="2"/>
              <a:buChar char="ü"/>
            </a:pPr>
            <a:r>
              <a:rPr lang="ru-RU" sz="2000" dirty="0" smtClean="0"/>
              <a:t>Уникально низкое энергопотребление - до 0,1 Вт</a:t>
            </a:r>
            <a:endParaRPr lang="en-US" sz="2000" dirty="0" smtClean="0"/>
          </a:p>
        </p:txBody>
      </p:sp>
      <p:sp>
        <p:nvSpPr>
          <p:cNvPr id="36" name="Rechteck 35"/>
          <p:cNvSpPr/>
          <p:nvPr/>
        </p:nvSpPr>
        <p:spPr>
          <a:xfrm>
            <a:off x="1612800" y="2798743"/>
            <a:ext cx="6125874" cy="707886"/>
          </a:xfrm>
          <a:prstGeom prst="rect">
            <a:avLst/>
          </a:prstGeom>
          <a:ln>
            <a:noFill/>
          </a:ln>
        </p:spPr>
        <p:txBody>
          <a:bodyPr wrap="square">
            <a:spAutoFit/>
          </a:bodyPr>
          <a:lstStyle/>
          <a:p>
            <a:pPr marL="285750" indent="-285750">
              <a:buFont typeface="Wingdings" panose="05000000000000000000" pitchFamily="2" charset="2"/>
              <a:buChar char="ü"/>
            </a:pPr>
            <a:r>
              <a:rPr lang="ru-RU" sz="2000" dirty="0" smtClean="0"/>
              <a:t>Встроенная резервная батарея, рассчитана на 20 лет работы без </a:t>
            </a:r>
            <a:r>
              <a:rPr lang="ru-RU" sz="2000" dirty="0"/>
              <a:t>потери емкости</a:t>
            </a:r>
            <a:endParaRPr lang="en-US" sz="2000" dirty="0"/>
          </a:p>
        </p:txBody>
      </p:sp>
      <p:sp>
        <p:nvSpPr>
          <p:cNvPr id="37" name="Rechteck 36"/>
          <p:cNvSpPr/>
          <p:nvPr/>
        </p:nvSpPr>
        <p:spPr>
          <a:xfrm>
            <a:off x="1612800" y="3710837"/>
            <a:ext cx="6120680" cy="707886"/>
          </a:xfrm>
          <a:prstGeom prst="rect">
            <a:avLst/>
          </a:prstGeom>
          <a:ln>
            <a:noFill/>
          </a:ln>
        </p:spPr>
        <p:txBody>
          <a:bodyPr wrap="square">
            <a:spAutoFit/>
          </a:bodyPr>
          <a:lstStyle/>
          <a:p>
            <a:pPr marL="285750" indent="-285750">
              <a:buFont typeface="Wingdings" panose="05000000000000000000" pitchFamily="2" charset="2"/>
              <a:buChar char="ü"/>
            </a:pPr>
            <a:r>
              <a:rPr lang="ru-RU" sz="2000" dirty="0" smtClean="0"/>
              <a:t>Сохранение работоспособности до 3-х недель при отключении внешнего питания</a:t>
            </a:r>
            <a:endParaRPr lang="en-US" sz="2000" dirty="0"/>
          </a:p>
        </p:txBody>
      </p:sp>
      <p:sp>
        <p:nvSpPr>
          <p:cNvPr id="38" name="Rechteck 37"/>
          <p:cNvSpPr/>
          <p:nvPr/>
        </p:nvSpPr>
        <p:spPr>
          <a:xfrm>
            <a:off x="1612800" y="4504052"/>
            <a:ext cx="6292528" cy="707886"/>
          </a:xfrm>
          <a:prstGeom prst="rect">
            <a:avLst/>
          </a:prstGeom>
          <a:ln>
            <a:noFill/>
          </a:ln>
        </p:spPr>
        <p:txBody>
          <a:bodyPr wrap="square">
            <a:spAutoFit/>
          </a:bodyPr>
          <a:lstStyle/>
          <a:p>
            <a:pPr marL="285750" indent="-285750">
              <a:buFont typeface="Wingdings" panose="05000000000000000000" pitchFamily="2" charset="2"/>
              <a:buChar char="ü"/>
            </a:pPr>
            <a:r>
              <a:rPr lang="ru-RU" sz="2000" dirty="0" smtClean="0"/>
              <a:t>Адаптирован к применению в энергонезависимых системах (солнечные батареи и  пр.)</a:t>
            </a:r>
            <a:endParaRPr lang="en-US" sz="2000" dirty="0"/>
          </a:p>
        </p:txBody>
      </p:sp>
      <p:pic>
        <p:nvPicPr>
          <p:cNvPr id="39" name="Picture 2" descr="http://sr.photos2.fotosearch.com/bthumb/CSP/CSP992/k1264133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6656" y="2931384"/>
            <a:ext cx="1276804" cy="20097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119453"/>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outVertical)">
                                      <p:cBhvr>
                                        <p:cTn id="7" dur="750"/>
                                        <p:tgtEl>
                                          <p:spTgt spid="10"/>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grpId="0" nodeType="withEffect">
                                  <p:stCondLst>
                                    <p:cond delay="125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175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grpId="0" nodeType="withEffect">
                                  <p:stCondLst>
                                    <p:cond delay="225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nodeType="withEffect">
                                  <p:stCondLst>
                                    <p:cond delay="275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6" grpId="0"/>
      <p:bldP spid="37" grpId="0"/>
      <p:bldP spid="3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2" descr="P:\PROJEKTE\G5\02_Arbeitspakete\2_12 PM\09_MarketingMarkteinführung\02_Markteinführung\99_Bildmaterial\Flowsic_2015_Jun_29_V4_small.jpg"/>
          <p:cNvPicPr>
            <a:picLocks noChangeAspect="1" noChangeArrowheads="1"/>
          </p:cNvPicPr>
          <p:nvPr/>
        </p:nvPicPr>
        <p:blipFill rotWithShape="1">
          <a:blip r:embed="rId3" cstate="email">
            <a:extLst/>
          </a:blip>
          <a:srcRect l="2766" r="852"/>
          <a:stretch/>
        </p:blipFill>
        <p:spPr bwMode="auto">
          <a:xfrm>
            <a:off x="1458922" y="1663700"/>
            <a:ext cx="7025100" cy="4863532"/>
          </a:xfrm>
          <a:prstGeom prst="rect">
            <a:avLst/>
          </a:prstGeom>
          <a:ln>
            <a:noFill/>
          </a:ln>
          <a:effectLst>
            <a:softEdge rad="112500"/>
          </a:effectLst>
          <a:extLst/>
        </p:spPr>
      </p:pic>
      <p:sp>
        <p:nvSpPr>
          <p:cNvPr id="103427" name="Foliennummernplatzhalter 1"/>
          <p:cNvSpPr>
            <a:spLocks noGrp="1"/>
          </p:cNvSpPr>
          <p:nvPr>
            <p:ph type="sldNum" sz="quarter" idx="14"/>
          </p:nvPr>
        </p:nvSpPr>
        <p:spPr bwMode="auto">
          <a:noFill/>
          <a:ln>
            <a:miter lim="800000"/>
            <a:headEnd/>
            <a:tailEnd/>
          </a:ln>
        </p:spPr>
        <p:txBody>
          <a:bodyPr wrap="square" numCol="1" compatLnSpc="1">
            <a:prstTxWarp prst="textNoShape">
              <a:avLst/>
            </a:prstTxWarp>
          </a:bodyPr>
          <a:lstStyle/>
          <a:p>
            <a:pPr fontAlgn="base">
              <a:spcBef>
                <a:spcPct val="0"/>
              </a:spcBef>
              <a:spcAft>
                <a:spcPct val="0"/>
              </a:spcAft>
            </a:pPr>
            <a:fld id="{F41EA1E6-4479-4C6A-92C7-0143E8F97E03}" type="slidenum">
              <a:rPr lang="en-US">
                <a:cs typeface="Arial" charset="0"/>
              </a:rPr>
              <a:pPr fontAlgn="base">
                <a:spcBef>
                  <a:spcPct val="0"/>
                </a:spcBef>
                <a:spcAft>
                  <a:spcPct val="0"/>
                </a:spcAft>
              </a:pPr>
              <a:t>15</a:t>
            </a:fld>
            <a:endParaRPr lang="en-US">
              <a:cs typeface="Arial" charset="0"/>
            </a:endParaRPr>
          </a:p>
        </p:txBody>
      </p:sp>
      <p:sp>
        <p:nvSpPr>
          <p:cNvPr id="7" name="Titel 6"/>
          <p:cNvSpPr>
            <a:spLocks noGrp="1"/>
          </p:cNvSpPr>
          <p:nvPr>
            <p:ph type="title"/>
          </p:nvPr>
        </p:nvSpPr>
        <p:spPr>
          <a:xfrm>
            <a:off x="525463" y="287338"/>
            <a:ext cx="7307262" cy="261937"/>
          </a:xfrm>
        </p:spPr>
        <p:txBody>
          <a:bodyPr/>
          <a:lstStyle/>
          <a:p>
            <a:pPr fontAlgn="auto">
              <a:spcAft>
                <a:spcPts val="0"/>
              </a:spcAft>
              <a:defRPr/>
            </a:pPr>
            <a:r>
              <a:rPr lang="en-US" dirty="0" smtClean="0"/>
              <a:t>FLOWSIC600-XT</a:t>
            </a:r>
            <a:endParaRPr lang="en-US" dirty="0"/>
          </a:p>
        </p:txBody>
      </p:sp>
      <p:sp>
        <p:nvSpPr>
          <p:cNvPr id="103431" name="Textfeld 12"/>
          <p:cNvSpPr txBox="1">
            <a:spLocks noChangeArrowheads="1"/>
          </p:cNvSpPr>
          <p:nvPr/>
        </p:nvSpPr>
        <p:spPr bwMode="auto">
          <a:xfrm>
            <a:off x="1262063" y="1125538"/>
            <a:ext cx="6938168" cy="369332"/>
          </a:xfrm>
          <a:prstGeom prst="rect">
            <a:avLst/>
          </a:prstGeom>
          <a:noFill/>
          <a:ln w="9525">
            <a:noFill/>
            <a:miter lim="800000"/>
            <a:headEnd/>
            <a:tailEnd/>
          </a:ln>
        </p:spPr>
        <p:txBody>
          <a:bodyPr wrap="square">
            <a:spAutoFit/>
          </a:bodyPr>
          <a:lstStyle/>
          <a:p>
            <a:pPr marL="177800" indent="-177800" fontAlgn="base">
              <a:spcBef>
                <a:spcPct val="0"/>
              </a:spcBef>
              <a:spcAft>
                <a:spcPct val="0"/>
              </a:spcAft>
            </a:pPr>
            <a:r>
              <a:rPr lang="ru-RU" altLang="de-DE" b="1" dirty="0">
                <a:solidFill>
                  <a:srgbClr val="000000"/>
                </a:solidFill>
                <a:latin typeface="Arial" charset="0"/>
                <a:cs typeface="Arial" charset="0"/>
              </a:rPr>
              <a:t>Функция интеллектуальной диагностики </a:t>
            </a:r>
            <a:r>
              <a:rPr lang="en-US" altLang="de-DE" b="1" dirty="0" err="1">
                <a:solidFill>
                  <a:srgbClr val="000000"/>
                </a:solidFill>
                <a:latin typeface="Arial" charset="0"/>
                <a:cs typeface="Arial" charset="0"/>
              </a:rPr>
              <a:t>i</a:t>
            </a:r>
            <a:r>
              <a:rPr lang="en-US" altLang="de-DE" b="1" dirty="0">
                <a:solidFill>
                  <a:srgbClr val="000000"/>
                </a:solidFill>
                <a:latin typeface="Arial" charset="0"/>
                <a:cs typeface="Arial" charset="0"/>
              </a:rPr>
              <a:t>-diagnostics™</a:t>
            </a:r>
          </a:p>
        </p:txBody>
      </p:sp>
      <p:sp>
        <p:nvSpPr>
          <p:cNvPr id="56" name="Abgerundete rechteckige Legende 55"/>
          <p:cNvSpPr/>
          <p:nvPr/>
        </p:nvSpPr>
        <p:spPr>
          <a:xfrm>
            <a:off x="1428750" y="2091110"/>
            <a:ext cx="1696045" cy="488578"/>
          </a:xfrm>
          <a:prstGeom prst="wedgeRoundRectCallout">
            <a:avLst>
              <a:gd name="adj1" fmla="val -23121"/>
              <a:gd name="adj2" fmla="val 621652"/>
              <a:gd name="adj3" fmla="val 16667"/>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54000" anchor="ctr"/>
          <a:lstStyle/>
          <a:p>
            <a:pPr algn="ctr" fontAlgn="base">
              <a:spcBef>
                <a:spcPct val="0"/>
              </a:spcBef>
              <a:spcAft>
                <a:spcPct val="0"/>
              </a:spcAft>
            </a:pPr>
            <a:r>
              <a:rPr lang="ru-RU" sz="1600" dirty="0" smtClean="0">
                <a:solidFill>
                  <a:srgbClr val="0E0E11"/>
                </a:solidFill>
                <a:cs typeface="Arial" charset="0"/>
              </a:rPr>
              <a:t>Блокировка трубопровода</a:t>
            </a:r>
            <a:endParaRPr lang="en-US" sz="1600" dirty="0">
              <a:solidFill>
                <a:srgbClr val="0E0E11"/>
              </a:solidFill>
              <a:cs typeface="Arial" charset="0"/>
            </a:endParaRPr>
          </a:p>
        </p:txBody>
      </p:sp>
      <p:sp>
        <p:nvSpPr>
          <p:cNvPr id="57" name="Abgerundete rechteckige Legende 56"/>
          <p:cNvSpPr/>
          <p:nvPr/>
        </p:nvSpPr>
        <p:spPr>
          <a:xfrm>
            <a:off x="5010150" y="4148138"/>
            <a:ext cx="1520825" cy="306387"/>
          </a:xfrm>
          <a:prstGeom prst="wedgeRoundRectCallout">
            <a:avLst>
              <a:gd name="adj1" fmla="val 50774"/>
              <a:gd name="adj2" fmla="val 194662"/>
              <a:gd name="adj3" fmla="val 16667"/>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54000" anchor="ctr"/>
          <a:lstStyle/>
          <a:p>
            <a:pPr algn="ctr" fontAlgn="base">
              <a:spcBef>
                <a:spcPct val="0"/>
              </a:spcBef>
              <a:spcAft>
                <a:spcPct val="0"/>
              </a:spcAft>
            </a:pPr>
            <a:r>
              <a:rPr lang="ru-RU" sz="1600" dirty="0" smtClean="0">
                <a:solidFill>
                  <a:srgbClr val="0E0E11"/>
                </a:solidFill>
                <a:cs typeface="Arial" charset="0"/>
              </a:rPr>
              <a:t>Загрязнение</a:t>
            </a:r>
            <a:endParaRPr lang="en-US" sz="1600" dirty="0">
              <a:solidFill>
                <a:srgbClr val="0E0E11"/>
              </a:solidFill>
              <a:cs typeface="Arial" charset="0"/>
            </a:endParaRPr>
          </a:p>
        </p:txBody>
      </p:sp>
      <p:sp>
        <p:nvSpPr>
          <p:cNvPr id="58" name="Abgerundete rechteckige Legende 57"/>
          <p:cNvSpPr/>
          <p:nvPr/>
        </p:nvSpPr>
        <p:spPr>
          <a:xfrm>
            <a:off x="6832600" y="5227638"/>
            <a:ext cx="1158875" cy="287337"/>
          </a:xfrm>
          <a:prstGeom prst="wedgeRoundRectCallout">
            <a:avLst>
              <a:gd name="adj1" fmla="val -50370"/>
              <a:gd name="adj2" fmla="val -201192"/>
              <a:gd name="adj3" fmla="val 16667"/>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54000" anchor="ctr"/>
          <a:lstStyle/>
          <a:p>
            <a:pPr algn="ctr" fontAlgn="base">
              <a:spcBef>
                <a:spcPct val="0"/>
              </a:spcBef>
              <a:spcAft>
                <a:spcPct val="0"/>
              </a:spcAft>
            </a:pPr>
            <a:r>
              <a:rPr lang="ru-RU" sz="1600">
                <a:solidFill>
                  <a:srgbClr val="0E0E11"/>
                </a:solidFill>
                <a:cs typeface="Arial" charset="0"/>
              </a:rPr>
              <a:t>Жидкость</a:t>
            </a:r>
            <a:endParaRPr lang="en-US" sz="1600">
              <a:solidFill>
                <a:srgbClr val="0E0E11"/>
              </a:solidFill>
              <a:cs typeface="Arial" charset="0"/>
            </a:endParaRPr>
          </a:p>
        </p:txBody>
      </p:sp>
      <p:sp>
        <p:nvSpPr>
          <p:cNvPr id="59" name="Abgerundete rechteckige Legende 58"/>
          <p:cNvSpPr/>
          <p:nvPr/>
        </p:nvSpPr>
        <p:spPr>
          <a:xfrm>
            <a:off x="3679825" y="1858963"/>
            <a:ext cx="2076450" cy="576262"/>
          </a:xfrm>
          <a:prstGeom prst="wedgeRoundRectCallout">
            <a:avLst>
              <a:gd name="adj1" fmla="val -38731"/>
              <a:gd name="adj2" fmla="val 380396"/>
              <a:gd name="adj3" fmla="val 16667"/>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54000" anchor="ctr"/>
          <a:lstStyle/>
          <a:p>
            <a:pPr algn="ctr" fontAlgn="base">
              <a:spcBef>
                <a:spcPct val="0"/>
              </a:spcBef>
              <a:spcAft>
                <a:spcPct val="0"/>
              </a:spcAft>
            </a:pPr>
            <a:r>
              <a:rPr lang="ru-RU" sz="2000" dirty="0">
                <a:solidFill>
                  <a:srgbClr val="0E0E11"/>
                </a:solidFill>
                <a:cs typeface="Arial" charset="0"/>
              </a:rPr>
              <a:t>Самодиагностика</a:t>
            </a:r>
            <a:endParaRPr lang="en-US" sz="2000" dirty="0">
              <a:solidFill>
                <a:srgbClr val="0E0E11"/>
              </a:solidFill>
              <a:cs typeface="Arial" charset="0"/>
            </a:endParaRPr>
          </a:p>
        </p:txBody>
      </p:sp>
      <p:grpSp>
        <p:nvGrpSpPr>
          <p:cNvPr id="62" name="Gruppieren 61"/>
          <p:cNvGrpSpPr>
            <a:grpSpLocks/>
          </p:cNvGrpSpPr>
          <p:nvPr/>
        </p:nvGrpSpPr>
        <p:grpSpPr bwMode="auto">
          <a:xfrm>
            <a:off x="6681788" y="1557338"/>
            <a:ext cx="3036887" cy="2201862"/>
            <a:chOff x="7329264" y="1052736"/>
            <a:chExt cx="2052861" cy="1584176"/>
          </a:xfrm>
        </p:grpSpPr>
        <p:sp>
          <p:nvSpPr>
            <p:cNvPr id="63" name="Wolke 62"/>
            <p:cNvSpPr/>
            <p:nvPr/>
          </p:nvSpPr>
          <p:spPr>
            <a:xfrm>
              <a:off x="7329264" y="1052736"/>
              <a:ext cx="2052861" cy="1584176"/>
            </a:xfrm>
            <a:prstGeom prst="cloud">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54000" anchor="ctr"/>
            <a:lstStyle/>
            <a:p>
              <a:pPr algn="ctr" fontAlgn="base">
                <a:spcBef>
                  <a:spcPct val="0"/>
                </a:spcBef>
                <a:spcAft>
                  <a:spcPct val="0"/>
                </a:spcAft>
                <a:defRPr/>
              </a:pPr>
              <a:endParaRPr lang="en-US" sz="2000" dirty="0">
                <a:solidFill>
                  <a:srgbClr val="FFFFFF"/>
                </a:solidFill>
              </a:endParaRPr>
            </a:p>
          </p:txBody>
        </p:sp>
        <p:pic>
          <p:nvPicPr>
            <p:cNvPr id="103449" name="Picture 4" descr="http://www.predictive.at/wp-content/uploads/2014/02/Datenanalyse.png"/>
            <p:cNvPicPr>
              <a:picLocks noChangeAspect="1" noChangeArrowheads="1"/>
            </p:cNvPicPr>
            <p:nvPr/>
          </p:nvPicPr>
          <p:blipFill>
            <a:blip r:embed="rId4"/>
            <a:srcRect/>
            <a:stretch>
              <a:fillRect/>
            </a:stretch>
          </p:blipFill>
          <p:spPr bwMode="auto">
            <a:xfrm>
              <a:off x="7823412" y="1304764"/>
              <a:ext cx="1308959" cy="1080120"/>
            </a:xfrm>
            <a:prstGeom prst="rect">
              <a:avLst/>
            </a:prstGeom>
            <a:noFill/>
            <a:ln w="9525">
              <a:noFill/>
              <a:miter lim="800000"/>
              <a:headEnd/>
              <a:tailEnd/>
            </a:ln>
          </p:spPr>
        </p:pic>
      </p:grpSp>
      <p:cxnSp>
        <p:nvCxnSpPr>
          <p:cNvPr id="35" name="Gerade Verbindung 34"/>
          <p:cNvCxnSpPr/>
          <p:nvPr/>
        </p:nvCxnSpPr>
        <p:spPr>
          <a:xfrm flipV="1">
            <a:off x="1262063" y="1587500"/>
            <a:ext cx="664368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Abgerundete rechteckige Legende 32"/>
          <p:cNvSpPr/>
          <p:nvPr/>
        </p:nvSpPr>
        <p:spPr>
          <a:xfrm>
            <a:off x="3679825" y="6064250"/>
            <a:ext cx="1808163" cy="287338"/>
          </a:xfrm>
          <a:prstGeom prst="wedgeRoundRectCallout">
            <a:avLst>
              <a:gd name="adj1" fmla="val -122556"/>
              <a:gd name="adj2" fmla="val -248703"/>
              <a:gd name="adj3" fmla="val 16667"/>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54000" anchor="ctr"/>
          <a:lstStyle/>
          <a:p>
            <a:pPr algn="ctr" fontAlgn="base">
              <a:spcBef>
                <a:spcPct val="0"/>
              </a:spcBef>
              <a:spcAft>
                <a:spcPct val="0"/>
              </a:spcAft>
            </a:pPr>
            <a:r>
              <a:rPr lang="ru-RU" sz="1600" dirty="0">
                <a:solidFill>
                  <a:srgbClr val="0E0E11"/>
                </a:solidFill>
                <a:cs typeface="Arial" charset="0"/>
              </a:rPr>
              <a:t>Возмущение потока</a:t>
            </a:r>
            <a:endParaRPr lang="en-US" sz="1600" dirty="0">
              <a:solidFill>
                <a:srgbClr val="0E0E11"/>
              </a:solidFill>
              <a:cs typeface="Arial" charset="0"/>
            </a:endParaRPr>
          </a:p>
        </p:txBody>
      </p:sp>
      <p:sp>
        <p:nvSpPr>
          <p:cNvPr id="103446" name="Fußzeilenplatzhalter 2"/>
          <p:cNvSpPr>
            <a:spLocks noGrp="1"/>
          </p:cNvSpPr>
          <p:nvPr>
            <p:ph type="ftr" sz="quarter" idx="15"/>
          </p:nvPr>
        </p:nvSpPr>
        <p:spPr bwMode="auto">
          <a:noFill/>
          <a:ln>
            <a:miter lim="800000"/>
            <a:headEnd/>
            <a:tailEnd/>
          </a:ln>
        </p:spPr>
        <p:txBody>
          <a:bodyPr wrap="square" numCol="1" compatLnSpc="1">
            <a:prstTxWarp prst="textNoShape">
              <a:avLst/>
            </a:prstTxWarp>
          </a:bodyPr>
          <a:lstStyle/>
          <a:p>
            <a:pPr fontAlgn="base">
              <a:spcBef>
                <a:spcPct val="0"/>
              </a:spcBef>
              <a:spcAft>
                <a:spcPct val="0"/>
              </a:spcAft>
            </a:pPr>
            <a:endParaRPr lang="de-DE" dirty="0" smtClean="0">
              <a:cs typeface="Arial" charset="0"/>
            </a:endParaRPr>
          </a:p>
        </p:txBody>
      </p:sp>
      <p:sp>
        <p:nvSpPr>
          <p:cNvPr id="40" name="Abgerundete rechteckige Legende 39"/>
          <p:cNvSpPr/>
          <p:nvPr/>
        </p:nvSpPr>
        <p:spPr>
          <a:xfrm>
            <a:off x="2309813" y="3605213"/>
            <a:ext cx="1212850" cy="288925"/>
          </a:xfrm>
          <a:prstGeom prst="wedgeRoundRectCallout">
            <a:avLst>
              <a:gd name="adj1" fmla="val -62203"/>
              <a:gd name="adj2" fmla="val 536662"/>
              <a:gd name="adj3" fmla="val 16667"/>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54000" anchor="ctr"/>
          <a:lstStyle/>
          <a:p>
            <a:pPr algn="ctr" fontAlgn="base">
              <a:spcBef>
                <a:spcPct val="0"/>
              </a:spcBef>
              <a:spcAft>
                <a:spcPct val="0"/>
              </a:spcAft>
            </a:pPr>
            <a:r>
              <a:rPr lang="ru-RU" sz="1600">
                <a:solidFill>
                  <a:srgbClr val="0E0E11"/>
                </a:solidFill>
                <a:cs typeface="Arial" charset="0"/>
              </a:rPr>
              <a:t>Шум</a:t>
            </a:r>
            <a:endParaRPr lang="en-US" sz="1600">
              <a:solidFill>
                <a:srgbClr val="0E0E11"/>
              </a:solidFill>
              <a:cs typeface="Arial" charset="0"/>
            </a:endParaRPr>
          </a:p>
        </p:txBody>
      </p:sp>
    </p:spTree>
    <p:extLst>
      <p:ext uri="{BB962C8B-B14F-4D97-AF65-F5344CB8AC3E}">
        <p14:creationId xmlns:p14="http://schemas.microsoft.com/office/powerpoint/2010/main" val="4214450025"/>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6"/>
                                        </p:tgtEl>
                                        <p:attrNameLst>
                                          <p:attrName>style.visibility</p:attrName>
                                        </p:attrNameLst>
                                      </p:cBhvr>
                                      <p:to>
                                        <p:strVal val="visible"/>
                                      </p:to>
                                    </p:set>
                                    <p:animEffect transition="in" filter="fade">
                                      <p:cBhvr>
                                        <p:cTn id="11" dur="500"/>
                                        <p:tgtEl>
                                          <p:spTgt spid="5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500"/>
                                        <p:tgtEl>
                                          <p:spTgt spid="59"/>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500"/>
                                        <p:tgtEl>
                                          <p:spTgt spid="3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fade">
                                      <p:cBhvr>
                                        <p:cTn id="27" dur="500"/>
                                        <p:tgtEl>
                                          <p:spTgt spid="57"/>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58"/>
                                        </p:tgtEl>
                                        <p:attrNameLst>
                                          <p:attrName>style.visibility</p:attrName>
                                        </p:attrNameLst>
                                      </p:cBhvr>
                                      <p:to>
                                        <p:strVal val="visible"/>
                                      </p:to>
                                    </p:set>
                                    <p:animEffect transition="in" filter="fade">
                                      <p:cBhvr>
                                        <p:cTn id="31" dur="500"/>
                                        <p:tgtEl>
                                          <p:spTgt spid="58"/>
                                        </p:tgtEl>
                                      </p:cBhvr>
                                    </p:animEffect>
                                  </p:childTnLst>
                                </p:cTn>
                              </p:par>
                              <p:par>
                                <p:cTn id="32" presetID="1" presetClass="entr" presetSubtype="0" fill="hold" nodeType="withEffect">
                                  <p:stCondLst>
                                    <p:cond delay="550"/>
                                  </p:stCondLst>
                                  <p:childTnLst>
                                    <p:set>
                                      <p:cBhvr>
                                        <p:cTn id="33"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58" grpId="0" animBg="1"/>
      <p:bldP spid="59" grpId="0" animBg="1"/>
      <p:bldP spid="33" grpId="0" animBg="1"/>
      <p:bldP spid="4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1FB8D038-2D38-4B10-A0EB-C05CC9130EB2}" type="slidenum">
              <a:rPr lang="en-US" smtClean="0">
                <a:solidFill>
                  <a:srgbClr val="000000"/>
                </a:solidFill>
              </a:rPr>
              <a:pPr/>
              <a:t>16</a:t>
            </a:fld>
            <a:endParaRPr lang="en-US" dirty="0">
              <a:solidFill>
                <a:srgbClr val="000000"/>
              </a:solidFill>
            </a:endParaRPr>
          </a:p>
        </p:txBody>
      </p:sp>
      <p:sp>
        <p:nvSpPr>
          <p:cNvPr id="4" name="Datumsplatzhalter 3"/>
          <p:cNvSpPr>
            <a:spLocks noGrp="1"/>
          </p:cNvSpPr>
          <p:nvPr>
            <p:ph type="dt" sz="half" idx="10"/>
          </p:nvPr>
        </p:nvSpPr>
        <p:spPr/>
        <p:txBody>
          <a:bodyPr/>
          <a:lstStyle/>
          <a:p>
            <a:endParaRPr lang="en-US" dirty="0">
              <a:solidFill>
                <a:srgbClr val="000000"/>
              </a:solidFill>
            </a:endParaRPr>
          </a:p>
        </p:txBody>
      </p:sp>
      <p:sp>
        <p:nvSpPr>
          <p:cNvPr id="7" name="Titel 6"/>
          <p:cNvSpPr>
            <a:spLocks noGrp="1"/>
          </p:cNvSpPr>
          <p:nvPr>
            <p:ph type="title"/>
          </p:nvPr>
        </p:nvSpPr>
        <p:spPr/>
        <p:txBody>
          <a:bodyPr/>
          <a:lstStyle/>
          <a:p>
            <a:r>
              <a:rPr lang="en-US" dirty="0" smtClean="0"/>
              <a:t>FLOWSIC600-XT</a:t>
            </a:r>
            <a:endParaRPr lang="en-US" dirty="0"/>
          </a:p>
        </p:txBody>
      </p:sp>
      <p:sp>
        <p:nvSpPr>
          <p:cNvPr id="8" name="Textfeld 12"/>
          <p:cNvSpPr txBox="1">
            <a:spLocks noChangeArrowheads="1"/>
          </p:cNvSpPr>
          <p:nvPr/>
        </p:nvSpPr>
        <p:spPr bwMode="auto">
          <a:xfrm>
            <a:off x="1261919" y="1125466"/>
            <a:ext cx="39167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7800" indent="-177800" fontAlgn="auto">
              <a:spcBef>
                <a:spcPct val="30000"/>
              </a:spcBef>
              <a:spcAft>
                <a:spcPts val="0"/>
              </a:spcAft>
            </a:pPr>
            <a:r>
              <a:rPr lang="ru-RU" altLang="de-DE" sz="2400" b="1" dirty="0" smtClean="0">
                <a:solidFill>
                  <a:srgbClr val="000000"/>
                </a:solidFill>
              </a:rPr>
              <a:t>Удобство обслуживания</a:t>
            </a:r>
            <a:endParaRPr lang="en-US" altLang="de-DE" sz="2400" b="1" dirty="0">
              <a:solidFill>
                <a:srgbClr val="000000"/>
              </a:solidFill>
            </a:endParaRPr>
          </a:p>
        </p:txBody>
      </p:sp>
      <p:cxnSp>
        <p:nvCxnSpPr>
          <p:cNvPr id="10" name="Gerade Verbindung 9"/>
          <p:cNvCxnSpPr/>
          <p:nvPr/>
        </p:nvCxnSpPr>
        <p:spPr>
          <a:xfrm>
            <a:off x="1261918" y="1587132"/>
            <a:ext cx="444561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Rechteck 22"/>
          <p:cNvSpPr/>
          <p:nvPr/>
        </p:nvSpPr>
        <p:spPr>
          <a:xfrm>
            <a:off x="1614291" y="1988840"/>
            <a:ext cx="7128792" cy="400110"/>
          </a:xfrm>
          <a:prstGeom prst="rect">
            <a:avLst/>
          </a:prstGeom>
          <a:ln>
            <a:noFill/>
          </a:ln>
        </p:spPr>
        <p:txBody>
          <a:bodyPr wrap="square">
            <a:spAutoFit/>
          </a:bodyPr>
          <a:lstStyle/>
          <a:p>
            <a:pPr marL="285750" indent="-285750" fontAlgn="auto">
              <a:spcBef>
                <a:spcPts val="0"/>
              </a:spcBef>
              <a:spcAft>
                <a:spcPts val="0"/>
              </a:spcAft>
              <a:buFont typeface="Wingdings" panose="05000000000000000000" pitchFamily="2" charset="2"/>
              <a:buChar char="ü"/>
            </a:pPr>
            <a:r>
              <a:rPr lang="ru-RU" sz="2000" dirty="0" smtClean="0">
                <a:solidFill>
                  <a:srgbClr val="000000"/>
                </a:solidFill>
                <a:latin typeface="SICK Franklin Condensed"/>
                <a:cs typeface="+mn-cs"/>
              </a:rPr>
              <a:t>ИК-порт: быстрый и удобный доступ для сервиса</a:t>
            </a:r>
            <a:endParaRPr lang="en-US" sz="2000" dirty="0">
              <a:solidFill>
                <a:srgbClr val="000000"/>
              </a:solidFill>
              <a:latin typeface="SICK Franklin Condensed"/>
              <a:cs typeface="+mn-cs"/>
            </a:endParaRPr>
          </a:p>
        </p:txBody>
      </p:sp>
      <p:pic>
        <p:nvPicPr>
          <p:cNvPr id="7170" name="Picture 2"/>
          <p:cNvPicPr>
            <a:picLocks noChangeAspect="1" noChangeArrowheads="1"/>
          </p:cNvPicPr>
          <p:nvPr/>
        </p:nvPicPr>
        <p:blipFill>
          <a:blip r:embed="rId3" cstate="email">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2048394" y="2674273"/>
            <a:ext cx="4426213" cy="3419023"/>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descr="https://upload.wikimedia.org/wikipedia/commons/thumb/f/fd/USB_Icon.svg/2000px-USB_Icon.svg.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998764" y="2867138"/>
            <a:ext cx="920156" cy="441479"/>
          </a:xfrm>
          <a:prstGeom prst="rect">
            <a:avLst/>
          </a:prstGeom>
          <a:noFill/>
          <a:extLst>
            <a:ext uri="{909E8E84-426E-40DD-AFC4-6F175D3DCCD1}">
              <a14:hiddenFill xmlns:a14="http://schemas.microsoft.com/office/drawing/2010/main">
                <a:solidFill>
                  <a:srgbClr val="FFFFFF"/>
                </a:solidFill>
              </a14:hiddenFill>
            </a:ext>
          </a:extLst>
        </p:spPr>
      </p:pic>
      <p:sp>
        <p:nvSpPr>
          <p:cNvPr id="11" name="Freihandform 10"/>
          <p:cNvSpPr/>
          <p:nvPr/>
        </p:nvSpPr>
        <p:spPr>
          <a:xfrm>
            <a:off x="5773663" y="3068960"/>
            <a:ext cx="2276475" cy="3280315"/>
          </a:xfrm>
          <a:custGeom>
            <a:avLst/>
            <a:gdLst>
              <a:gd name="connsiteX0" fmla="*/ 0 w 2276475"/>
              <a:gd name="connsiteY0" fmla="*/ 2895600 h 3280315"/>
              <a:gd name="connsiteX1" fmla="*/ 742950 w 2276475"/>
              <a:gd name="connsiteY1" fmla="*/ 3257550 h 3280315"/>
              <a:gd name="connsiteX2" fmla="*/ 1666875 w 2276475"/>
              <a:gd name="connsiteY2" fmla="*/ 2314575 h 3280315"/>
              <a:gd name="connsiteX3" fmla="*/ 1228725 w 2276475"/>
              <a:gd name="connsiteY3" fmla="*/ 800100 h 3280315"/>
              <a:gd name="connsiteX4" fmla="*/ 2276475 w 2276475"/>
              <a:gd name="connsiteY4" fmla="*/ 0 h 3280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6475" h="3280315">
                <a:moveTo>
                  <a:pt x="0" y="2895600"/>
                </a:moveTo>
                <a:cubicBezTo>
                  <a:pt x="232569" y="3124994"/>
                  <a:pt x="465138" y="3354388"/>
                  <a:pt x="742950" y="3257550"/>
                </a:cubicBezTo>
                <a:cubicBezTo>
                  <a:pt x="1020763" y="3160713"/>
                  <a:pt x="1585913" y="2724150"/>
                  <a:pt x="1666875" y="2314575"/>
                </a:cubicBezTo>
                <a:cubicBezTo>
                  <a:pt x="1747838" y="1905000"/>
                  <a:pt x="1127125" y="1185862"/>
                  <a:pt x="1228725" y="800100"/>
                </a:cubicBezTo>
                <a:cubicBezTo>
                  <a:pt x="1330325" y="414338"/>
                  <a:pt x="1803400" y="207169"/>
                  <a:pt x="2276475" y="0"/>
                </a:cubicBezTo>
              </a:path>
            </a:pathLst>
          </a:cu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e-DE">
              <a:solidFill>
                <a:srgbClr val="FFFFFF"/>
              </a:solidFill>
            </a:endParaRPr>
          </a:p>
        </p:txBody>
      </p:sp>
      <p:sp>
        <p:nvSpPr>
          <p:cNvPr id="12" name="Rechteck 11"/>
          <p:cNvSpPr/>
          <p:nvPr/>
        </p:nvSpPr>
        <p:spPr>
          <a:xfrm>
            <a:off x="8077200" y="2795786"/>
            <a:ext cx="841720" cy="5751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54000" rtlCol="0" anchor="ctr">
            <a:noAutofit/>
          </a:bodyPr>
          <a:lstStyle/>
          <a:p>
            <a:pPr algn="ctr" fontAlgn="auto">
              <a:spcBef>
                <a:spcPts val="0"/>
              </a:spcBef>
              <a:spcAft>
                <a:spcPts val="0"/>
              </a:spcAft>
            </a:pPr>
            <a:endParaRPr lang="de-DE" sz="2000" dirty="0" err="1" smtClean="0">
              <a:solidFill>
                <a:srgbClr val="FFFFFF"/>
              </a:solidFill>
            </a:endParaRPr>
          </a:p>
        </p:txBody>
      </p:sp>
      <p:sp>
        <p:nvSpPr>
          <p:cNvPr id="13" name="Textfeld 12"/>
          <p:cNvSpPr txBox="1"/>
          <p:nvPr/>
        </p:nvSpPr>
        <p:spPr>
          <a:xfrm>
            <a:off x="8173685" y="3298506"/>
            <a:ext cx="648749" cy="398655"/>
          </a:xfrm>
          <a:prstGeom prst="rect">
            <a:avLst/>
          </a:prstGeom>
          <a:noFill/>
        </p:spPr>
        <p:txBody>
          <a:bodyPr wrap="none" lIns="72000" tIns="36000" rIns="72000" bIns="54000" rtlCol="0">
            <a:spAutoFit/>
          </a:bodyPr>
          <a:lstStyle/>
          <a:p>
            <a:pPr fontAlgn="auto">
              <a:spcBef>
                <a:spcPts val="600"/>
              </a:spcBef>
              <a:spcAft>
                <a:spcPts val="0"/>
              </a:spcAft>
              <a:buClr>
                <a:srgbClr val="6E7A82"/>
              </a:buClr>
            </a:pPr>
            <a:r>
              <a:rPr lang="de-DE" sz="2000" dirty="0" smtClean="0">
                <a:solidFill>
                  <a:srgbClr val="000000"/>
                </a:solidFill>
                <a:latin typeface="SICK Franklin Condensed"/>
                <a:cs typeface="+mn-cs"/>
              </a:rPr>
              <a:t>U S B</a:t>
            </a:r>
          </a:p>
        </p:txBody>
      </p:sp>
      <p:sp>
        <p:nvSpPr>
          <p:cNvPr id="28" name="Fußzeilenplatzhalter 2"/>
          <p:cNvSpPr>
            <a:spLocks noGrp="1"/>
          </p:cNvSpPr>
          <p:nvPr>
            <p:ph type="ftr" sz="quarter" idx="11"/>
          </p:nvPr>
        </p:nvSpPr>
        <p:spPr>
          <a:xfrm>
            <a:off x="1560000" y="6652800"/>
            <a:ext cx="6786000" cy="180000"/>
          </a:xfrm>
        </p:spPr>
        <p:txBody>
          <a:bodyPr/>
          <a:lstStyle/>
          <a:p>
            <a:endParaRPr lang="de-DE" dirty="0">
              <a:solidFill>
                <a:srgbClr val="007FC3"/>
              </a:solidFill>
            </a:endParaRPr>
          </a:p>
        </p:txBody>
      </p:sp>
    </p:spTree>
    <p:extLst>
      <p:ext uri="{BB962C8B-B14F-4D97-AF65-F5344CB8AC3E}">
        <p14:creationId xmlns:p14="http://schemas.microsoft.com/office/powerpoint/2010/main" val="3700769259"/>
      </p:ext>
    </p:extLst>
  </p:cSld>
  <p:clrMapOvr>
    <a:masterClrMapping/>
  </p:clrMapOvr>
  <p:transition>
    <p:zoom/>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Flowsic600-XT</a:t>
            </a:r>
            <a:endParaRPr lang="en-US" dirty="0"/>
          </a:p>
        </p:txBody>
      </p:sp>
      <p:pic>
        <p:nvPicPr>
          <p:cNvPr id="3" name="Flowsic600XT_RUS.avi">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872716"/>
            <a:ext cx="9906000" cy="5572125"/>
          </a:xfrm>
          <a:prstGeom prst="rect">
            <a:avLst/>
          </a:prstGeom>
        </p:spPr>
      </p:pic>
    </p:spTree>
    <p:extLst>
      <p:ext uri="{BB962C8B-B14F-4D97-AF65-F5344CB8AC3E}">
        <p14:creationId xmlns:p14="http://schemas.microsoft.com/office/powerpoint/2010/main" val="2999461199"/>
      </p:ext>
    </p:extLst>
  </p:cSld>
  <p:clrMapOvr>
    <a:masterClrMapping/>
  </p:clrMapOvr>
  <p:transition>
    <p:zoom/>
  </p:transition>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1FB8D038-2D38-4B10-A0EB-C05CC9130EB2}" type="slidenum">
              <a:rPr lang="de-DE" smtClean="0"/>
              <a:pPr/>
              <a:t>18</a:t>
            </a:fld>
            <a:endParaRPr lang="de-DE"/>
          </a:p>
        </p:txBody>
      </p:sp>
      <p:sp>
        <p:nvSpPr>
          <p:cNvPr id="3" name="Fußzeilenplatzhalter 2"/>
          <p:cNvSpPr>
            <a:spLocks noGrp="1"/>
          </p:cNvSpPr>
          <p:nvPr>
            <p:ph type="ftr" sz="quarter" idx="11"/>
          </p:nvPr>
        </p:nvSpPr>
        <p:spPr/>
        <p:txBody>
          <a:bodyPr/>
          <a:lstStyle/>
          <a:p>
            <a:endParaRPr lang="de-DE" dirty="0"/>
          </a:p>
        </p:txBody>
      </p:sp>
      <p:sp>
        <p:nvSpPr>
          <p:cNvPr id="4" name="Datumsplatzhalter 3"/>
          <p:cNvSpPr>
            <a:spLocks noGrp="1"/>
          </p:cNvSpPr>
          <p:nvPr>
            <p:ph type="dt" sz="half" idx="10"/>
          </p:nvPr>
        </p:nvSpPr>
        <p:spPr/>
        <p:txBody>
          <a:bodyPr/>
          <a:lstStyle/>
          <a:p>
            <a:endParaRPr lang="de-DE" dirty="0"/>
          </a:p>
        </p:txBody>
      </p:sp>
      <p:sp>
        <p:nvSpPr>
          <p:cNvPr id="12" name="Inhaltsplatzhalter 11"/>
          <p:cNvSpPr>
            <a:spLocks noGrp="1"/>
          </p:cNvSpPr>
          <p:nvPr>
            <p:ph idx="1"/>
          </p:nvPr>
        </p:nvSpPr>
        <p:spPr/>
        <p:txBody>
          <a:bodyPr/>
          <a:lstStyle/>
          <a:p>
            <a:r>
              <a:rPr lang="ru-RU" dirty="0" smtClean="0"/>
              <a:t>Узел учета газа требует реконструкции из-за повышения производительности ГРС</a:t>
            </a:r>
            <a:r>
              <a:rPr lang="ru-RU" sz="1800" dirty="0" smtClean="0"/>
              <a:t> </a:t>
            </a:r>
            <a:endParaRPr lang="de-DE" sz="1800" dirty="0"/>
          </a:p>
          <a:p>
            <a:pPr marL="800100" lvl="1" indent="-342900">
              <a:buFont typeface="Wingdings" panose="05000000000000000000" pitchFamily="2" charset="2"/>
              <a:buChar char="ü"/>
            </a:pPr>
            <a:r>
              <a:rPr lang="ru-RU" sz="1600" dirty="0" smtClean="0"/>
              <a:t>Существующий узел учета реализован на турбинном счётчике газа.</a:t>
            </a:r>
            <a:endParaRPr lang="de-DE" sz="1600" dirty="0"/>
          </a:p>
          <a:p>
            <a:pPr marL="800100" lvl="1" indent="-342900">
              <a:buFont typeface="Wingdings" panose="05000000000000000000" pitchFamily="2" charset="2"/>
              <a:buChar char="ü"/>
            </a:pPr>
            <a:r>
              <a:rPr lang="ru-RU" sz="1600" dirty="0" smtClean="0"/>
              <a:t>Планируется применение ультразвукового счетчика газа (обеспечивается максимально широкий динамический диапазон).</a:t>
            </a:r>
            <a:endParaRPr lang="de-DE" sz="1600" dirty="0"/>
          </a:p>
          <a:p>
            <a:pPr marL="0" indent="0">
              <a:buNone/>
            </a:pPr>
            <a:r>
              <a:rPr lang="ru-RU" dirty="0" smtClean="0"/>
              <a:t>     →  Требуется: </a:t>
            </a:r>
          </a:p>
          <a:p>
            <a:pPr marL="800100" lvl="1" indent="-342900">
              <a:buFont typeface="Wingdings" panose="05000000000000000000" pitchFamily="2" charset="2"/>
              <a:buChar char="ü"/>
            </a:pPr>
            <a:r>
              <a:rPr lang="ru-RU" sz="1600" dirty="0" smtClean="0"/>
              <a:t>Увеличение </a:t>
            </a:r>
            <a:r>
              <a:rPr lang="ru-RU" sz="1600" dirty="0"/>
              <a:t>габаритов узла учета для обеспечения необходимых </a:t>
            </a:r>
            <a:r>
              <a:rPr lang="ru-RU" sz="1600" dirty="0" smtClean="0"/>
              <a:t>длин прямых участков.</a:t>
            </a:r>
          </a:p>
          <a:p>
            <a:pPr marL="800100" lvl="1" indent="-342900">
              <a:buFont typeface="Wingdings" panose="05000000000000000000" pitchFamily="2" charset="2"/>
              <a:buChar char="ü"/>
            </a:pPr>
            <a:r>
              <a:rPr lang="ru-RU" sz="1600" dirty="0" smtClean="0"/>
              <a:t>Возможно возникновение необходимости согласования землеотвода.</a:t>
            </a:r>
          </a:p>
          <a:p>
            <a:pPr marL="800100" lvl="1" indent="-342900">
              <a:buFont typeface="Wingdings" panose="05000000000000000000" pitchFamily="2" charset="2"/>
              <a:buChar char="ü"/>
            </a:pPr>
            <a:r>
              <a:rPr lang="ru-RU" sz="1600" dirty="0" smtClean="0"/>
              <a:t>Изменение конфигурации трубопроводов, приобретение труб, трубной арматуры, соответствующий объем монтажных работ. </a:t>
            </a:r>
            <a:endParaRPr lang="de-DE" sz="1600" dirty="0"/>
          </a:p>
        </p:txBody>
      </p:sp>
      <p:sp>
        <p:nvSpPr>
          <p:cNvPr id="11" name="Titel 10"/>
          <p:cNvSpPr>
            <a:spLocks noGrp="1"/>
          </p:cNvSpPr>
          <p:nvPr>
            <p:ph type="title"/>
          </p:nvPr>
        </p:nvSpPr>
        <p:spPr/>
        <p:txBody>
          <a:bodyPr/>
          <a:lstStyle/>
          <a:p>
            <a:r>
              <a:rPr lang="ru-RU" dirty="0" smtClean="0"/>
              <a:t>примеры оптимизации затрат</a:t>
            </a:r>
            <a:endParaRPr lang="de-DE" dirty="0"/>
          </a:p>
        </p:txBody>
      </p:sp>
      <p:sp>
        <p:nvSpPr>
          <p:cNvPr id="5" name="Textfeld 4"/>
          <p:cNvSpPr txBox="1"/>
          <p:nvPr/>
        </p:nvSpPr>
        <p:spPr>
          <a:xfrm rot="1381404">
            <a:off x="6481756" y="4706489"/>
            <a:ext cx="2751432" cy="1321985"/>
          </a:xfrm>
          <a:prstGeom prst="rect">
            <a:avLst/>
          </a:prstGeom>
          <a:effectLst>
            <a:outerShdw blurRad="50800" dist="38100" dir="5400000" algn="t"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square" lIns="72000" tIns="36000" rIns="72000" bIns="54000" rtlCol="0">
            <a:spAutoFit/>
          </a:bodyPr>
          <a:lstStyle/>
          <a:p>
            <a:pPr algn="ctr">
              <a:spcBef>
                <a:spcPts val="600"/>
              </a:spcBef>
              <a:buClr>
                <a:schemeClr val="accent4"/>
              </a:buClr>
            </a:pPr>
            <a:r>
              <a:rPr lang="ru-RU" sz="2000" b="1" dirty="0" smtClean="0"/>
              <a:t>Применение </a:t>
            </a:r>
            <a:r>
              <a:rPr lang="en-US" sz="2000" b="1" dirty="0" smtClean="0"/>
              <a:t>FLOWSIC600-XT </a:t>
            </a:r>
            <a:r>
              <a:rPr lang="ru-RU" sz="2000" b="1" dirty="0" smtClean="0"/>
              <a:t>минимизирует дополнительные затраты</a:t>
            </a:r>
            <a:endParaRPr lang="de-DE" sz="2000" b="1" dirty="0" smtClean="0"/>
          </a:p>
        </p:txBody>
      </p:sp>
      <p:pic>
        <p:nvPicPr>
          <p:cNvPr id="10" name="Picture 2" descr="P:\PROJEKTE\G5\02_Arbeitspakete\2_12 PM\09_MarketingMarkteinführung\02_Markteinführung\99_Bildmaterial\Bilder_8inch_8pfad\small\FLOWSIC600-XT_Forte_270815_025.jpg"/>
          <p:cNvPicPr>
            <a:picLocks noChangeAspect="1" noChangeArrowheads="1"/>
          </p:cNvPicPr>
          <p:nvPr/>
        </p:nvPicPr>
        <p:blipFill>
          <a:blip r:embed="rId2"/>
          <a:srcRect/>
          <a:stretch>
            <a:fillRect/>
          </a:stretch>
        </p:blipFill>
        <p:spPr bwMode="auto">
          <a:xfrm>
            <a:off x="2000672" y="3933056"/>
            <a:ext cx="3553978" cy="2664296"/>
          </a:xfrm>
          <a:prstGeom prst="rect">
            <a:avLst/>
          </a:prstGeom>
          <a:noFill/>
          <a:ln w="9525">
            <a:noFill/>
            <a:miter lim="800000"/>
            <a:headEnd/>
            <a:tailEnd/>
          </a:ln>
        </p:spPr>
      </p:pic>
    </p:spTree>
    <p:extLst>
      <p:ext uri="{BB962C8B-B14F-4D97-AF65-F5344CB8AC3E}">
        <p14:creationId xmlns:p14="http://schemas.microsoft.com/office/powerpoint/2010/main" val="166785159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1FB8D038-2D38-4B10-A0EB-C05CC9130EB2}" type="slidenum">
              <a:rPr lang="de-DE" smtClean="0"/>
              <a:pPr/>
              <a:t>19</a:t>
            </a:fld>
            <a:endParaRPr lang="de-DE"/>
          </a:p>
        </p:txBody>
      </p:sp>
      <p:sp>
        <p:nvSpPr>
          <p:cNvPr id="3" name="Fußzeilenplatzhalter 2"/>
          <p:cNvSpPr>
            <a:spLocks noGrp="1"/>
          </p:cNvSpPr>
          <p:nvPr>
            <p:ph type="ftr" sz="quarter" idx="11"/>
          </p:nvPr>
        </p:nvSpPr>
        <p:spPr/>
        <p:txBody>
          <a:bodyPr/>
          <a:lstStyle/>
          <a:p>
            <a:endParaRPr lang="de-DE" dirty="0"/>
          </a:p>
        </p:txBody>
      </p:sp>
      <p:sp>
        <p:nvSpPr>
          <p:cNvPr id="4" name="Datumsplatzhalter 3"/>
          <p:cNvSpPr>
            <a:spLocks noGrp="1"/>
          </p:cNvSpPr>
          <p:nvPr>
            <p:ph type="dt" sz="half" idx="10"/>
          </p:nvPr>
        </p:nvSpPr>
        <p:spPr/>
        <p:txBody>
          <a:bodyPr/>
          <a:lstStyle/>
          <a:p>
            <a:endParaRPr lang="de-DE" dirty="0"/>
          </a:p>
        </p:txBody>
      </p:sp>
      <p:sp>
        <p:nvSpPr>
          <p:cNvPr id="12" name="Inhaltsplatzhalter 11"/>
          <p:cNvSpPr>
            <a:spLocks noGrp="1"/>
          </p:cNvSpPr>
          <p:nvPr>
            <p:ph idx="1"/>
          </p:nvPr>
        </p:nvSpPr>
        <p:spPr/>
        <p:txBody>
          <a:bodyPr/>
          <a:lstStyle/>
          <a:p>
            <a:r>
              <a:rPr lang="ru-RU" dirty="0" smtClean="0"/>
              <a:t>Проектирование и строительство новой ГРС</a:t>
            </a:r>
            <a:r>
              <a:rPr lang="ru-RU" sz="1800" dirty="0" smtClean="0"/>
              <a:t> </a:t>
            </a:r>
            <a:endParaRPr lang="de-DE" sz="1800" dirty="0"/>
          </a:p>
          <a:p>
            <a:pPr marL="800100" lvl="1" indent="-342900">
              <a:buFont typeface="Wingdings" panose="05000000000000000000" pitchFamily="2" charset="2"/>
              <a:buChar char="ü"/>
            </a:pPr>
            <a:r>
              <a:rPr lang="ru-RU" sz="1600" dirty="0" smtClean="0"/>
              <a:t>В ТЗ заложено применение ультразвукового метода измерения расхода газа, как наиболее соответствующему принципу обеспечения </a:t>
            </a:r>
            <a:r>
              <a:rPr lang="ru-RU" sz="1600" dirty="0"/>
              <a:t>надежного и безопасного газоснабжения </a:t>
            </a:r>
            <a:r>
              <a:rPr lang="ru-RU" sz="1600" dirty="0" smtClean="0"/>
              <a:t>потребителей.</a:t>
            </a:r>
            <a:endParaRPr lang="de-DE" sz="1600" dirty="0" smtClean="0"/>
          </a:p>
          <a:p>
            <a:pPr marL="0" indent="0">
              <a:buNone/>
            </a:pPr>
            <a:r>
              <a:rPr lang="ru-RU" dirty="0" smtClean="0"/>
              <a:t>     →  Требуется: </a:t>
            </a:r>
          </a:p>
          <a:p>
            <a:pPr marL="800100" lvl="1" indent="-342900">
              <a:buFont typeface="Wingdings" panose="05000000000000000000" pitchFamily="2" charset="2"/>
              <a:buChar char="ü"/>
            </a:pPr>
            <a:r>
              <a:rPr lang="ru-RU" sz="1600" dirty="0" smtClean="0"/>
              <a:t>Спроектировать ГРС достаточных габаритов для размещения узла учета с соответствующими прямыми участками измерительного трубопровода (входной участок от 10 до 20 </a:t>
            </a:r>
            <a:r>
              <a:rPr lang="ru-RU" sz="1600" dirty="0" err="1" smtClean="0"/>
              <a:t>Ду</a:t>
            </a:r>
            <a:r>
              <a:rPr lang="ru-RU" sz="1600" dirty="0" smtClean="0"/>
              <a:t>).</a:t>
            </a:r>
          </a:p>
          <a:p>
            <a:pPr marL="800100" lvl="1" indent="-342900">
              <a:buFont typeface="Wingdings" panose="05000000000000000000" pitchFamily="2" charset="2"/>
              <a:buChar char="ü"/>
            </a:pPr>
            <a:r>
              <a:rPr lang="ru-RU" sz="1600" dirty="0" smtClean="0"/>
              <a:t>Разместить как можно более удаленно блок редуцирования и блок учета газа, чтобы исключить воздействие шумов от регуляторов давления.</a:t>
            </a:r>
          </a:p>
          <a:p>
            <a:pPr marL="800100" lvl="1" indent="-342900">
              <a:buFont typeface="Wingdings" panose="05000000000000000000" pitchFamily="2" charset="2"/>
              <a:buChar char="ü"/>
            </a:pPr>
            <a:endParaRPr lang="de-DE" sz="1600" dirty="0"/>
          </a:p>
        </p:txBody>
      </p:sp>
      <p:sp>
        <p:nvSpPr>
          <p:cNvPr id="11" name="Titel 10"/>
          <p:cNvSpPr>
            <a:spLocks noGrp="1"/>
          </p:cNvSpPr>
          <p:nvPr>
            <p:ph type="title"/>
          </p:nvPr>
        </p:nvSpPr>
        <p:spPr/>
        <p:txBody>
          <a:bodyPr/>
          <a:lstStyle/>
          <a:p>
            <a:r>
              <a:rPr lang="ru-RU" dirty="0" smtClean="0"/>
              <a:t>примеры оптимизации затрат</a:t>
            </a:r>
            <a:endParaRPr lang="de-DE" dirty="0"/>
          </a:p>
        </p:txBody>
      </p:sp>
      <p:sp>
        <p:nvSpPr>
          <p:cNvPr id="5" name="Textfeld 4"/>
          <p:cNvSpPr txBox="1"/>
          <p:nvPr/>
        </p:nvSpPr>
        <p:spPr>
          <a:xfrm rot="1381404">
            <a:off x="6490988" y="4114718"/>
            <a:ext cx="2751432" cy="1937538"/>
          </a:xfrm>
          <a:prstGeom prst="rect">
            <a:avLst/>
          </a:prstGeom>
          <a:effectLst>
            <a:outerShdw blurRad="50800" dist="38100" dir="5400000" algn="t"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square" lIns="72000" tIns="36000" rIns="72000" bIns="54000" rtlCol="0">
            <a:spAutoFit/>
          </a:bodyPr>
          <a:lstStyle/>
          <a:p>
            <a:pPr algn="ctr">
              <a:spcBef>
                <a:spcPts val="600"/>
              </a:spcBef>
              <a:buClr>
                <a:schemeClr val="accent4"/>
              </a:buClr>
            </a:pPr>
            <a:r>
              <a:rPr lang="ru-RU" sz="2000" b="1" dirty="0" smtClean="0"/>
              <a:t>Применение </a:t>
            </a:r>
            <a:r>
              <a:rPr lang="en-US" sz="2000" b="1" dirty="0" smtClean="0"/>
              <a:t>FLOWSIC600-XT </a:t>
            </a:r>
            <a:r>
              <a:rPr lang="ru-RU" sz="2000" b="1" dirty="0" smtClean="0"/>
              <a:t>позволяет минимизировать площадь размещения ГРС</a:t>
            </a:r>
            <a:endParaRPr lang="de-DE" sz="2000" b="1" dirty="0" smtClean="0"/>
          </a:p>
        </p:txBody>
      </p:sp>
      <p:pic>
        <p:nvPicPr>
          <p:cNvPr id="10" name="Picture 2" descr="P:\PROJEKTE\G5\02_Arbeitspakete\2_12 PM\09_MarketingMarkteinführung\02_Markteinführung\99_Bildmaterial\Bilder_8inch_8pfad\small\FLOWSIC600-XT_Forte_270815_025.jpg"/>
          <p:cNvPicPr>
            <a:picLocks noChangeAspect="1" noChangeArrowheads="1"/>
          </p:cNvPicPr>
          <p:nvPr/>
        </p:nvPicPr>
        <p:blipFill>
          <a:blip r:embed="rId2"/>
          <a:srcRect/>
          <a:stretch>
            <a:fillRect/>
          </a:stretch>
        </p:blipFill>
        <p:spPr bwMode="auto">
          <a:xfrm>
            <a:off x="2000672" y="3933056"/>
            <a:ext cx="3553978" cy="2664296"/>
          </a:xfrm>
          <a:prstGeom prst="rect">
            <a:avLst/>
          </a:prstGeom>
          <a:noFill/>
          <a:ln w="9525">
            <a:noFill/>
            <a:miter lim="800000"/>
            <a:headEnd/>
            <a:tailEnd/>
          </a:ln>
        </p:spPr>
      </p:pic>
    </p:spTree>
    <p:extLst>
      <p:ext uri="{BB962C8B-B14F-4D97-AF65-F5344CB8AC3E}">
        <p14:creationId xmlns:p14="http://schemas.microsoft.com/office/powerpoint/2010/main" val="383109688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Rectangle 4"/>
          <p:cNvSpPr>
            <a:spLocks noGrp="1" noChangeArrowheads="1"/>
          </p:cNvSpPr>
          <p:nvPr>
            <p:ph type="title"/>
          </p:nvPr>
        </p:nvSpPr>
        <p:spPr>
          <a:xfrm>
            <a:off x="415925" y="251996"/>
            <a:ext cx="7741431" cy="260680"/>
          </a:xfrm>
        </p:spPr>
        <p:txBody>
          <a:bodyPr>
            <a:noAutofit/>
          </a:bodyPr>
          <a:lstStyle/>
          <a:p>
            <a:pPr eaLnBrk="1" hangingPunct="1"/>
            <a:r>
              <a:rPr lang="ru-RU" sz="2000" dirty="0" smtClean="0">
                <a:solidFill>
                  <a:srgbClr val="0070C0"/>
                </a:solidFill>
              </a:rPr>
              <a:t>Решения</a:t>
            </a:r>
            <a:r>
              <a:rPr lang="en-US" sz="2000" dirty="0" smtClean="0">
                <a:solidFill>
                  <a:srgbClr val="0070C0"/>
                </a:solidFill>
              </a:rPr>
              <a:t>  SICK</a:t>
            </a:r>
            <a:r>
              <a:rPr lang="ru-RU" sz="2000" dirty="0" smtClean="0">
                <a:solidFill>
                  <a:srgbClr val="0070C0"/>
                </a:solidFill>
              </a:rPr>
              <a:t> для учета расхода газа</a:t>
            </a:r>
            <a:endParaRPr lang="en-US" sz="2000" dirty="0" smtClean="0">
              <a:solidFill>
                <a:srgbClr val="0070C0"/>
              </a:solidFill>
            </a:endParaRPr>
          </a:p>
        </p:txBody>
      </p:sp>
      <p:pic>
        <p:nvPicPr>
          <p:cNvPr id="15365" name="Picture 5"/>
          <p:cNvPicPr>
            <a:picLocks noChangeAspect="1" noChangeArrowheads="1"/>
          </p:cNvPicPr>
          <p:nvPr/>
        </p:nvPicPr>
        <p:blipFill>
          <a:blip r:embed="rId3"/>
          <a:srcRect t="4762" b="4076"/>
          <a:stretch>
            <a:fillRect/>
          </a:stretch>
        </p:blipFill>
        <p:spPr bwMode="auto">
          <a:xfrm>
            <a:off x="7689304" y="1671638"/>
            <a:ext cx="2230437" cy="1857375"/>
          </a:xfrm>
          <a:prstGeom prst="rect">
            <a:avLst/>
          </a:prstGeom>
          <a:noFill/>
          <a:ln w="9525">
            <a:noFill/>
            <a:miter lim="800000"/>
            <a:headEnd/>
            <a:tailEnd/>
          </a:ln>
        </p:spPr>
      </p:pic>
      <p:grpSp>
        <p:nvGrpSpPr>
          <p:cNvPr id="15366" name="Group 1030"/>
          <p:cNvGrpSpPr>
            <a:grpSpLocks/>
          </p:cNvGrpSpPr>
          <p:nvPr/>
        </p:nvGrpSpPr>
        <p:grpSpPr bwMode="auto">
          <a:xfrm>
            <a:off x="309563" y="1700808"/>
            <a:ext cx="2346325" cy="1600200"/>
            <a:chOff x="738" y="1008"/>
            <a:chExt cx="1243" cy="808"/>
          </a:xfrm>
        </p:grpSpPr>
        <p:pic>
          <p:nvPicPr>
            <p:cNvPr id="15376" name="Picture 1031"/>
            <p:cNvPicPr>
              <a:picLocks noChangeAspect="1" noChangeArrowheads="1"/>
            </p:cNvPicPr>
            <p:nvPr/>
          </p:nvPicPr>
          <p:blipFill>
            <a:blip r:embed="rId4"/>
            <a:srcRect/>
            <a:stretch>
              <a:fillRect/>
            </a:stretch>
          </p:blipFill>
          <p:spPr bwMode="auto">
            <a:xfrm>
              <a:off x="738" y="1030"/>
              <a:ext cx="960" cy="786"/>
            </a:xfrm>
            <a:prstGeom prst="rect">
              <a:avLst/>
            </a:prstGeom>
            <a:noFill/>
            <a:ln w="9525">
              <a:noFill/>
              <a:miter lim="800000"/>
              <a:headEnd/>
              <a:tailEnd/>
            </a:ln>
          </p:spPr>
        </p:pic>
        <p:pic>
          <p:nvPicPr>
            <p:cNvPr id="15377" name="Picture 1032"/>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a:off x="1320" y="1008"/>
              <a:ext cx="661" cy="485"/>
            </a:xfrm>
            <a:prstGeom prst="rect">
              <a:avLst/>
            </a:prstGeom>
            <a:noFill/>
            <a:ln w="9525">
              <a:noFill/>
              <a:miter lim="800000"/>
              <a:headEnd/>
              <a:tailEnd/>
            </a:ln>
          </p:spPr>
        </p:pic>
      </p:grpSp>
      <p:pic>
        <p:nvPicPr>
          <p:cNvPr id="15367" name="Picture 4" descr="FLOWSIC600_LCD"/>
          <p:cNvPicPr>
            <a:picLocks noChangeAspect="1" noChangeArrowheads="1"/>
          </p:cNvPicPr>
          <p:nvPr/>
        </p:nvPicPr>
        <p:blipFill>
          <a:blip r:embed="rId6"/>
          <a:srcRect/>
          <a:stretch>
            <a:fillRect/>
          </a:stretch>
        </p:blipFill>
        <p:spPr bwMode="auto">
          <a:xfrm>
            <a:off x="2891771" y="2281231"/>
            <a:ext cx="2143125" cy="1762125"/>
          </a:xfrm>
          <a:prstGeom prst="rect">
            <a:avLst/>
          </a:prstGeom>
          <a:noFill/>
          <a:ln w="9525">
            <a:noFill/>
            <a:miter lim="800000"/>
            <a:headEnd/>
            <a:tailEnd/>
          </a:ln>
        </p:spPr>
      </p:pic>
      <p:pic>
        <p:nvPicPr>
          <p:cNvPr id="15368" name="Picture 4" descr="C:\Documents and Settings\svotial\Desktop\Photo\FLOWSIC600Quatro.jpg"/>
          <p:cNvPicPr>
            <a:picLocks noChangeAspect="1" noChangeArrowheads="1"/>
          </p:cNvPicPr>
          <p:nvPr/>
        </p:nvPicPr>
        <p:blipFill>
          <a:blip r:embed="rId7"/>
          <a:srcRect/>
          <a:stretch>
            <a:fillRect/>
          </a:stretch>
        </p:blipFill>
        <p:spPr bwMode="auto">
          <a:xfrm>
            <a:off x="5153163" y="2187569"/>
            <a:ext cx="2500313" cy="1855787"/>
          </a:xfrm>
          <a:prstGeom prst="rect">
            <a:avLst/>
          </a:prstGeom>
          <a:noFill/>
          <a:ln w="9525">
            <a:noFill/>
            <a:miter lim="800000"/>
            <a:headEnd/>
            <a:tailEnd/>
          </a:ln>
        </p:spPr>
      </p:pic>
      <p:pic>
        <p:nvPicPr>
          <p:cNvPr id="15369" name="Grafik 30"/>
          <p:cNvPicPr>
            <a:picLocks noChangeAspect="1"/>
          </p:cNvPicPr>
          <p:nvPr/>
        </p:nvPicPr>
        <p:blipFill>
          <a:blip r:embed="rId8">
            <a:clrChange>
              <a:clrFrom>
                <a:srgbClr val="FFFFFF"/>
              </a:clrFrom>
              <a:clrTo>
                <a:srgbClr val="FFFFFF">
                  <a:alpha val="0"/>
                </a:srgbClr>
              </a:clrTo>
            </a:clrChange>
          </a:blip>
          <a:srcRect/>
          <a:stretch>
            <a:fillRect/>
          </a:stretch>
        </p:blipFill>
        <p:spPr bwMode="auto">
          <a:xfrm>
            <a:off x="3688695" y="3539207"/>
            <a:ext cx="2714625" cy="1978025"/>
          </a:xfrm>
          <a:prstGeom prst="rect">
            <a:avLst/>
          </a:prstGeom>
          <a:noFill/>
          <a:ln w="9525">
            <a:noFill/>
            <a:miter lim="800000"/>
            <a:headEnd/>
            <a:tailEnd/>
          </a:ln>
        </p:spPr>
      </p:pic>
      <p:pic>
        <p:nvPicPr>
          <p:cNvPr id="15370" name="Grafik 23"/>
          <p:cNvPicPr>
            <a:picLocks noChangeAspect="1"/>
          </p:cNvPicPr>
          <p:nvPr/>
        </p:nvPicPr>
        <p:blipFill>
          <a:blip r:embed="rId9"/>
          <a:srcRect/>
          <a:stretch>
            <a:fillRect/>
          </a:stretch>
        </p:blipFill>
        <p:spPr bwMode="auto">
          <a:xfrm>
            <a:off x="309563" y="4000500"/>
            <a:ext cx="2466975" cy="2008188"/>
          </a:xfrm>
          <a:prstGeom prst="rect">
            <a:avLst/>
          </a:prstGeom>
          <a:noFill/>
          <a:ln w="9525">
            <a:noFill/>
            <a:miter lim="800000"/>
            <a:headEnd/>
            <a:tailEnd/>
          </a:ln>
        </p:spPr>
      </p:pic>
      <p:sp>
        <p:nvSpPr>
          <p:cNvPr id="15371" name="Прямоугольник 85"/>
          <p:cNvSpPr>
            <a:spLocks noChangeArrowheads="1"/>
          </p:cNvSpPr>
          <p:nvPr/>
        </p:nvSpPr>
        <p:spPr bwMode="auto">
          <a:xfrm>
            <a:off x="4331633" y="1916832"/>
            <a:ext cx="1300421" cy="369332"/>
          </a:xfrm>
          <a:prstGeom prst="rect">
            <a:avLst/>
          </a:prstGeom>
          <a:noFill/>
          <a:ln w="9525">
            <a:noFill/>
            <a:miter lim="800000"/>
            <a:headEnd/>
            <a:tailEnd/>
          </a:ln>
        </p:spPr>
        <p:txBody>
          <a:bodyPr wrap="none">
            <a:spAutoFit/>
          </a:bodyPr>
          <a:lstStyle/>
          <a:p>
            <a:pPr fontAlgn="base">
              <a:spcBef>
                <a:spcPct val="0"/>
              </a:spcBef>
              <a:spcAft>
                <a:spcPct val="0"/>
              </a:spcAft>
            </a:pPr>
            <a:r>
              <a:rPr lang="de-DE" dirty="0"/>
              <a:t>FLOWSIC600</a:t>
            </a:r>
          </a:p>
        </p:txBody>
      </p:sp>
      <p:sp>
        <p:nvSpPr>
          <p:cNvPr id="15372" name="Прямоугольник 86"/>
          <p:cNvSpPr>
            <a:spLocks noChangeArrowheads="1"/>
          </p:cNvSpPr>
          <p:nvPr/>
        </p:nvSpPr>
        <p:spPr bwMode="auto">
          <a:xfrm>
            <a:off x="7835900" y="1172369"/>
            <a:ext cx="1632242" cy="369332"/>
          </a:xfrm>
          <a:prstGeom prst="rect">
            <a:avLst/>
          </a:prstGeom>
          <a:noFill/>
          <a:ln w="9525">
            <a:noFill/>
            <a:miter lim="800000"/>
            <a:headEnd/>
            <a:tailEnd/>
          </a:ln>
        </p:spPr>
        <p:txBody>
          <a:bodyPr wrap="none">
            <a:spAutoFit/>
          </a:bodyPr>
          <a:lstStyle/>
          <a:p>
            <a:pPr fontAlgn="base">
              <a:spcBef>
                <a:spcPct val="0"/>
              </a:spcBef>
              <a:spcAft>
                <a:spcPct val="0"/>
              </a:spcAft>
            </a:pPr>
            <a:r>
              <a:rPr lang="de-DE" dirty="0"/>
              <a:t>FLOWSIC</a:t>
            </a:r>
            <a:r>
              <a:rPr lang="ru-RU" dirty="0"/>
              <a:t>5</a:t>
            </a:r>
            <a:r>
              <a:rPr lang="de-DE" dirty="0"/>
              <a:t>00</a:t>
            </a:r>
            <a:r>
              <a:rPr lang="ru-RU" dirty="0"/>
              <a:t> </a:t>
            </a:r>
            <a:r>
              <a:rPr lang="en-US" dirty="0"/>
              <a:t>CIS</a:t>
            </a:r>
            <a:endParaRPr lang="de-DE" dirty="0"/>
          </a:p>
        </p:txBody>
      </p:sp>
      <p:sp>
        <p:nvSpPr>
          <p:cNvPr id="15373" name="Прямоугольник 87"/>
          <p:cNvSpPr>
            <a:spLocks noChangeArrowheads="1"/>
          </p:cNvSpPr>
          <p:nvPr/>
        </p:nvSpPr>
        <p:spPr bwMode="auto">
          <a:xfrm>
            <a:off x="452438" y="1196752"/>
            <a:ext cx="1300421" cy="369332"/>
          </a:xfrm>
          <a:prstGeom prst="rect">
            <a:avLst/>
          </a:prstGeom>
          <a:noFill/>
          <a:ln w="9525">
            <a:noFill/>
            <a:miter lim="800000"/>
            <a:headEnd/>
            <a:tailEnd/>
          </a:ln>
        </p:spPr>
        <p:txBody>
          <a:bodyPr wrap="none">
            <a:spAutoFit/>
          </a:bodyPr>
          <a:lstStyle/>
          <a:p>
            <a:pPr fontAlgn="base">
              <a:spcBef>
                <a:spcPct val="0"/>
              </a:spcBef>
              <a:spcAft>
                <a:spcPct val="0"/>
              </a:spcAft>
            </a:pPr>
            <a:r>
              <a:rPr lang="de-DE" dirty="0"/>
              <a:t>FLOWSIC</a:t>
            </a:r>
            <a:r>
              <a:rPr lang="ru-RU" dirty="0"/>
              <a:t>1</a:t>
            </a:r>
            <a:r>
              <a:rPr lang="de-DE" dirty="0"/>
              <a:t>00</a:t>
            </a:r>
          </a:p>
        </p:txBody>
      </p:sp>
      <p:sp>
        <p:nvSpPr>
          <p:cNvPr id="15374" name="Прямоугольник 88"/>
          <p:cNvSpPr>
            <a:spLocks noChangeArrowheads="1"/>
          </p:cNvSpPr>
          <p:nvPr/>
        </p:nvSpPr>
        <p:spPr bwMode="auto">
          <a:xfrm>
            <a:off x="736255" y="3571875"/>
            <a:ext cx="1300421" cy="369332"/>
          </a:xfrm>
          <a:prstGeom prst="rect">
            <a:avLst/>
          </a:prstGeom>
          <a:noFill/>
          <a:ln w="9525">
            <a:noFill/>
            <a:miter lim="800000"/>
            <a:headEnd/>
            <a:tailEnd/>
          </a:ln>
        </p:spPr>
        <p:txBody>
          <a:bodyPr wrap="none">
            <a:spAutoFit/>
          </a:bodyPr>
          <a:lstStyle/>
          <a:p>
            <a:pPr fontAlgn="base">
              <a:spcBef>
                <a:spcPct val="0"/>
              </a:spcBef>
              <a:spcAft>
                <a:spcPct val="0"/>
              </a:spcAft>
            </a:pPr>
            <a:r>
              <a:rPr lang="de-DE" dirty="0"/>
              <a:t>FLOWSIC</a:t>
            </a:r>
            <a:r>
              <a:rPr lang="ru-RU" dirty="0"/>
              <a:t>3</a:t>
            </a:r>
            <a:r>
              <a:rPr lang="de-DE" dirty="0"/>
              <a:t>00</a:t>
            </a:r>
          </a:p>
        </p:txBody>
      </p:sp>
      <p:pic>
        <p:nvPicPr>
          <p:cNvPr id="18" name="Grafik 1"/>
          <p:cNvPicPr>
            <a:picLocks noChangeAspect="1"/>
          </p:cNvPicPr>
          <p:nvPr/>
        </p:nvPicPr>
        <p:blipFill>
          <a:blip r:embed="rId10"/>
          <a:srcRect l="9093" t="28011" r="20630" b="13501"/>
          <a:stretch>
            <a:fillRect/>
          </a:stretch>
        </p:blipFill>
        <p:spPr bwMode="auto">
          <a:xfrm>
            <a:off x="7435461" y="4581127"/>
            <a:ext cx="1632744" cy="1964531"/>
          </a:xfrm>
          <a:prstGeom prst="rect">
            <a:avLst/>
          </a:prstGeom>
          <a:noFill/>
          <a:ln w="9525">
            <a:noFill/>
            <a:miter lim="800000"/>
            <a:headEnd/>
            <a:tailEnd/>
          </a:ln>
        </p:spPr>
      </p:pic>
      <p:sp>
        <p:nvSpPr>
          <p:cNvPr id="19" name="Прямоугольник 85"/>
          <p:cNvSpPr>
            <a:spLocks noChangeArrowheads="1"/>
          </p:cNvSpPr>
          <p:nvPr/>
        </p:nvSpPr>
        <p:spPr bwMode="auto">
          <a:xfrm>
            <a:off x="7689304" y="4202685"/>
            <a:ext cx="821892" cy="369332"/>
          </a:xfrm>
          <a:prstGeom prst="rect">
            <a:avLst/>
          </a:prstGeom>
          <a:noFill/>
          <a:ln w="9525">
            <a:noFill/>
            <a:miter lim="800000"/>
            <a:headEnd/>
            <a:tailEnd/>
          </a:ln>
        </p:spPr>
        <p:txBody>
          <a:bodyPr wrap="none">
            <a:spAutoFit/>
          </a:bodyPr>
          <a:lstStyle/>
          <a:p>
            <a:pPr fontAlgn="base">
              <a:spcBef>
                <a:spcPct val="0"/>
              </a:spcBef>
              <a:spcAft>
                <a:spcPct val="0"/>
              </a:spcAft>
            </a:pPr>
            <a:r>
              <a:rPr lang="de-DE" dirty="0"/>
              <a:t>FLOW-X</a:t>
            </a:r>
          </a:p>
        </p:txBody>
      </p:sp>
    </p:spTree>
    <p:extLst>
      <p:ext uri="{BB962C8B-B14F-4D97-AF65-F5344CB8AC3E}">
        <p14:creationId xmlns:p14="http://schemas.microsoft.com/office/powerpoint/2010/main" val="1654575636"/>
      </p:ext>
    </p:extLst>
  </p:cSld>
  <p:clrMapOvr>
    <a:masterClrMapping/>
  </p:clrMapOvr>
  <p:transition>
    <p:zoom/>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1FB8D038-2D38-4B10-A0EB-C05CC9130EB2}" type="slidenum">
              <a:rPr lang="de-DE" smtClean="0"/>
              <a:pPr/>
              <a:t>20</a:t>
            </a:fld>
            <a:endParaRPr lang="de-DE"/>
          </a:p>
        </p:txBody>
      </p:sp>
      <p:sp>
        <p:nvSpPr>
          <p:cNvPr id="3" name="Fußzeilenplatzhalter 2"/>
          <p:cNvSpPr>
            <a:spLocks noGrp="1"/>
          </p:cNvSpPr>
          <p:nvPr>
            <p:ph type="ftr" sz="quarter" idx="11"/>
          </p:nvPr>
        </p:nvSpPr>
        <p:spPr/>
        <p:txBody>
          <a:bodyPr/>
          <a:lstStyle/>
          <a:p>
            <a:endParaRPr lang="de-DE" dirty="0"/>
          </a:p>
        </p:txBody>
      </p:sp>
      <p:sp>
        <p:nvSpPr>
          <p:cNvPr id="4" name="Datumsplatzhalter 3"/>
          <p:cNvSpPr>
            <a:spLocks noGrp="1"/>
          </p:cNvSpPr>
          <p:nvPr>
            <p:ph type="dt" sz="half" idx="10"/>
          </p:nvPr>
        </p:nvSpPr>
        <p:spPr/>
        <p:txBody>
          <a:bodyPr/>
          <a:lstStyle/>
          <a:p>
            <a:endParaRPr lang="de-DE" dirty="0"/>
          </a:p>
        </p:txBody>
      </p:sp>
      <p:sp>
        <p:nvSpPr>
          <p:cNvPr id="12" name="Inhaltsplatzhalter 11"/>
          <p:cNvSpPr>
            <a:spLocks noGrp="1"/>
          </p:cNvSpPr>
          <p:nvPr>
            <p:ph idx="1"/>
          </p:nvPr>
        </p:nvSpPr>
        <p:spPr/>
        <p:txBody>
          <a:bodyPr/>
          <a:lstStyle/>
          <a:p>
            <a:r>
              <a:rPr lang="ru-RU" dirty="0" smtClean="0"/>
              <a:t>Изменение параметров технологического процесса </a:t>
            </a:r>
            <a:endParaRPr lang="de-DE" dirty="0" smtClean="0"/>
          </a:p>
          <a:p>
            <a:pPr marL="800100" lvl="1" indent="-342900">
              <a:buFont typeface="Wingdings" panose="05000000000000000000" pitchFamily="2" charset="2"/>
              <a:buChar char="ü"/>
            </a:pPr>
            <a:r>
              <a:rPr lang="ru-RU" sz="1600" dirty="0" smtClean="0"/>
              <a:t>Изменилось </a:t>
            </a:r>
            <a:r>
              <a:rPr lang="ru-RU" sz="1600" dirty="0"/>
              <a:t>рабочее давление газа с </a:t>
            </a:r>
            <a:r>
              <a:rPr lang="en-US" sz="1600" dirty="0" smtClean="0"/>
              <a:t>4</a:t>
            </a:r>
            <a:r>
              <a:rPr lang="de-DE" sz="1600" dirty="0" smtClean="0"/>
              <a:t> </a:t>
            </a:r>
            <a:r>
              <a:rPr lang="ru-RU" sz="1600" dirty="0" smtClean="0"/>
              <a:t>на </a:t>
            </a:r>
            <a:r>
              <a:rPr lang="en-US" sz="1600" dirty="0" smtClean="0"/>
              <a:t>12</a:t>
            </a:r>
            <a:r>
              <a:rPr lang="de-DE" sz="1600" dirty="0" smtClean="0"/>
              <a:t> </a:t>
            </a:r>
            <a:r>
              <a:rPr lang="ru-RU" sz="1600" dirty="0"/>
              <a:t>бар</a:t>
            </a:r>
            <a:r>
              <a:rPr lang="de-DE" sz="1600" dirty="0"/>
              <a:t>	</a:t>
            </a:r>
            <a:endParaRPr lang="ru-RU" sz="1600" dirty="0" smtClean="0"/>
          </a:p>
          <a:p>
            <a:pPr marL="800100" lvl="1" indent="-342900">
              <a:buFont typeface="Wingdings" panose="05000000000000000000" pitchFamily="2" charset="2"/>
              <a:buChar char="ü"/>
            </a:pPr>
            <a:r>
              <a:rPr lang="ru-RU" sz="1600" dirty="0" smtClean="0"/>
              <a:t>Изменился </a:t>
            </a:r>
            <a:r>
              <a:rPr lang="ru-RU" sz="1600" dirty="0"/>
              <a:t>диапазон </a:t>
            </a:r>
            <a:r>
              <a:rPr lang="ru-RU" sz="1600" dirty="0" smtClean="0"/>
              <a:t>расходов с </a:t>
            </a:r>
            <a:r>
              <a:rPr lang="de-DE" sz="1600" dirty="0"/>
              <a:t>1:50 </a:t>
            </a:r>
            <a:r>
              <a:rPr lang="ru-RU" sz="1600" dirty="0" smtClean="0"/>
              <a:t>на</a:t>
            </a:r>
            <a:r>
              <a:rPr lang="de-DE" sz="1600" dirty="0" smtClean="0"/>
              <a:t> </a:t>
            </a:r>
            <a:r>
              <a:rPr lang="de-DE" sz="1600" dirty="0"/>
              <a:t>1: 200	</a:t>
            </a:r>
          </a:p>
          <a:p>
            <a:pPr marL="800100" lvl="1" indent="-342900">
              <a:buFont typeface="Wingdings" panose="05000000000000000000" pitchFamily="2" charset="2"/>
              <a:buChar char="ü"/>
            </a:pPr>
            <a:endParaRPr lang="de-DE" sz="1600" dirty="0" smtClean="0"/>
          </a:p>
          <a:p>
            <a:pPr marL="0" indent="0">
              <a:buNone/>
            </a:pPr>
            <a:r>
              <a:rPr lang="ru-RU" dirty="0" smtClean="0"/>
              <a:t>     →  Требуется:</a:t>
            </a:r>
          </a:p>
          <a:p>
            <a:pPr marL="800100" lvl="1" indent="-342900">
              <a:buFont typeface="Wingdings" panose="05000000000000000000" pitchFamily="2" charset="2"/>
              <a:buChar char="ü"/>
            </a:pPr>
            <a:r>
              <a:rPr lang="ru-RU" sz="1600" dirty="0" smtClean="0"/>
              <a:t>Реконструкция </a:t>
            </a:r>
            <a:r>
              <a:rPr lang="ru-RU" sz="1600" dirty="0"/>
              <a:t>узла учета/ замена счетчика газа/ </a:t>
            </a:r>
            <a:r>
              <a:rPr lang="ru-RU" sz="1600" dirty="0" err="1"/>
              <a:t>перекалибровка</a:t>
            </a:r>
            <a:r>
              <a:rPr lang="ru-RU" sz="1600" dirty="0"/>
              <a:t> счетчика газа</a:t>
            </a:r>
            <a:endParaRPr lang="de-DE" sz="1600" dirty="0"/>
          </a:p>
          <a:p>
            <a:pPr lvl="1"/>
            <a:endParaRPr lang="de-DE" sz="2400" dirty="0"/>
          </a:p>
        </p:txBody>
      </p:sp>
      <p:sp>
        <p:nvSpPr>
          <p:cNvPr id="11" name="Titel 10"/>
          <p:cNvSpPr>
            <a:spLocks noGrp="1"/>
          </p:cNvSpPr>
          <p:nvPr>
            <p:ph type="title"/>
          </p:nvPr>
        </p:nvSpPr>
        <p:spPr/>
        <p:txBody>
          <a:bodyPr/>
          <a:lstStyle/>
          <a:p>
            <a:r>
              <a:rPr lang="ru-RU" dirty="0" smtClean="0"/>
              <a:t>примеры оптимизации затрат</a:t>
            </a:r>
            <a:endParaRPr lang="de-DE" dirty="0"/>
          </a:p>
        </p:txBody>
      </p:sp>
      <p:sp>
        <p:nvSpPr>
          <p:cNvPr id="5" name="Textfeld 4"/>
          <p:cNvSpPr txBox="1"/>
          <p:nvPr/>
        </p:nvSpPr>
        <p:spPr>
          <a:xfrm rot="1381404">
            <a:off x="6541943" y="4142683"/>
            <a:ext cx="2751432" cy="1014209"/>
          </a:xfrm>
          <a:prstGeom prst="rect">
            <a:avLst/>
          </a:prstGeom>
          <a:effectLst>
            <a:outerShdw blurRad="50800" dist="38100" dir="5400000" algn="t"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square" lIns="72000" tIns="36000" rIns="72000" bIns="54000" rtlCol="0">
            <a:spAutoFit/>
          </a:bodyPr>
          <a:lstStyle/>
          <a:p>
            <a:pPr algn="ctr">
              <a:spcBef>
                <a:spcPts val="600"/>
              </a:spcBef>
              <a:buClr>
                <a:schemeClr val="accent4"/>
              </a:buClr>
            </a:pPr>
            <a:r>
              <a:rPr lang="ru-RU" sz="2000" b="1" dirty="0" smtClean="0"/>
              <a:t>Если узел учета построен на </a:t>
            </a:r>
            <a:r>
              <a:rPr lang="en-US" sz="2000" b="1" dirty="0" smtClean="0"/>
              <a:t>FLOWSIC600-XT </a:t>
            </a:r>
            <a:r>
              <a:rPr lang="ru-RU" sz="2000" b="1" dirty="0" smtClean="0"/>
              <a:t>затраты не возникают</a:t>
            </a:r>
            <a:endParaRPr lang="de-DE" sz="2000" b="1" dirty="0" smtClean="0"/>
          </a:p>
        </p:txBody>
      </p:sp>
      <p:pic>
        <p:nvPicPr>
          <p:cNvPr id="10" name="Picture 2" descr="P:\PROJEKTE\G5\02_Arbeitspakete\2_12 PM\09_MarketingMarkteinführung\02_Markteinführung\99_Bildmaterial\Bilder_8inch_8pfad\small\FLOWSIC600-XT_Forte_270815_025.jpg"/>
          <p:cNvPicPr>
            <a:picLocks noChangeAspect="1" noChangeArrowheads="1"/>
          </p:cNvPicPr>
          <p:nvPr/>
        </p:nvPicPr>
        <p:blipFill>
          <a:blip r:embed="rId2"/>
          <a:srcRect/>
          <a:stretch>
            <a:fillRect/>
          </a:stretch>
        </p:blipFill>
        <p:spPr bwMode="auto">
          <a:xfrm>
            <a:off x="2159306" y="3573016"/>
            <a:ext cx="3909818" cy="2931057"/>
          </a:xfrm>
          <a:prstGeom prst="rect">
            <a:avLst/>
          </a:prstGeom>
          <a:noFill/>
          <a:ln w="9525">
            <a:noFill/>
            <a:miter lim="800000"/>
            <a:headEnd/>
            <a:tailEnd/>
          </a:ln>
        </p:spPr>
      </p:pic>
    </p:spTree>
    <p:extLst>
      <p:ext uri="{BB962C8B-B14F-4D97-AF65-F5344CB8AC3E}">
        <p14:creationId xmlns:p14="http://schemas.microsoft.com/office/powerpoint/2010/main" val="368492051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1FB8D038-2D38-4B10-A0EB-C05CC9130EB2}" type="slidenum">
              <a:rPr lang="de-DE" smtClean="0"/>
              <a:pPr/>
              <a:t>21</a:t>
            </a:fld>
            <a:endParaRPr lang="de-DE"/>
          </a:p>
        </p:txBody>
      </p:sp>
      <p:sp>
        <p:nvSpPr>
          <p:cNvPr id="3" name="Fußzeilenplatzhalter 2"/>
          <p:cNvSpPr>
            <a:spLocks noGrp="1"/>
          </p:cNvSpPr>
          <p:nvPr>
            <p:ph type="ftr" sz="quarter" idx="11"/>
          </p:nvPr>
        </p:nvSpPr>
        <p:spPr/>
        <p:txBody>
          <a:bodyPr/>
          <a:lstStyle/>
          <a:p>
            <a:endParaRPr lang="de-DE" dirty="0"/>
          </a:p>
        </p:txBody>
      </p:sp>
      <p:sp>
        <p:nvSpPr>
          <p:cNvPr id="4" name="Datumsplatzhalter 3"/>
          <p:cNvSpPr>
            <a:spLocks noGrp="1"/>
          </p:cNvSpPr>
          <p:nvPr>
            <p:ph type="dt" sz="half" idx="10"/>
          </p:nvPr>
        </p:nvSpPr>
        <p:spPr/>
        <p:txBody>
          <a:bodyPr/>
          <a:lstStyle/>
          <a:p>
            <a:endParaRPr lang="de-DE" dirty="0"/>
          </a:p>
        </p:txBody>
      </p:sp>
      <p:sp>
        <p:nvSpPr>
          <p:cNvPr id="12" name="Inhaltsplatzhalter 11"/>
          <p:cNvSpPr>
            <a:spLocks noGrp="1"/>
          </p:cNvSpPr>
          <p:nvPr>
            <p:ph idx="1"/>
          </p:nvPr>
        </p:nvSpPr>
        <p:spPr/>
        <p:txBody>
          <a:bodyPr/>
          <a:lstStyle/>
          <a:p>
            <a:r>
              <a:rPr lang="ru-RU" dirty="0" smtClean="0"/>
              <a:t>Изменени</a:t>
            </a:r>
            <a:r>
              <a:rPr lang="ru-RU" dirty="0"/>
              <a:t>е</a:t>
            </a:r>
            <a:r>
              <a:rPr lang="ru-RU" dirty="0" smtClean="0"/>
              <a:t> состава оборудования или схемы компоновки трубопроводов </a:t>
            </a:r>
            <a:endParaRPr lang="de-DE" dirty="0" smtClean="0"/>
          </a:p>
          <a:p>
            <a:pPr marL="800100" lvl="1" indent="-342900">
              <a:buFont typeface="Wingdings" panose="05000000000000000000" pitchFamily="2" charset="2"/>
              <a:buChar char="ü"/>
            </a:pPr>
            <a:r>
              <a:rPr lang="ru-RU" sz="1600" dirty="0" smtClean="0"/>
              <a:t>Регуляторы давления были заменены на другие с отличающимися частотными и шумовыми характеристиками</a:t>
            </a:r>
            <a:endParaRPr lang="de-DE" sz="1600" dirty="0" smtClean="0"/>
          </a:p>
          <a:p>
            <a:pPr marL="800100" lvl="1" indent="-342900">
              <a:buFont typeface="Wingdings" panose="05000000000000000000" pitchFamily="2" charset="2"/>
              <a:buChar char="ü"/>
            </a:pPr>
            <a:r>
              <a:rPr lang="ru-RU" sz="1600" dirty="0" smtClean="0"/>
              <a:t>На входе в блок учета газа изменилась схема </a:t>
            </a:r>
            <a:r>
              <a:rPr lang="ru-RU" sz="1600" dirty="0"/>
              <a:t>компоновки трубопроводов </a:t>
            </a:r>
            <a:endParaRPr lang="de-DE" sz="1600" dirty="0"/>
          </a:p>
          <a:p>
            <a:pPr marL="457200" lvl="1" indent="0">
              <a:buNone/>
            </a:pPr>
            <a:endParaRPr lang="de-DE" sz="1600" dirty="0" smtClean="0"/>
          </a:p>
          <a:p>
            <a:pPr marL="0" indent="0">
              <a:buNone/>
            </a:pPr>
            <a:r>
              <a:rPr lang="ru-RU" dirty="0" smtClean="0"/>
              <a:t>     →  Требуется:</a:t>
            </a:r>
          </a:p>
          <a:p>
            <a:pPr marL="800100" lvl="1" indent="-342900">
              <a:buFont typeface="Wingdings" panose="05000000000000000000" pitchFamily="2" charset="2"/>
              <a:buChar char="ü"/>
            </a:pPr>
            <a:r>
              <a:rPr lang="ru-RU" sz="1600" dirty="0" smtClean="0"/>
              <a:t>Изменение конфигурации входного участка измерительного трубопровода/ монтаж формирователя потока/ </a:t>
            </a:r>
            <a:r>
              <a:rPr lang="ru-RU" sz="1600" dirty="0"/>
              <a:t>замена счетчика </a:t>
            </a:r>
            <a:r>
              <a:rPr lang="ru-RU" sz="1600" dirty="0" smtClean="0"/>
              <a:t>газа</a:t>
            </a:r>
            <a:endParaRPr lang="de-DE" sz="2400" dirty="0"/>
          </a:p>
        </p:txBody>
      </p:sp>
      <p:sp>
        <p:nvSpPr>
          <p:cNvPr id="11" name="Titel 10"/>
          <p:cNvSpPr>
            <a:spLocks noGrp="1"/>
          </p:cNvSpPr>
          <p:nvPr>
            <p:ph type="title"/>
          </p:nvPr>
        </p:nvSpPr>
        <p:spPr/>
        <p:txBody>
          <a:bodyPr/>
          <a:lstStyle/>
          <a:p>
            <a:r>
              <a:rPr lang="ru-RU" dirty="0" smtClean="0"/>
              <a:t>примеры оптимизации затрат</a:t>
            </a:r>
            <a:endParaRPr lang="de-DE" dirty="0"/>
          </a:p>
        </p:txBody>
      </p:sp>
      <p:sp>
        <p:nvSpPr>
          <p:cNvPr id="5" name="Textfeld 4"/>
          <p:cNvSpPr txBox="1"/>
          <p:nvPr/>
        </p:nvSpPr>
        <p:spPr>
          <a:xfrm rot="1381404">
            <a:off x="6541943" y="3988795"/>
            <a:ext cx="2751432" cy="1321985"/>
          </a:xfrm>
          <a:prstGeom prst="rect">
            <a:avLst/>
          </a:prstGeom>
          <a:effectLst>
            <a:outerShdw blurRad="50800" dist="38100" dir="5400000" algn="t"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square" lIns="72000" tIns="36000" rIns="72000" bIns="54000" rtlCol="0">
            <a:spAutoFit/>
          </a:bodyPr>
          <a:lstStyle/>
          <a:p>
            <a:pPr algn="ctr">
              <a:spcBef>
                <a:spcPts val="600"/>
              </a:spcBef>
              <a:buClr>
                <a:schemeClr val="accent4"/>
              </a:buClr>
            </a:pPr>
            <a:r>
              <a:rPr lang="ru-RU" sz="2000" b="1" dirty="0" smtClean="0"/>
              <a:t>Если узел учета построен на </a:t>
            </a:r>
            <a:r>
              <a:rPr lang="en-US" sz="2000" b="1" dirty="0" smtClean="0"/>
              <a:t>FLOWSIC600-XT </a:t>
            </a:r>
            <a:r>
              <a:rPr lang="ru-RU" sz="2000" b="1" dirty="0" smtClean="0"/>
              <a:t>изменения в составе узла не нужны</a:t>
            </a:r>
            <a:endParaRPr lang="de-DE" sz="2000" b="1" dirty="0" smtClean="0"/>
          </a:p>
        </p:txBody>
      </p:sp>
      <p:pic>
        <p:nvPicPr>
          <p:cNvPr id="10" name="Picture 2" descr="P:\PROJEKTE\G5\02_Arbeitspakete\2_12 PM\09_MarketingMarkteinführung\02_Markteinführung\99_Bildmaterial\Bilder_8inch_8pfad\small\FLOWSIC600-XT_Forte_270815_025.jpg"/>
          <p:cNvPicPr>
            <a:picLocks noChangeAspect="1" noChangeArrowheads="1"/>
          </p:cNvPicPr>
          <p:nvPr/>
        </p:nvPicPr>
        <p:blipFill>
          <a:blip r:embed="rId2"/>
          <a:srcRect/>
          <a:stretch>
            <a:fillRect/>
          </a:stretch>
        </p:blipFill>
        <p:spPr bwMode="auto">
          <a:xfrm>
            <a:off x="2159306" y="3573016"/>
            <a:ext cx="3909818" cy="2931057"/>
          </a:xfrm>
          <a:prstGeom prst="rect">
            <a:avLst/>
          </a:prstGeom>
          <a:noFill/>
          <a:ln w="9525">
            <a:noFill/>
            <a:miter lim="800000"/>
            <a:headEnd/>
            <a:tailEnd/>
          </a:ln>
        </p:spPr>
      </p:pic>
    </p:spTree>
    <p:extLst>
      <p:ext uri="{BB962C8B-B14F-4D97-AF65-F5344CB8AC3E}">
        <p14:creationId xmlns:p14="http://schemas.microsoft.com/office/powerpoint/2010/main" val="277459984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1FB8D038-2D38-4B10-A0EB-C05CC9130EB2}" type="slidenum">
              <a:rPr lang="de-DE" smtClean="0"/>
              <a:pPr/>
              <a:t>22</a:t>
            </a:fld>
            <a:endParaRPr lang="de-DE"/>
          </a:p>
        </p:txBody>
      </p:sp>
      <p:sp>
        <p:nvSpPr>
          <p:cNvPr id="3" name="Fußzeilenplatzhalter 2"/>
          <p:cNvSpPr>
            <a:spLocks noGrp="1"/>
          </p:cNvSpPr>
          <p:nvPr>
            <p:ph type="ftr" sz="quarter" idx="11"/>
          </p:nvPr>
        </p:nvSpPr>
        <p:spPr/>
        <p:txBody>
          <a:bodyPr/>
          <a:lstStyle/>
          <a:p>
            <a:endParaRPr lang="de-DE" dirty="0"/>
          </a:p>
        </p:txBody>
      </p:sp>
      <p:sp>
        <p:nvSpPr>
          <p:cNvPr id="4" name="Datumsplatzhalter 3"/>
          <p:cNvSpPr>
            <a:spLocks noGrp="1"/>
          </p:cNvSpPr>
          <p:nvPr>
            <p:ph type="dt" sz="half" idx="10"/>
          </p:nvPr>
        </p:nvSpPr>
        <p:spPr/>
        <p:txBody>
          <a:bodyPr/>
          <a:lstStyle/>
          <a:p>
            <a:endParaRPr lang="de-DE" dirty="0"/>
          </a:p>
        </p:txBody>
      </p:sp>
      <p:sp>
        <p:nvSpPr>
          <p:cNvPr id="12" name="Inhaltsplatzhalter 11"/>
          <p:cNvSpPr>
            <a:spLocks noGrp="1"/>
          </p:cNvSpPr>
          <p:nvPr>
            <p:ph idx="1"/>
          </p:nvPr>
        </p:nvSpPr>
        <p:spPr/>
        <p:txBody>
          <a:bodyPr/>
          <a:lstStyle/>
          <a:p>
            <a:r>
              <a:rPr lang="ru-RU" dirty="0" smtClean="0"/>
              <a:t>Внедрение автономной системы энергоснабжения</a:t>
            </a:r>
            <a:endParaRPr lang="de-DE" dirty="0" smtClean="0"/>
          </a:p>
          <a:p>
            <a:pPr marL="800100" lvl="1" indent="-342900">
              <a:buFont typeface="Wingdings" panose="05000000000000000000" pitchFamily="2" charset="2"/>
              <a:buChar char="ü"/>
            </a:pPr>
            <a:r>
              <a:rPr lang="ru-RU" sz="1600" dirty="0" smtClean="0"/>
              <a:t>Новый </a:t>
            </a:r>
            <a:r>
              <a:rPr lang="ru-RU" sz="1600" dirty="0"/>
              <a:t>объект проектируется с учетом возможности </a:t>
            </a:r>
            <a:r>
              <a:rPr lang="ru-RU" sz="1600" dirty="0" smtClean="0"/>
              <a:t>энергоснабжения </a:t>
            </a:r>
            <a:r>
              <a:rPr lang="ru-RU" sz="1600" dirty="0"/>
              <a:t>от автономных источников питания </a:t>
            </a:r>
            <a:endParaRPr lang="de-DE" sz="1600" dirty="0" smtClean="0"/>
          </a:p>
          <a:p>
            <a:pPr marL="800100" lvl="1" indent="-342900">
              <a:buFont typeface="Wingdings" panose="05000000000000000000" pitchFamily="2" charset="2"/>
              <a:buChar char="ü"/>
            </a:pPr>
            <a:r>
              <a:rPr lang="ru-RU" sz="1600" dirty="0" smtClean="0"/>
              <a:t>Удаленный существующий объект переводится на автономное энергоснабжение</a:t>
            </a:r>
            <a:endParaRPr lang="de-DE" sz="1600" dirty="0" smtClean="0"/>
          </a:p>
          <a:p>
            <a:pPr marL="0" indent="0">
              <a:buNone/>
            </a:pPr>
            <a:r>
              <a:rPr lang="ru-RU" dirty="0" smtClean="0"/>
              <a:t>     →  Требуется:</a:t>
            </a:r>
          </a:p>
          <a:p>
            <a:pPr marL="800100" lvl="1" indent="-342900">
              <a:buFont typeface="Wingdings" panose="05000000000000000000" pitchFamily="2" charset="2"/>
              <a:buChar char="ü"/>
            </a:pPr>
            <a:r>
              <a:rPr lang="ru-RU" sz="1600" dirty="0" smtClean="0"/>
              <a:t>Применение высокопроизводительного источника энергоснабжения/ замена </a:t>
            </a:r>
            <a:r>
              <a:rPr lang="ru-RU" sz="1600" dirty="0"/>
              <a:t>счетчика </a:t>
            </a:r>
            <a:r>
              <a:rPr lang="ru-RU" sz="1600" dirty="0" smtClean="0"/>
              <a:t>газа</a:t>
            </a:r>
            <a:endParaRPr lang="de-DE" sz="2400" dirty="0"/>
          </a:p>
        </p:txBody>
      </p:sp>
      <p:sp>
        <p:nvSpPr>
          <p:cNvPr id="11" name="Titel 10"/>
          <p:cNvSpPr>
            <a:spLocks noGrp="1"/>
          </p:cNvSpPr>
          <p:nvPr>
            <p:ph type="title"/>
          </p:nvPr>
        </p:nvSpPr>
        <p:spPr/>
        <p:txBody>
          <a:bodyPr/>
          <a:lstStyle/>
          <a:p>
            <a:r>
              <a:rPr lang="ru-RU" dirty="0" smtClean="0"/>
              <a:t>примеры оптимизации затрат</a:t>
            </a:r>
            <a:endParaRPr lang="de-DE" dirty="0"/>
          </a:p>
        </p:txBody>
      </p:sp>
      <p:sp>
        <p:nvSpPr>
          <p:cNvPr id="5" name="Textfeld 4"/>
          <p:cNvSpPr txBox="1"/>
          <p:nvPr/>
        </p:nvSpPr>
        <p:spPr>
          <a:xfrm rot="1381404">
            <a:off x="6541943" y="3681019"/>
            <a:ext cx="2751432" cy="1937538"/>
          </a:xfrm>
          <a:prstGeom prst="rect">
            <a:avLst/>
          </a:prstGeom>
          <a:effectLst>
            <a:outerShdw blurRad="50800" dist="38100" dir="5400000" algn="t"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square" lIns="72000" tIns="36000" rIns="72000" bIns="54000" rtlCol="0">
            <a:spAutoFit/>
          </a:bodyPr>
          <a:lstStyle/>
          <a:p>
            <a:pPr algn="ctr">
              <a:spcBef>
                <a:spcPts val="600"/>
              </a:spcBef>
              <a:buClr>
                <a:schemeClr val="accent4"/>
              </a:buClr>
            </a:pPr>
            <a:r>
              <a:rPr lang="en-US" sz="2000" b="1" dirty="0" smtClean="0"/>
              <a:t>FLOWSIC600-XT </a:t>
            </a:r>
            <a:r>
              <a:rPr lang="ru-RU" sz="2000" b="1" dirty="0" smtClean="0"/>
              <a:t>исключает дополнительные затраты на решение задачи автономного энергоснабжения </a:t>
            </a:r>
            <a:endParaRPr lang="de-DE" sz="2000" b="1" dirty="0" smtClean="0"/>
          </a:p>
        </p:txBody>
      </p:sp>
      <p:pic>
        <p:nvPicPr>
          <p:cNvPr id="10" name="Picture 2" descr="P:\PROJEKTE\G5\02_Arbeitspakete\2_12 PM\09_MarketingMarkteinführung\02_Markteinführung\99_Bildmaterial\Bilder_8inch_8pfad\small\FLOWSIC600-XT_Forte_270815_025.jpg"/>
          <p:cNvPicPr>
            <a:picLocks noChangeAspect="1" noChangeArrowheads="1"/>
          </p:cNvPicPr>
          <p:nvPr/>
        </p:nvPicPr>
        <p:blipFill>
          <a:blip r:embed="rId2"/>
          <a:srcRect/>
          <a:stretch>
            <a:fillRect/>
          </a:stretch>
        </p:blipFill>
        <p:spPr bwMode="auto">
          <a:xfrm>
            <a:off x="2159306" y="3573016"/>
            <a:ext cx="3909818" cy="2931057"/>
          </a:xfrm>
          <a:prstGeom prst="rect">
            <a:avLst/>
          </a:prstGeom>
          <a:noFill/>
          <a:ln w="9525">
            <a:noFill/>
            <a:miter lim="800000"/>
            <a:headEnd/>
            <a:tailEnd/>
          </a:ln>
        </p:spPr>
      </p:pic>
    </p:spTree>
    <p:extLst>
      <p:ext uri="{BB962C8B-B14F-4D97-AF65-F5344CB8AC3E}">
        <p14:creationId xmlns:p14="http://schemas.microsoft.com/office/powerpoint/2010/main" val="37666108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1FB8D038-2D38-4B10-A0EB-C05CC9130EB2}" type="slidenum">
              <a:rPr lang="de-DE" smtClean="0"/>
              <a:pPr/>
              <a:t>23</a:t>
            </a:fld>
            <a:endParaRPr lang="de-DE"/>
          </a:p>
        </p:txBody>
      </p:sp>
      <p:sp>
        <p:nvSpPr>
          <p:cNvPr id="3" name="Fußzeilenplatzhalter 2"/>
          <p:cNvSpPr>
            <a:spLocks noGrp="1"/>
          </p:cNvSpPr>
          <p:nvPr>
            <p:ph type="ftr" sz="quarter" idx="11"/>
          </p:nvPr>
        </p:nvSpPr>
        <p:spPr/>
        <p:txBody>
          <a:bodyPr/>
          <a:lstStyle/>
          <a:p>
            <a:endParaRPr lang="de-DE" dirty="0"/>
          </a:p>
        </p:txBody>
      </p:sp>
      <p:sp>
        <p:nvSpPr>
          <p:cNvPr id="4" name="Datumsplatzhalter 3"/>
          <p:cNvSpPr>
            <a:spLocks noGrp="1"/>
          </p:cNvSpPr>
          <p:nvPr>
            <p:ph type="dt" sz="half" idx="10"/>
          </p:nvPr>
        </p:nvSpPr>
        <p:spPr/>
        <p:txBody>
          <a:bodyPr/>
          <a:lstStyle/>
          <a:p>
            <a:endParaRPr lang="de-DE" dirty="0"/>
          </a:p>
        </p:txBody>
      </p:sp>
      <p:sp>
        <p:nvSpPr>
          <p:cNvPr id="12" name="Inhaltsplatzhalter 11"/>
          <p:cNvSpPr>
            <a:spLocks noGrp="1"/>
          </p:cNvSpPr>
          <p:nvPr>
            <p:ph idx="1"/>
          </p:nvPr>
        </p:nvSpPr>
        <p:spPr/>
        <p:txBody>
          <a:bodyPr/>
          <a:lstStyle/>
          <a:p>
            <a:r>
              <a:rPr lang="ru-RU" dirty="0" smtClean="0"/>
              <a:t>Вследствие техногенных или природных факторов произошло обесточивание узла учета газа</a:t>
            </a:r>
            <a:endParaRPr lang="de-DE" dirty="0" smtClean="0"/>
          </a:p>
          <a:p>
            <a:pPr marL="800100" lvl="1" indent="-342900">
              <a:buFont typeface="Wingdings" panose="05000000000000000000" pitchFamily="2" charset="2"/>
              <a:buChar char="ü"/>
            </a:pPr>
            <a:r>
              <a:rPr lang="ru-RU" sz="1600" dirty="0" smtClean="0"/>
              <a:t>Электропитание отсутствует, но подача газа через узел учета продолжается </a:t>
            </a:r>
            <a:endParaRPr lang="de-DE" sz="1600" dirty="0"/>
          </a:p>
          <a:p>
            <a:pPr marL="457200" lvl="1" indent="0">
              <a:buNone/>
            </a:pPr>
            <a:endParaRPr lang="de-DE" sz="1600" dirty="0" smtClean="0"/>
          </a:p>
          <a:p>
            <a:pPr marL="0" indent="0">
              <a:buNone/>
            </a:pPr>
            <a:r>
              <a:rPr lang="ru-RU" dirty="0" smtClean="0"/>
              <a:t>     →  Возникают потери из-за неуплаты за неучтённый объем газа.</a:t>
            </a:r>
            <a:endParaRPr lang="de-DE" sz="2400" dirty="0"/>
          </a:p>
        </p:txBody>
      </p:sp>
      <p:sp>
        <p:nvSpPr>
          <p:cNvPr id="11" name="Titel 10"/>
          <p:cNvSpPr>
            <a:spLocks noGrp="1"/>
          </p:cNvSpPr>
          <p:nvPr>
            <p:ph type="title"/>
          </p:nvPr>
        </p:nvSpPr>
        <p:spPr/>
        <p:txBody>
          <a:bodyPr/>
          <a:lstStyle/>
          <a:p>
            <a:r>
              <a:rPr lang="ru-RU" dirty="0" smtClean="0"/>
              <a:t>примеры оптимизации затрат</a:t>
            </a:r>
            <a:endParaRPr lang="de-DE" dirty="0"/>
          </a:p>
        </p:txBody>
      </p:sp>
      <p:sp>
        <p:nvSpPr>
          <p:cNvPr id="5" name="Textfeld 4"/>
          <p:cNvSpPr txBox="1"/>
          <p:nvPr/>
        </p:nvSpPr>
        <p:spPr>
          <a:xfrm rot="1381404">
            <a:off x="6541943" y="3834907"/>
            <a:ext cx="2751432" cy="1629762"/>
          </a:xfrm>
          <a:prstGeom prst="rect">
            <a:avLst/>
          </a:prstGeom>
          <a:effectLst>
            <a:outerShdw blurRad="50800" dist="38100" dir="5400000" algn="t"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square" lIns="72000" tIns="36000" rIns="72000" bIns="54000" rtlCol="0">
            <a:spAutoFit/>
          </a:bodyPr>
          <a:lstStyle/>
          <a:p>
            <a:pPr algn="ctr">
              <a:spcBef>
                <a:spcPts val="600"/>
              </a:spcBef>
              <a:buClr>
                <a:schemeClr val="accent4"/>
              </a:buClr>
            </a:pPr>
            <a:r>
              <a:rPr lang="ru-RU" sz="2000" b="1" dirty="0" smtClean="0"/>
              <a:t>Если узел учета построен не на </a:t>
            </a:r>
            <a:r>
              <a:rPr lang="en-US" sz="2000" b="1" dirty="0" smtClean="0"/>
              <a:t>FLOWSIC600-XT</a:t>
            </a:r>
            <a:r>
              <a:rPr lang="ru-RU" sz="2000" b="1" dirty="0"/>
              <a:t>:</a:t>
            </a:r>
            <a:r>
              <a:rPr lang="en-US" sz="2000" b="1" dirty="0" smtClean="0"/>
              <a:t> </a:t>
            </a:r>
            <a:r>
              <a:rPr lang="ru-RU" sz="2000" b="1" dirty="0" smtClean="0"/>
              <a:t>Потери на Ду400, 156 т. м3/ч, примерно 15 000 </a:t>
            </a:r>
            <a:r>
              <a:rPr lang="ru-RU" sz="2000" b="1" dirty="0" err="1" smtClean="0"/>
              <a:t>руб</a:t>
            </a:r>
            <a:r>
              <a:rPr lang="ru-RU" sz="2000" b="1" dirty="0" smtClean="0"/>
              <a:t>/мин.</a:t>
            </a:r>
            <a:endParaRPr lang="de-DE" sz="2000" b="1" dirty="0" smtClean="0"/>
          </a:p>
        </p:txBody>
      </p:sp>
      <p:pic>
        <p:nvPicPr>
          <p:cNvPr id="10" name="Picture 2" descr="P:\PROJEKTE\G5\02_Arbeitspakete\2_12 PM\09_MarketingMarkteinführung\02_Markteinführung\99_Bildmaterial\Bilder_8inch_8pfad\small\FLOWSIC600-XT_Forte_270815_025.jpg"/>
          <p:cNvPicPr>
            <a:picLocks noChangeAspect="1" noChangeArrowheads="1"/>
          </p:cNvPicPr>
          <p:nvPr/>
        </p:nvPicPr>
        <p:blipFill>
          <a:blip r:embed="rId2"/>
          <a:srcRect/>
          <a:stretch>
            <a:fillRect/>
          </a:stretch>
        </p:blipFill>
        <p:spPr bwMode="auto">
          <a:xfrm>
            <a:off x="2159306" y="3573016"/>
            <a:ext cx="3909818" cy="2931057"/>
          </a:xfrm>
          <a:prstGeom prst="rect">
            <a:avLst/>
          </a:prstGeom>
          <a:noFill/>
          <a:ln w="9525">
            <a:noFill/>
            <a:miter lim="800000"/>
            <a:headEnd/>
            <a:tailEnd/>
          </a:ln>
        </p:spPr>
      </p:pic>
    </p:spTree>
    <p:extLst>
      <p:ext uri="{BB962C8B-B14F-4D97-AF65-F5344CB8AC3E}">
        <p14:creationId xmlns:p14="http://schemas.microsoft.com/office/powerpoint/2010/main" val="646954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FLOWSIC600-XT </a:t>
            </a:r>
            <a:r>
              <a:rPr lang="en-US" dirty="0" err="1" smtClean="0"/>
              <a:t>fORTE</a:t>
            </a:r>
            <a:endParaRPr lang="en-US" dirty="0"/>
          </a:p>
        </p:txBody>
      </p:sp>
      <p:pic>
        <p:nvPicPr>
          <p:cNvPr id="115714"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25600" y="1592796"/>
            <a:ext cx="8577263"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platzhalter 5"/>
          <p:cNvSpPr>
            <a:spLocks noGrp="1"/>
          </p:cNvSpPr>
          <p:nvPr>
            <p:ph type="body" idx="13"/>
          </p:nvPr>
        </p:nvSpPr>
        <p:spPr>
          <a:xfrm>
            <a:off x="525601" y="548680"/>
            <a:ext cx="7307124" cy="288000"/>
          </a:xfrm>
        </p:spPr>
        <p:txBody>
          <a:bodyPr/>
          <a:lstStyle/>
          <a:p>
            <a:r>
              <a:rPr lang="de-DE" dirty="0" smtClean="0"/>
              <a:t>FLOWSIC600-XT Forte – </a:t>
            </a:r>
            <a:r>
              <a:rPr lang="ru-RU" dirty="0" smtClean="0"/>
              <a:t>Ду400</a:t>
            </a:r>
            <a:endParaRPr lang="de-DE" dirty="0"/>
          </a:p>
        </p:txBody>
      </p:sp>
    </p:spTree>
    <p:extLst>
      <p:ext uri="{BB962C8B-B14F-4D97-AF65-F5344CB8AC3E}">
        <p14:creationId xmlns:p14="http://schemas.microsoft.com/office/powerpoint/2010/main" val="2934172706"/>
      </p:ext>
    </p:extLst>
  </p:cSld>
  <p:clrMapOvr>
    <a:masterClrMapping/>
  </p:clrMapOvr>
  <p:transition>
    <p:zoom/>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1" name="Rectangle 7"/>
          <p:cNvSpPr>
            <a:spLocks noGrp="1" noChangeArrowheads="1"/>
          </p:cNvSpPr>
          <p:nvPr>
            <p:ph type="subTitle" idx="1"/>
          </p:nvPr>
        </p:nvSpPr>
        <p:spPr>
          <a:xfrm>
            <a:off x="593725" y="4652963"/>
            <a:ext cx="7645400" cy="2205037"/>
          </a:xfrm>
          <a:extLst>
            <a:ext uri="{909E8E84-426E-40DD-AFC4-6F175D3DCCD1}">
              <a14:hiddenFill xmlns:a14="http://schemas.microsoft.com/office/drawing/2010/main">
                <a:solidFill>
                  <a:schemeClr val="bg1">
                    <a:alpha val="50195"/>
                  </a:schemeClr>
                </a:solidFill>
              </a14:hiddenFill>
            </a:ext>
          </a:extLst>
        </p:spPr>
        <p:txBody>
          <a:bodyPr rtlCol="0">
            <a:noAutofit/>
          </a:bodyPr>
          <a:lstStyle/>
          <a:p>
            <a:pPr eaLnBrk="1" fontAlgn="auto" hangingPunct="1">
              <a:spcAft>
                <a:spcPts val="0"/>
              </a:spcAft>
              <a:buClr>
                <a:schemeClr val="accent4"/>
              </a:buClr>
              <a:defRPr/>
            </a:pPr>
            <a:r>
              <a:rPr lang="ru-RU" altLang="ru-RU" sz="1100" dirty="0" smtClean="0"/>
              <a:t>Представительство "ЗИК AГ"                                              </a:t>
            </a:r>
            <a:r>
              <a:rPr lang="ru-RU" altLang="ru-RU" sz="1100" u="sng" dirty="0" smtClean="0"/>
              <a:t>mailto:</a:t>
            </a:r>
            <a:r>
              <a:rPr lang="en-US" altLang="ru-RU" sz="1100" u="sng" dirty="0"/>
              <a:t> </a:t>
            </a:r>
            <a:r>
              <a:rPr lang="en-US" altLang="ru-RU" sz="1100" u="sng" dirty="0" err="1" smtClean="0">
                <a:hlinkClick r:id="rId3"/>
              </a:rPr>
              <a:t>info.moscow</a:t>
            </a:r>
            <a:r>
              <a:rPr lang="ru-RU" altLang="ru-RU" sz="1100" u="sng" dirty="0" smtClean="0">
                <a:hlinkClick r:id="rId3"/>
              </a:rPr>
              <a:t>@sick.</a:t>
            </a:r>
            <a:r>
              <a:rPr lang="en-US" altLang="ru-RU" sz="1100" u="sng" dirty="0" smtClean="0">
                <a:hlinkClick r:id="rId3"/>
              </a:rPr>
              <a:t>de</a:t>
            </a:r>
            <a:r>
              <a:rPr lang="ru-RU" altLang="ru-RU" sz="1100" u="sng" dirty="0" smtClean="0">
                <a:hlinkClick r:id="rId3"/>
              </a:rPr>
              <a:t> </a:t>
            </a:r>
            <a:br>
              <a:rPr lang="ru-RU" altLang="ru-RU" sz="1100" u="sng" dirty="0" smtClean="0">
                <a:hlinkClick r:id="rId3"/>
              </a:rPr>
            </a:br>
            <a:r>
              <a:rPr lang="ru-RU" altLang="ru-RU" sz="1100" dirty="0" smtClean="0"/>
              <a:t>Бутлерова, 17,                                                                                          </a:t>
            </a:r>
            <a:r>
              <a:rPr lang="ru-RU" altLang="ru-RU" sz="1100" u="sng" dirty="0" smtClean="0">
                <a:hlinkClick r:id="rId4"/>
              </a:rPr>
              <a:t>www.sick.com </a:t>
            </a:r>
            <a:r>
              <a:rPr lang="ru-RU" altLang="ru-RU" sz="1100" dirty="0" smtClean="0"/>
              <a:t/>
            </a:r>
            <a:br>
              <a:rPr lang="ru-RU" altLang="ru-RU" sz="1100" dirty="0" smtClean="0"/>
            </a:br>
            <a:endParaRPr lang="en-US" altLang="ru-RU" sz="1100" dirty="0" smtClean="0"/>
          </a:p>
          <a:p>
            <a:pPr eaLnBrk="1" fontAlgn="auto" hangingPunct="1">
              <a:spcAft>
                <a:spcPts val="0"/>
              </a:spcAft>
              <a:buClr>
                <a:schemeClr val="accent4"/>
              </a:buClr>
              <a:defRPr/>
            </a:pPr>
            <a:r>
              <a:rPr lang="ru-RU" altLang="ru-RU" sz="1100" dirty="0" smtClean="0"/>
              <a:t>117218 Москва             </a:t>
            </a:r>
            <a:br>
              <a:rPr lang="ru-RU" altLang="ru-RU" sz="1100" dirty="0" smtClean="0"/>
            </a:br>
            <a:r>
              <a:rPr lang="ru-RU" altLang="ru-RU" sz="1100" dirty="0" smtClean="0"/>
              <a:t>Российская Федерация </a:t>
            </a:r>
            <a:br>
              <a:rPr lang="ru-RU" altLang="ru-RU" sz="1100" dirty="0" smtClean="0"/>
            </a:br>
            <a:r>
              <a:rPr lang="ru-RU" altLang="ru-RU" sz="1100" dirty="0" smtClean="0"/>
              <a:t>Телефон: +7 (495) 783-4751 </a:t>
            </a:r>
            <a:br>
              <a:rPr lang="ru-RU" altLang="ru-RU" sz="1100" dirty="0" smtClean="0"/>
            </a:br>
            <a:r>
              <a:rPr lang="ru-RU" altLang="ru-RU" sz="1100" dirty="0" smtClean="0"/>
              <a:t>Факс: +7 (495) 775-0536 </a:t>
            </a:r>
            <a:br>
              <a:rPr lang="ru-RU" altLang="ru-RU" sz="1100" dirty="0" smtClean="0"/>
            </a:br>
            <a:r>
              <a:rPr lang="ru-RU" altLang="ru-RU" sz="1100" dirty="0" smtClean="0"/>
              <a:t>Моб. телефон: +7 (91</a:t>
            </a:r>
            <a:r>
              <a:rPr lang="en-US" altLang="ru-RU" sz="1100" dirty="0" smtClean="0"/>
              <a:t>6</a:t>
            </a:r>
            <a:r>
              <a:rPr lang="ru-RU" altLang="ru-RU" sz="1100" dirty="0" smtClean="0"/>
              <a:t>) </a:t>
            </a:r>
            <a:r>
              <a:rPr lang="en-US" altLang="ru-RU" sz="1100" dirty="0" smtClean="0"/>
              <a:t>301</a:t>
            </a:r>
            <a:r>
              <a:rPr lang="ru-RU" altLang="ru-RU" sz="1100" dirty="0" smtClean="0"/>
              <a:t>-</a:t>
            </a:r>
            <a:r>
              <a:rPr lang="en-US" altLang="ru-RU" sz="1100" dirty="0" smtClean="0"/>
              <a:t>1308</a:t>
            </a:r>
          </a:p>
        </p:txBody>
      </p:sp>
      <p:sp>
        <p:nvSpPr>
          <p:cNvPr id="21512" name="Rectangle 8"/>
          <p:cNvSpPr>
            <a:spLocks noGrp="1" noChangeArrowheads="1"/>
          </p:cNvSpPr>
          <p:nvPr>
            <p:ph type="ctrTitle"/>
          </p:nvPr>
        </p:nvSpPr>
        <p:spPr>
          <a:xfrm>
            <a:off x="415925" y="2924175"/>
            <a:ext cx="9074150" cy="1035050"/>
          </a:xfrm>
        </p:spPr>
        <p:txBody>
          <a:bodyPr/>
          <a:lstStyle/>
          <a:p>
            <a:pPr eaLnBrk="1" fontAlgn="auto" hangingPunct="1">
              <a:spcAft>
                <a:spcPts val="0"/>
              </a:spcAft>
              <a:defRPr/>
            </a:pPr>
            <a:r>
              <a:rPr lang="ru-RU" altLang="ru-RU" dirty="0" smtClean="0"/>
              <a:t>Спасибо за внимание!</a:t>
            </a:r>
            <a:endParaRPr lang="en-US" altLang="ru-RU" dirty="0" smtClean="0"/>
          </a:p>
        </p:txBody>
      </p:sp>
    </p:spTree>
    <p:extLst>
      <p:ext uri="{BB962C8B-B14F-4D97-AF65-F5344CB8AC3E}">
        <p14:creationId xmlns:p14="http://schemas.microsoft.com/office/powerpoint/2010/main" val="3127239898"/>
      </p:ext>
    </p:extLst>
  </p:cSld>
  <p:clrMapOvr>
    <a:masterClrMapping/>
  </p:clrMapOvr>
  <p:transition>
    <p:zoom/>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Заголовок 1"/>
          <p:cNvSpPr>
            <a:spLocks noGrp="1"/>
          </p:cNvSpPr>
          <p:nvPr>
            <p:ph type="title"/>
          </p:nvPr>
        </p:nvSpPr>
        <p:spPr/>
        <p:txBody>
          <a:bodyPr>
            <a:normAutofit/>
          </a:bodyPr>
          <a:lstStyle/>
          <a:p>
            <a:pPr>
              <a:defRPr/>
            </a:pPr>
            <a:r>
              <a:rPr lang="ru-RU" altLang="ru-RU" sz="2000" dirty="0">
                <a:solidFill>
                  <a:srgbClr val="0070C0"/>
                </a:solidFill>
              </a:rPr>
              <a:t>Оперативный учет </a:t>
            </a:r>
            <a:r>
              <a:rPr lang="ru-RU" altLang="ru-RU" sz="2000" dirty="0" smtClean="0">
                <a:solidFill>
                  <a:srgbClr val="0070C0"/>
                </a:solidFill>
              </a:rPr>
              <a:t>газа</a:t>
            </a:r>
            <a:endParaRPr lang="ru-RU" altLang="ru-RU" dirty="0" smtClean="0">
              <a:solidFill>
                <a:srgbClr val="0070C0"/>
              </a:solidFill>
            </a:endParaRPr>
          </a:p>
        </p:txBody>
      </p:sp>
      <p:sp>
        <p:nvSpPr>
          <p:cNvPr id="7" name="Номер слайда 3"/>
          <p:cNvSpPr txBox="1">
            <a:spLocks/>
          </p:cNvSpPr>
          <p:nvPr/>
        </p:nvSpPr>
        <p:spPr>
          <a:xfrm>
            <a:off x="8515075" y="6660000"/>
            <a:ext cx="975000" cy="1800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l" rtl="0" eaLnBrk="0" fontAlgn="base" hangingPunct="0">
              <a:spcBef>
                <a:spcPct val="20000"/>
              </a:spcBef>
              <a:spcAft>
                <a:spcPct val="0"/>
              </a:spcAft>
              <a:buClr>
                <a:srgbClr val="0084C2"/>
              </a:buClr>
              <a:buSzPct val="130000"/>
              <a:buFont typeface="Arial" charset="0"/>
              <a:buChar char=":"/>
              <a:defRPr sz="1700" kern="1200">
                <a:solidFill>
                  <a:schemeClr val="tx1"/>
                </a:solidFill>
                <a:latin typeface="Arial" charset="0"/>
                <a:ea typeface="+mn-ea"/>
                <a:cs typeface="Arial" charset="0"/>
              </a:defRPr>
            </a:lvl1pPr>
            <a:lvl2pPr marL="742950" indent="-285750" algn="l" rtl="0" eaLnBrk="0" fontAlgn="base" hangingPunct="0">
              <a:spcBef>
                <a:spcPct val="20000"/>
              </a:spcBef>
              <a:spcAft>
                <a:spcPct val="0"/>
              </a:spcAft>
              <a:buClr>
                <a:srgbClr val="0084C2"/>
              </a:buClr>
              <a:buFont typeface="Arial" charset="0"/>
              <a:buChar char="-"/>
              <a:defRPr sz="1600" kern="1200">
                <a:solidFill>
                  <a:schemeClr val="tx1"/>
                </a:solidFill>
                <a:latin typeface="Arial" charset="0"/>
                <a:ea typeface="+mn-ea"/>
                <a:cs typeface="Arial" charset="0"/>
              </a:defRPr>
            </a:lvl2pPr>
            <a:lvl3pPr marL="11430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3pPr>
            <a:lvl4pPr marL="16002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4pPr>
            <a:lvl5pPr marL="2057400" indent="-228600" algn="l" rtl="0" eaLnBrk="0" fontAlgn="base" hangingPunct="0">
              <a:spcBef>
                <a:spcPct val="20000"/>
              </a:spcBef>
              <a:spcAft>
                <a:spcPct val="0"/>
              </a:spcAft>
              <a:buChar char="»"/>
              <a:defRPr sz="1600" kern="1200">
                <a:solidFill>
                  <a:schemeClr val="tx1"/>
                </a:solidFill>
                <a:latin typeface="Arial" charset="0"/>
                <a:ea typeface="+mn-ea"/>
                <a:cs typeface="Arial" charset="0"/>
              </a:defRPr>
            </a:lvl5pPr>
            <a:lvl6pPr marL="25146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6pPr>
            <a:lvl7pPr marL="29718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7pPr>
            <a:lvl8pPr marL="34290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8pPr>
            <a:lvl9pPr marL="38862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9pPr>
          </a:lstStyle>
          <a:p>
            <a:pPr eaLnBrk="1" hangingPunct="1">
              <a:spcBef>
                <a:spcPct val="0"/>
              </a:spcBef>
              <a:buClrTx/>
              <a:buSzTx/>
              <a:buFontTx/>
              <a:buNone/>
            </a:pPr>
            <a:fld id="{4B6285FC-5835-4793-9B68-FB9188E4F645}" type="slidenum">
              <a:rPr lang="en-US" altLang="en-US" sz="900" smtClean="0">
                <a:solidFill>
                  <a:schemeClr val="accent1"/>
                </a:solidFill>
              </a:rPr>
              <a:pPr eaLnBrk="1" hangingPunct="1">
                <a:spcBef>
                  <a:spcPct val="0"/>
                </a:spcBef>
                <a:buClrTx/>
                <a:buSzTx/>
                <a:buFontTx/>
                <a:buNone/>
              </a:pPr>
              <a:t>3</a:t>
            </a:fld>
            <a:endParaRPr lang="en-US" altLang="en-US" sz="900" dirty="0" smtClean="0">
              <a:solidFill>
                <a:schemeClr val="accent1"/>
              </a:solidFill>
            </a:endParaRPr>
          </a:p>
        </p:txBody>
      </p:sp>
      <p:pic>
        <p:nvPicPr>
          <p:cNvPr id="114693" name="Picture 5" descr="C:\Users\Lomovni\Desktop\Краснодар\факел_добыча.jp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30779" y="1019781"/>
            <a:ext cx="3994349" cy="2629404"/>
          </a:xfrm>
          <a:prstGeom prst="rect">
            <a:avLst/>
          </a:prstGeom>
          <a:noFill/>
          <a:extLst>
            <a:ext uri="{909E8E84-426E-40DD-AFC4-6F175D3DCCD1}">
              <a14:hiddenFill xmlns:a14="http://schemas.microsoft.com/office/drawing/2010/main">
                <a:solidFill>
                  <a:srgbClr val="FFFFFF"/>
                </a:solidFill>
              </a14:hiddenFill>
            </a:ext>
          </a:extLst>
        </p:spPr>
      </p:pic>
      <p:sp>
        <p:nvSpPr>
          <p:cNvPr id="15" name="Прямоугольник 19"/>
          <p:cNvSpPr>
            <a:spLocks noChangeArrowheads="1"/>
          </p:cNvSpPr>
          <p:nvPr/>
        </p:nvSpPr>
        <p:spPr bwMode="auto">
          <a:xfrm>
            <a:off x="4844988" y="4571660"/>
            <a:ext cx="4933118" cy="1415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68288" indent="-268288"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fontAlgn="base">
              <a:spcBef>
                <a:spcPts val="600"/>
              </a:spcBef>
              <a:spcAft>
                <a:spcPct val="0"/>
              </a:spcAft>
            </a:pPr>
            <a:r>
              <a:rPr lang="ru-RU" altLang="ru-RU" sz="1800" dirty="0">
                <a:latin typeface="+mn-lt"/>
                <a:cs typeface="+mn-cs"/>
              </a:rPr>
              <a:t>Учет добываемого </a:t>
            </a:r>
            <a:r>
              <a:rPr lang="ru-RU" altLang="ru-RU" sz="1800" dirty="0" smtClean="0">
                <a:latin typeface="+mn-lt"/>
                <a:cs typeface="+mn-cs"/>
              </a:rPr>
              <a:t>газа </a:t>
            </a:r>
            <a:r>
              <a:rPr lang="ru-RU" altLang="ru-RU" sz="1800" dirty="0">
                <a:latin typeface="+mn-lt"/>
                <a:cs typeface="+mn-cs"/>
              </a:rPr>
              <a:t>на устье </a:t>
            </a:r>
            <a:r>
              <a:rPr lang="ru-RU" altLang="ru-RU" sz="1800" dirty="0" smtClean="0">
                <a:latin typeface="+mn-lt"/>
                <a:cs typeface="+mn-cs"/>
              </a:rPr>
              <a:t>скважины</a:t>
            </a:r>
            <a:endParaRPr lang="ru-RU" altLang="ru-RU" sz="1800" dirty="0">
              <a:latin typeface="+mn-lt"/>
              <a:cs typeface="+mn-cs"/>
            </a:endParaRPr>
          </a:p>
          <a:p>
            <a:pPr fontAlgn="base">
              <a:spcBef>
                <a:spcPts val="600"/>
              </a:spcBef>
              <a:spcAft>
                <a:spcPct val="0"/>
              </a:spcAft>
            </a:pPr>
            <a:r>
              <a:rPr lang="ru-RU" altLang="ru-RU" sz="1800" dirty="0" smtClean="0">
                <a:latin typeface="+mn-lt"/>
                <a:cs typeface="+mn-cs"/>
              </a:rPr>
              <a:t>Факельные установки</a:t>
            </a:r>
            <a:r>
              <a:rPr lang="ru-RU" altLang="ru-RU" sz="1800" dirty="0">
                <a:latin typeface="+mn-lt"/>
                <a:cs typeface="+mn-cs"/>
              </a:rPr>
              <a:t> </a:t>
            </a:r>
            <a:r>
              <a:rPr lang="ru-RU" altLang="ru-RU" sz="1800" dirty="0" smtClean="0">
                <a:latin typeface="+mn-lt"/>
                <a:cs typeface="+mn-cs"/>
              </a:rPr>
              <a:t>на объектах добычи и переработки</a:t>
            </a:r>
          </a:p>
          <a:p>
            <a:pPr fontAlgn="base">
              <a:lnSpc>
                <a:spcPct val="150000"/>
              </a:lnSpc>
              <a:spcBef>
                <a:spcPts val="0"/>
              </a:spcBef>
              <a:spcAft>
                <a:spcPct val="0"/>
              </a:spcAft>
            </a:pPr>
            <a:r>
              <a:rPr lang="ru-RU" altLang="ru-RU" sz="1800" dirty="0" smtClean="0">
                <a:latin typeface="+mn-lt"/>
                <a:cs typeface="+mn-cs"/>
              </a:rPr>
              <a:t>Учет газа потребляемого на собственные нужды</a:t>
            </a:r>
            <a:endParaRPr lang="ru-RU" altLang="ru-RU" sz="1800" dirty="0">
              <a:latin typeface="+mn-lt"/>
              <a:cs typeface="+mn-cs"/>
            </a:endParaRPr>
          </a:p>
        </p:txBody>
      </p:sp>
      <p:pic>
        <p:nvPicPr>
          <p:cNvPr id="51202"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30779" y="3825044"/>
            <a:ext cx="4012711" cy="2683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7"/>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133021" y="1019781"/>
            <a:ext cx="3382054" cy="32492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6829828"/>
      </p:ext>
    </p:extLst>
  </p:cSld>
  <p:clrMapOvr>
    <a:masterClrMapping/>
  </p:clrMapOvr>
  <p:transition>
    <p:zoom/>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Заголовок 1"/>
          <p:cNvSpPr>
            <a:spLocks noGrp="1"/>
          </p:cNvSpPr>
          <p:nvPr>
            <p:ph type="title"/>
          </p:nvPr>
        </p:nvSpPr>
        <p:spPr/>
        <p:txBody>
          <a:bodyPr>
            <a:normAutofit fontScale="90000"/>
          </a:bodyPr>
          <a:lstStyle/>
          <a:p>
            <a:pPr>
              <a:defRPr/>
            </a:pPr>
            <a:r>
              <a:rPr lang="ru-RU" sz="2200" dirty="0" smtClean="0">
                <a:solidFill>
                  <a:srgbClr val="0070C0"/>
                </a:solidFill>
              </a:rPr>
              <a:t>РефЕренс: Оперативный </a:t>
            </a:r>
            <a:r>
              <a:rPr lang="ru-RU" sz="2200" dirty="0">
                <a:solidFill>
                  <a:srgbClr val="0070C0"/>
                </a:solidFill>
              </a:rPr>
              <a:t>учет </a:t>
            </a:r>
            <a:r>
              <a:rPr lang="ru-RU" sz="2200" dirty="0" smtClean="0">
                <a:solidFill>
                  <a:srgbClr val="0070C0"/>
                </a:solidFill>
              </a:rPr>
              <a:t>газа</a:t>
            </a:r>
            <a:r>
              <a:rPr lang="ru-RU" sz="2000" dirty="0">
                <a:solidFill>
                  <a:srgbClr val="0070C0"/>
                </a:solidFill>
                <a:ea typeface="+mn-ea"/>
              </a:rPr>
              <a:t/>
            </a:r>
            <a:br>
              <a:rPr lang="ru-RU" sz="2000" dirty="0">
                <a:solidFill>
                  <a:srgbClr val="0070C0"/>
                </a:solidFill>
                <a:ea typeface="+mn-ea"/>
              </a:rPr>
            </a:br>
            <a:r>
              <a:rPr lang="de-DE" altLang="ru-RU" dirty="0" smtClean="0">
                <a:solidFill>
                  <a:srgbClr val="0070C0"/>
                </a:solidFill>
              </a:rPr>
              <a:t/>
            </a:r>
            <a:br>
              <a:rPr lang="de-DE" altLang="ru-RU" dirty="0" smtClean="0">
                <a:solidFill>
                  <a:srgbClr val="0070C0"/>
                </a:solidFill>
              </a:rPr>
            </a:br>
            <a:endParaRPr lang="ru-RU" altLang="ru-RU" dirty="0" smtClean="0">
              <a:solidFill>
                <a:srgbClr val="0070C0"/>
              </a:solidFill>
            </a:endParaRPr>
          </a:p>
        </p:txBody>
      </p:sp>
      <p:sp>
        <p:nvSpPr>
          <p:cNvPr id="7" name="Номер слайда 3"/>
          <p:cNvSpPr txBox="1">
            <a:spLocks/>
          </p:cNvSpPr>
          <p:nvPr/>
        </p:nvSpPr>
        <p:spPr>
          <a:xfrm>
            <a:off x="8515075" y="6660000"/>
            <a:ext cx="975000" cy="1800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l" rtl="0" eaLnBrk="0" fontAlgn="base" hangingPunct="0">
              <a:spcBef>
                <a:spcPct val="20000"/>
              </a:spcBef>
              <a:spcAft>
                <a:spcPct val="0"/>
              </a:spcAft>
              <a:buClr>
                <a:srgbClr val="0084C2"/>
              </a:buClr>
              <a:buSzPct val="130000"/>
              <a:buFont typeface="Arial" charset="0"/>
              <a:buChar char=":"/>
              <a:defRPr sz="1700" kern="1200">
                <a:solidFill>
                  <a:schemeClr val="tx1"/>
                </a:solidFill>
                <a:latin typeface="Arial" charset="0"/>
                <a:ea typeface="+mn-ea"/>
                <a:cs typeface="Arial" charset="0"/>
              </a:defRPr>
            </a:lvl1pPr>
            <a:lvl2pPr marL="742950" indent="-285750" algn="l" rtl="0" eaLnBrk="0" fontAlgn="base" hangingPunct="0">
              <a:spcBef>
                <a:spcPct val="20000"/>
              </a:spcBef>
              <a:spcAft>
                <a:spcPct val="0"/>
              </a:spcAft>
              <a:buClr>
                <a:srgbClr val="0084C2"/>
              </a:buClr>
              <a:buFont typeface="Arial" charset="0"/>
              <a:buChar char="-"/>
              <a:defRPr sz="1600" kern="1200">
                <a:solidFill>
                  <a:schemeClr val="tx1"/>
                </a:solidFill>
                <a:latin typeface="Arial" charset="0"/>
                <a:ea typeface="+mn-ea"/>
                <a:cs typeface="Arial" charset="0"/>
              </a:defRPr>
            </a:lvl2pPr>
            <a:lvl3pPr marL="11430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3pPr>
            <a:lvl4pPr marL="16002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4pPr>
            <a:lvl5pPr marL="2057400" indent="-228600" algn="l" rtl="0" eaLnBrk="0" fontAlgn="base" hangingPunct="0">
              <a:spcBef>
                <a:spcPct val="20000"/>
              </a:spcBef>
              <a:spcAft>
                <a:spcPct val="0"/>
              </a:spcAft>
              <a:buChar char="»"/>
              <a:defRPr sz="1600" kern="1200">
                <a:solidFill>
                  <a:schemeClr val="tx1"/>
                </a:solidFill>
                <a:latin typeface="Arial" charset="0"/>
                <a:ea typeface="+mn-ea"/>
                <a:cs typeface="Arial" charset="0"/>
              </a:defRPr>
            </a:lvl5pPr>
            <a:lvl6pPr marL="25146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6pPr>
            <a:lvl7pPr marL="29718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7pPr>
            <a:lvl8pPr marL="34290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8pPr>
            <a:lvl9pPr marL="38862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9pPr>
          </a:lstStyle>
          <a:p>
            <a:pPr eaLnBrk="1" hangingPunct="1">
              <a:spcBef>
                <a:spcPct val="0"/>
              </a:spcBef>
              <a:buClrTx/>
              <a:buSzTx/>
              <a:buFontTx/>
              <a:buNone/>
            </a:pPr>
            <a:fld id="{4B6285FC-5835-4793-9B68-FB9188E4F645}" type="slidenum">
              <a:rPr lang="en-US" altLang="en-US" sz="900" smtClean="0">
                <a:solidFill>
                  <a:schemeClr val="accent1"/>
                </a:solidFill>
              </a:rPr>
              <a:pPr eaLnBrk="1" hangingPunct="1">
                <a:spcBef>
                  <a:spcPct val="0"/>
                </a:spcBef>
                <a:buClrTx/>
                <a:buSzTx/>
                <a:buFontTx/>
                <a:buNone/>
              </a:pPr>
              <a:t>4</a:t>
            </a:fld>
            <a:endParaRPr lang="en-US" altLang="en-US" sz="900" dirty="0" smtClean="0">
              <a:solidFill>
                <a:schemeClr val="accent1"/>
              </a:solidFill>
            </a:endParaRPr>
          </a:p>
        </p:txBody>
      </p:sp>
      <p:sp>
        <p:nvSpPr>
          <p:cNvPr id="14" name="Содержимое 2"/>
          <p:cNvSpPr txBox="1">
            <a:spLocks/>
          </p:cNvSpPr>
          <p:nvPr/>
        </p:nvSpPr>
        <p:spPr bwMode="auto">
          <a:xfrm>
            <a:off x="214313" y="976313"/>
            <a:ext cx="9491662" cy="55483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68288" indent="-268288" algn="l" rtl="0" eaLnBrk="0" fontAlgn="base" hangingPunct="0">
              <a:spcBef>
                <a:spcPct val="20000"/>
              </a:spcBef>
              <a:spcAft>
                <a:spcPct val="0"/>
              </a:spcAft>
              <a:buClr>
                <a:srgbClr val="0084C2"/>
              </a:buClr>
              <a:buSzPct val="130000"/>
              <a:buFont typeface="Arial" charset="0"/>
              <a:buChar char=":"/>
              <a:defRPr sz="1700">
                <a:solidFill>
                  <a:schemeClr val="tx1"/>
                </a:solidFill>
                <a:latin typeface="+mn-lt"/>
                <a:ea typeface="+mn-ea"/>
                <a:cs typeface="+mn-cs"/>
              </a:defRPr>
            </a:lvl1pPr>
            <a:lvl2pPr marL="541338" indent="-271463" algn="l" rtl="0" eaLnBrk="0" fontAlgn="base" hangingPunct="0">
              <a:spcBef>
                <a:spcPct val="20000"/>
              </a:spcBef>
              <a:spcAft>
                <a:spcPct val="0"/>
              </a:spcAft>
              <a:buClr>
                <a:srgbClr val="0084C2"/>
              </a:buClr>
              <a:buFont typeface="Arial" charset="0"/>
              <a:buChar char="-"/>
              <a:defRPr sz="1600">
                <a:solidFill>
                  <a:schemeClr val="tx1"/>
                </a:solidFill>
                <a:latin typeface="+mn-lt"/>
                <a:cs typeface="+mn-cs"/>
              </a:defRPr>
            </a:lvl2pPr>
            <a:lvl3pPr marL="809625" indent="-266700" algn="l" rtl="0" eaLnBrk="0" fontAlgn="base" hangingPunct="0">
              <a:spcBef>
                <a:spcPct val="20000"/>
              </a:spcBef>
              <a:spcAft>
                <a:spcPct val="0"/>
              </a:spcAft>
              <a:buClr>
                <a:srgbClr val="0084C2"/>
              </a:buClr>
              <a:buSzPct val="50000"/>
              <a:buFont typeface="Arial" charset="0"/>
              <a:buChar char="▪"/>
              <a:defRPr sz="1600">
                <a:solidFill>
                  <a:schemeClr val="tx1"/>
                </a:solidFill>
                <a:latin typeface="+mn-lt"/>
                <a:cs typeface="+mn-cs"/>
              </a:defRPr>
            </a:lvl3pPr>
            <a:lvl4pPr marL="1073150" indent="-261938" algn="l" rtl="0" eaLnBrk="0" fontAlgn="base" hangingPunct="0">
              <a:spcBef>
                <a:spcPct val="20000"/>
              </a:spcBef>
              <a:spcAft>
                <a:spcPct val="0"/>
              </a:spcAft>
              <a:buClr>
                <a:srgbClr val="0084C2"/>
              </a:buClr>
              <a:buSzPct val="50000"/>
              <a:buFont typeface="Arial" charset="0"/>
              <a:buChar char="▪"/>
              <a:defRPr sz="1600">
                <a:solidFill>
                  <a:schemeClr val="tx1"/>
                </a:solidFill>
                <a:latin typeface="+mn-lt"/>
                <a:cs typeface="+mn-cs"/>
              </a:defRPr>
            </a:lvl4pPr>
            <a:lvl5pPr marL="2157413" indent="-228600" algn="l" rtl="0" eaLnBrk="0" fontAlgn="base" hangingPunct="0">
              <a:spcBef>
                <a:spcPct val="20000"/>
              </a:spcBef>
              <a:spcAft>
                <a:spcPct val="0"/>
              </a:spcAft>
              <a:buChar char="»"/>
              <a:defRPr sz="1600">
                <a:solidFill>
                  <a:schemeClr val="tx1"/>
                </a:solidFill>
                <a:latin typeface="+mn-lt"/>
                <a:cs typeface="+mn-cs"/>
              </a:defRPr>
            </a:lvl5pPr>
            <a:lvl6pPr marL="2614613" indent="-228600" algn="l" rtl="0" fontAlgn="base">
              <a:spcBef>
                <a:spcPct val="20000"/>
              </a:spcBef>
              <a:spcAft>
                <a:spcPct val="0"/>
              </a:spcAft>
              <a:buChar char="»"/>
              <a:defRPr sz="1600">
                <a:solidFill>
                  <a:schemeClr val="tx1"/>
                </a:solidFill>
                <a:latin typeface="+mn-lt"/>
                <a:cs typeface="+mn-cs"/>
              </a:defRPr>
            </a:lvl6pPr>
            <a:lvl7pPr marL="3071813" indent="-228600" algn="l" rtl="0" fontAlgn="base">
              <a:spcBef>
                <a:spcPct val="20000"/>
              </a:spcBef>
              <a:spcAft>
                <a:spcPct val="0"/>
              </a:spcAft>
              <a:buChar char="»"/>
              <a:defRPr sz="1600">
                <a:solidFill>
                  <a:schemeClr val="tx1"/>
                </a:solidFill>
                <a:latin typeface="+mn-lt"/>
                <a:cs typeface="+mn-cs"/>
              </a:defRPr>
            </a:lvl7pPr>
            <a:lvl8pPr marL="3529013" indent="-228600" algn="l" rtl="0" fontAlgn="base">
              <a:spcBef>
                <a:spcPct val="20000"/>
              </a:spcBef>
              <a:spcAft>
                <a:spcPct val="0"/>
              </a:spcAft>
              <a:buChar char="»"/>
              <a:defRPr sz="1600">
                <a:solidFill>
                  <a:schemeClr val="tx1"/>
                </a:solidFill>
                <a:latin typeface="+mn-lt"/>
                <a:cs typeface="+mn-cs"/>
              </a:defRPr>
            </a:lvl8pPr>
            <a:lvl9pPr marL="3986213" indent="-228600" algn="l" rtl="0" fontAlgn="base">
              <a:spcBef>
                <a:spcPct val="20000"/>
              </a:spcBef>
              <a:spcAft>
                <a:spcPct val="0"/>
              </a:spcAft>
              <a:buChar char="»"/>
              <a:defRPr sz="1600">
                <a:solidFill>
                  <a:schemeClr val="tx1"/>
                </a:solidFill>
                <a:latin typeface="+mn-lt"/>
                <a:cs typeface="+mn-cs"/>
              </a:defRPr>
            </a:lvl9pPr>
          </a:lstStyle>
          <a:p>
            <a:pPr marL="268288" marR="0" lvl="0" indent="-268288" algn="l" defTabSz="914400" rtl="0" eaLnBrk="0" fontAlgn="base" latinLnBrk="0" hangingPunct="0">
              <a:lnSpc>
                <a:spcPct val="100000"/>
              </a:lnSpc>
              <a:spcBef>
                <a:spcPct val="20000"/>
              </a:spcBef>
              <a:spcAft>
                <a:spcPct val="0"/>
              </a:spcAft>
              <a:buClr>
                <a:srgbClr val="0084C2"/>
              </a:buClr>
              <a:buSzPct val="130000"/>
              <a:buFont typeface="Arial" charset="0"/>
              <a:buChar char=":"/>
              <a:tabLst/>
              <a:defRPr/>
            </a:pPr>
            <a:endParaRPr kumimoji="0" lang="ru-RU" sz="1700" b="0" i="0" u="none" strike="noStrike" kern="0" cap="none" spc="0" normalizeH="0" baseline="0" noProof="0" dirty="0" smtClean="0">
              <a:ln>
                <a:noFill/>
              </a:ln>
              <a:solidFill>
                <a:srgbClr val="AAC2DD">
                  <a:lumMod val="50000"/>
                </a:srgbClr>
              </a:solidFill>
              <a:effectLst/>
              <a:uLnTx/>
              <a:uFillTx/>
              <a:latin typeface="Arial"/>
              <a:ea typeface="+mn-ea"/>
              <a:cs typeface="Arial"/>
            </a:endParaRPr>
          </a:p>
          <a:p>
            <a:pPr marL="268288" marR="0" lvl="0" indent="-268288" algn="l" defTabSz="914400" rtl="0" eaLnBrk="0" fontAlgn="base" latinLnBrk="0" hangingPunct="0">
              <a:lnSpc>
                <a:spcPct val="100000"/>
              </a:lnSpc>
              <a:spcBef>
                <a:spcPct val="20000"/>
              </a:spcBef>
              <a:spcAft>
                <a:spcPct val="0"/>
              </a:spcAft>
              <a:buClr>
                <a:srgbClr val="0084C2"/>
              </a:buClr>
              <a:buSzPct val="130000"/>
              <a:buFont typeface="Arial" charset="0"/>
              <a:buChar char=":"/>
              <a:tabLst/>
              <a:defRPr/>
            </a:pPr>
            <a:endParaRPr lang="ru-RU" kern="0" dirty="0">
              <a:solidFill>
                <a:srgbClr val="AAC2DD">
                  <a:lumMod val="50000"/>
                </a:srgbClr>
              </a:solidFill>
              <a:latin typeface="Arial"/>
              <a:cs typeface="Arial"/>
            </a:endParaRPr>
          </a:p>
          <a:p>
            <a:pPr marL="268288" marR="0" lvl="0" indent="-268288" algn="l" defTabSz="914400" rtl="0" eaLnBrk="0" fontAlgn="base" latinLnBrk="0" hangingPunct="0">
              <a:lnSpc>
                <a:spcPct val="100000"/>
              </a:lnSpc>
              <a:spcBef>
                <a:spcPct val="20000"/>
              </a:spcBef>
              <a:spcAft>
                <a:spcPct val="0"/>
              </a:spcAft>
              <a:buClr>
                <a:srgbClr val="0084C2"/>
              </a:buClr>
              <a:buSzPct val="130000"/>
              <a:buFont typeface="Arial" charset="0"/>
              <a:buChar char=":"/>
              <a:tabLst/>
              <a:defRPr/>
            </a:pPr>
            <a:r>
              <a:rPr lang="ru-RU" sz="2000" dirty="0"/>
              <a:t>Референс поставок решений для оперативного учета на объекты в России за последние 10 лет</a:t>
            </a:r>
            <a:endParaRPr lang="en-US" sz="2000" dirty="0"/>
          </a:p>
          <a:p>
            <a:pPr marL="268288" marR="0" lvl="0" indent="-268288" algn="l" defTabSz="914400" rtl="0" eaLnBrk="0" fontAlgn="base" latinLnBrk="0" hangingPunct="0">
              <a:lnSpc>
                <a:spcPct val="100000"/>
              </a:lnSpc>
              <a:spcBef>
                <a:spcPct val="20000"/>
              </a:spcBef>
              <a:spcAft>
                <a:spcPct val="0"/>
              </a:spcAft>
              <a:buClr>
                <a:srgbClr val="0084C2"/>
              </a:buClr>
              <a:buSzPct val="130000"/>
              <a:buFont typeface="Arial" charset="0"/>
              <a:buChar char=":"/>
              <a:tabLst/>
              <a:defRPr/>
            </a:pPr>
            <a:endParaRPr lang="ru-RU" sz="2000" dirty="0"/>
          </a:p>
          <a:p>
            <a:pPr marL="0" marR="0" lvl="0" indent="0" algn="l" defTabSz="914400" rtl="0" eaLnBrk="0" fontAlgn="base" latinLnBrk="0" hangingPunct="0">
              <a:lnSpc>
                <a:spcPct val="100000"/>
              </a:lnSpc>
              <a:spcBef>
                <a:spcPct val="20000"/>
              </a:spcBef>
              <a:spcAft>
                <a:spcPct val="0"/>
              </a:spcAft>
              <a:buClr>
                <a:srgbClr val="0084C2"/>
              </a:buClr>
              <a:buSzPct val="130000"/>
              <a:buNone/>
              <a:tabLst/>
              <a:defRPr/>
            </a:pPr>
            <a:r>
              <a:rPr lang="ru-RU" sz="2000" dirty="0"/>
              <a:t>     </a:t>
            </a:r>
            <a:r>
              <a:rPr lang="ru-RU" sz="2000" dirty="0" smtClean="0"/>
              <a:t>       </a:t>
            </a:r>
            <a:r>
              <a:rPr lang="en-US" sz="2000" dirty="0" smtClean="0"/>
              <a:t>FLOWSIC600</a:t>
            </a:r>
            <a:r>
              <a:rPr lang="ru-RU" sz="2000" dirty="0" smtClean="0"/>
              <a:t> </a:t>
            </a:r>
            <a:r>
              <a:rPr lang="ru-RU" sz="2000" dirty="0"/>
              <a:t>– более 500 установок                  </a:t>
            </a:r>
            <a:r>
              <a:rPr lang="ru-RU" sz="2000" dirty="0" smtClean="0"/>
              <a:t>       </a:t>
            </a:r>
            <a:r>
              <a:rPr lang="en-US" sz="2000" dirty="0" smtClean="0"/>
              <a:t>FLOWSIC100 </a:t>
            </a:r>
            <a:r>
              <a:rPr lang="en-US" sz="2000" dirty="0"/>
              <a:t>–</a:t>
            </a:r>
            <a:r>
              <a:rPr lang="ru-RU" sz="2000" dirty="0"/>
              <a:t> более 700 установок</a:t>
            </a:r>
          </a:p>
          <a:p>
            <a:pPr marL="268288" marR="0" lvl="0" indent="-268288" algn="l" defTabSz="914400" rtl="0" eaLnBrk="0" fontAlgn="base" latinLnBrk="0" hangingPunct="0">
              <a:lnSpc>
                <a:spcPct val="100000"/>
              </a:lnSpc>
              <a:spcBef>
                <a:spcPct val="20000"/>
              </a:spcBef>
              <a:spcAft>
                <a:spcPct val="0"/>
              </a:spcAft>
              <a:buClr>
                <a:srgbClr val="0084C2"/>
              </a:buClr>
              <a:buSzPct val="130000"/>
              <a:buFont typeface="Arial" charset="0"/>
              <a:buChar char=":"/>
              <a:tabLst/>
              <a:defRPr/>
            </a:pPr>
            <a:endParaRPr kumimoji="0" lang="ru-RU" sz="1700" b="0" i="0" u="none" strike="noStrike" kern="0" cap="none" spc="0" normalizeH="0" baseline="0" noProof="0" dirty="0" smtClean="0">
              <a:ln>
                <a:noFill/>
              </a:ln>
              <a:solidFill>
                <a:srgbClr val="000000"/>
              </a:solidFill>
              <a:effectLst/>
              <a:uLnTx/>
              <a:uFillTx/>
              <a:latin typeface="Arial"/>
              <a:ea typeface="+mn-ea"/>
              <a:cs typeface="Arial"/>
            </a:endParaRPr>
          </a:p>
          <a:p>
            <a:pPr marL="268288" marR="0" lvl="0" indent="-268288" algn="l" defTabSz="914400" rtl="0" eaLnBrk="0" fontAlgn="base" latinLnBrk="0" hangingPunct="0">
              <a:lnSpc>
                <a:spcPct val="100000"/>
              </a:lnSpc>
              <a:spcBef>
                <a:spcPct val="20000"/>
              </a:spcBef>
              <a:spcAft>
                <a:spcPct val="0"/>
              </a:spcAft>
              <a:buClr>
                <a:srgbClr val="0084C2"/>
              </a:buClr>
              <a:buSzPct val="130000"/>
              <a:buFont typeface="Arial" charset="0"/>
              <a:buChar char=":"/>
              <a:tabLst/>
              <a:defRPr/>
            </a:pPr>
            <a:endParaRPr kumimoji="0" lang="ru-RU" sz="1700" b="0" i="0" u="none" strike="noStrike" kern="0" cap="none" spc="0" normalizeH="0" baseline="0" noProof="0" dirty="0" smtClean="0">
              <a:ln>
                <a:noFill/>
              </a:ln>
              <a:solidFill>
                <a:srgbClr val="000000"/>
              </a:solidFill>
              <a:effectLst/>
              <a:uLnTx/>
              <a:uFillTx/>
              <a:latin typeface="Arial"/>
              <a:ea typeface="+mn-ea"/>
              <a:cs typeface="Arial"/>
            </a:endParaRPr>
          </a:p>
          <a:p>
            <a:pPr marL="268288" marR="0" lvl="0" indent="-268288" algn="l" defTabSz="914400" rtl="0" eaLnBrk="0" fontAlgn="base" latinLnBrk="0" hangingPunct="0">
              <a:lnSpc>
                <a:spcPct val="100000"/>
              </a:lnSpc>
              <a:spcBef>
                <a:spcPct val="20000"/>
              </a:spcBef>
              <a:spcAft>
                <a:spcPct val="0"/>
              </a:spcAft>
              <a:buClr>
                <a:srgbClr val="0084C2"/>
              </a:buClr>
              <a:buSzPct val="130000"/>
              <a:buFont typeface="Arial" charset="0"/>
              <a:buChar char=":"/>
              <a:tabLst/>
              <a:defRPr/>
            </a:pPr>
            <a:endParaRPr kumimoji="0" lang="ru-RU" sz="1700" b="0" i="0" u="none" strike="noStrike" kern="0" cap="none" spc="0" normalizeH="0" baseline="0" noProof="0" dirty="0" smtClean="0">
              <a:ln>
                <a:noFill/>
              </a:ln>
              <a:solidFill>
                <a:srgbClr val="000000"/>
              </a:solidFill>
              <a:effectLst/>
              <a:uLnTx/>
              <a:uFillTx/>
              <a:latin typeface="Arial"/>
              <a:ea typeface="+mn-ea"/>
              <a:cs typeface="Arial"/>
            </a:endParaRPr>
          </a:p>
          <a:p>
            <a:pPr marL="0" marR="0" lvl="0" indent="0" algn="l" defTabSz="914400" rtl="0" eaLnBrk="0" fontAlgn="base" latinLnBrk="0" hangingPunct="0">
              <a:lnSpc>
                <a:spcPct val="100000"/>
              </a:lnSpc>
              <a:spcBef>
                <a:spcPct val="20000"/>
              </a:spcBef>
              <a:spcAft>
                <a:spcPct val="0"/>
              </a:spcAft>
              <a:buClr>
                <a:srgbClr val="0084C2"/>
              </a:buClr>
              <a:buSzPct val="130000"/>
              <a:buFont typeface="Arial" charset="0"/>
              <a:buNone/>
              <a:tabLst/>
              <a:defRPr/>
            </a:pPr>
            <a:endParaRPr kumimoji="0" lang="ru-RU" sz="1700" b="0" i="0" u="none" strike="noStrike" kern="0" cap="none" spc="0" normalizeH="0" baseline="0" noProof="0" dirty="0" smtClean="0">
              <a:ln>
                <a:noFill/>
              </a:ln>
              <a:solidFill>
                <a:srgbClr val="000000"/>
              </a:solidFill>
              <a:effectLst/>
              <a:uLnTx/>
              <a:uFillTx/>
              <a:latin typeface="Arial"/>
              <a:ea typeface="+mn-ea"/>
              <a:cs typeface="Arial"/>
            </a:endParaRPr>
          </a:p>
          <a:p>
            <a:pPr marL="268288" marR="0" lvl="0" indent="-268288" algn="l" defTabSz="914400" rtl="0" eaLnBrk="0" fontAlgn="base" latinLnBrk="0" hangingPunct="0">
              <a:lnSpc>
                <a:spcPct val="100000"/>
              </a:lnSpc>
              <a:spcBef>
                <a:spcPct val="20000"/>
              </a:spcBef>
              <a:spcAft>
                <a:spcPct val="0"/>
              </a:spcAft>
              <a:buClr>
                <a:srgbClr val="0084C2"/>
              </a:buClr>
              <a:buSzPct val="130000"/>
              <a:buFont typeface="Arial" charset="0"/>
              <a:buChar char=":"/>
              <a:tabLst/>
              <a:defRPr/>
            </a:pPr>
            <a:endParaRPr kumimoji="0" lang="ru-RU" sz="1700" b="0" i="0" u="none" strike="noStrike" kern="0" cap="none" spc="0" normalizeH="0" baseline="0" noProof="0" dirty="0" smtClean="0">
              <a:ln>
                <a:noFill/>
              </a:ln>
              <a:solidFill>
                <a:srgbClr val="000000"/>
              </a:solidFill>
              <a:effectLst/>
              <a:uLnTx/>
              <a:uFillTx/>
              <a:latin typeface="Arial"/>
              <a:ea typeface="+mn-ea"/>
              <a:cs typeface="Arial"/>
            </a:endParaRPr>
          </a:p>
        </p:txBody>
      </p:sp>
      <p:pic>
        <p:nvPicPr>
          <p:cNvPr id="16" name="Picture 2" descr="C:\Documents and Settings\lomovni\Desktop\100_5653.JP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32520" y="2853129"/>
            <a:ext cx="3888432" cy="2916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738" name="Picture 2" descr="\\RUSRUS00001\SRR-Share\FLOWSIC100\ФОТО\КТМ\EXZ2 (1) - Copy.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349044" y="2841569"/>
            <a:ext cx="3925007" cy="2943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0567873"/>
      </p:ext>
    </p:extLst>
  </p:cSld>
  <p:clrMapOvr>
    <a:masterClrMapping/>
  </p:clrMapOvr>
  <p:transition>
    <p:zoom/>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Прямоугольник 19"/>
          <p:cNvSpPr>
            <a:spLocks noChangeArrowheads="1"/>
          </p:cNvSpPr>
          <p:nvPr/>
        </p:nvSpPr>
        <p:spPr bwMode="auto">
          <a:xfrm>
            <a:off x="215695" y="836712"/>
            <a:ext cx="5529393" cy="285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68288" indent="-268288"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fontAlgn="base">
              <a:lnSpc>
                <a:spcPct val="150000"/>
              </a:lnSpc>
              <a:spcBef>
                <a:spcPts val="200"/>
              </a:spcBef>
              <a:spcAft>
                <a:spcPct val="0"/>
              </a:spcAft>
            </a:pPr>
            <a:r>
              <a:rPr lang="ru-RU" altLang="ru-RU" sz="1800" dirty="0">
                <a:latin typeface="+mn-lt"/>
                <a:cs typeface="+mn-cs"/>
              </a:rPr>
              <a:t>ГИС магистральных газопроводов</a:t>
            </a:r>
          </a:p>
          <a:p>
            <a:pPr fontAlgn="base">
              <a:lnSpc>
                <a:spcPct val="150000"/>
              </a:lnSpc>
              <a:spcBef>
                <a:spcPts val="200"/>
              </a:spcBef>
              <a:spcAft>
                <a:spcPct val="0"/>
              </a:spcAft>
            </a:pPr>
            <a:r>
              <a:rPr lang="ru-RU" altLang="ru-RU" sz="1800" dirty="0">
                <a:latin typeface="+mn-lt"/>
                <a:cs typeface="+mn-cs"/>
              </a:rPr>
              <a:t>Узлы учета газа ПХГ</a:t>
            </a:r>
          </a:p>
          <a:p>
            <a:pPr fontAlgn="base">
              <a:spcBef>
                <a:spcPts val="200"/>
              </a:spcBef>
              <a:spcAft>
                <a:spcPct val="0"/>
              </a:spcAft>
            </a:pPr>
            <a:r>
              <a:rPr lang="ru-RU" altLang="ru-RU" sz="1800" dirty="0">
                <a:latin typeface="+mn-lt"/>
                <a:cs typeface="+mn-cs"/>
              </a:rPr>
              <a:t>Измерение расхода</a:t>
            </a:r>
            <a:r>
              <a:rPr lang="en-US" altLang="ru-RU" sz="1800" dirty="0">
                <a:latin typeface="+mn-lt"/>
                <a:cs typeface="+mn-cs"/>
              </a:rPr>
              <a:t> </a:t>
            </a:r>
            <a:r>
              <a:rPr lang="en-US" altLang="ru-RU" sz="1800" dirty="0" err="1">
                <a:latin typeface="+mn-lt"/>
                <a:cs typeface="+mn-cs"/>
              </a:rPr>
              <a:t>газа</a:t>
            </a:r>
            <a:r>
              <a:rPr lang="ru-RU" altLang="ru-RU" sz="1800" dirty="0">
                <a:latin typeface="+mn-lt"/>
                <a:cs typeface="+mn-cs"/>
              </a:rPr>
              <a:t> на этапах производства и </a:t>
            </a:r>
            <a:r>
              <a:rPr lang="ru-RU" altLang="ru-RU" sz="1800" dirty="0" err="1">
                <a:latin typeface="+mn-lt"/>
                <a:cs typeface="+mn-cs"/>
              </a:rPr>
              <a:t>регазификации</a:t>
            </a:r>
            <a:r>
              <a:rPr lang="en-US" altLang="ru-RU" sz="1800" dirty="0">
                <a:latin typeface="+mn-lt"/>
                <a:cs typeface="+mn-cs"/>
              </a:rPr>
              <a:t> </a:t>
            </a:r>
            <a:r>
              <a:rPr lang="ru-RU" altLang="ru-RU" sz="1800" dirty="0">
                <a:latin typeface="+mn-lt"/>
                <a:cs typeface="+mn-cs"/>
              </a:rPr>
              <a:t>СПГ</a:t>
            </a:r>
          </a:p>
          <a:p>
            <a:pPr fontAlgn="base">
              <a:lnSpc>
                <a:spcPct val="150000"/>
              </a:lnSpc>
              <a:spcBef>
                <a:spcPts val="200"/>
              </a:spcBef>
              <a:spcAft>
                <a:spcPct val="0"/>
              </a:spcAft>
            </a:pPr>
            <a:r>
              <a:rPr lang="ru-RU" altLang="ru-RU" sz="1800" dirty="0">
                <a:latin typeface="+mn-lt"/>
                <a:cs typeface="+mn-cs"/>
              </a:rPr>
              <a:t>Узлы учета крупных потребителей – ТЭЦ, заводы</a:t>
            </a:r>
          </a:p>
          <a:p>
            <a:pPr fontAlgn="base">
              <a:lnSpc>
                <a:spcPct val="150000"/>
              </a:lnSpc>
              <a:spcBef>
                <a:spcPts val="200"/>
              </a:spcBef>
              <a:spcAft>
                <a:spcPct val="0"/>
              </a:spcAft>
            </a:pPr>
            <a:r>
              <a:rPr lang="en-US" altLang="ru-RU" sz="1800" dirty="0" err="1">
                <a:latin typeface="+mn-lt"/>
                <a:cs typeface="+mn-cs"/>
              </a:rPr>
              <a:t>Коммерчески</a:t>
            </a:r>
            <a:r>
              <a:rPr lang="ru-RU" altLang="ru-RU" sz="1800" dirty="0">
                <a:latin typeface="+mn-lt"/>
                <a:cs typeface="+mn-cs"/>
              </a:rPr>
              <a:t>е </a:t>
            </a:r>
            <a:r>
              <a:rPr lang="en-US" altLang="ru-RU" sz="1800" dirty="0" err="1">
                <a:latin typeface="+mn-lt"/>
                <a:cs typeface="+mn-cs"/>
              </a:rPr>
              <a:t>узл</a:t>
            </a:r>
            <a:r>
              <a:rPr lang="ru-RU" altLang="ru-RU" sz="1800" dirty="0">
                <a:latin typeface="+mn-lt"/>
                <a:cs typeface="+mn-cs"/>
              </a:rPr>
              <a:t>ы</a:t>
            </a:r>
            <a:r>
              <a:rPr lang="en-US" altLang="ru-RU" sz="1800" dirty="0">
                <a:latin typeface="+mn-lt"/>
                <a:cs typeface="+mn-cs"/>
              </a:rPr>
              <a:t> </a:t>
            </a:r>
            <a:r>
              <a:rPr lang="en-US" altLang="ru-RU" sz="1800" dirty="0" err="1">
                <a:latin typeface="+mn-lt"/>
                <a:cs typeface="+mn-cs"/>
              </a:rPr>
              <a:t>учета</a:t>
            </a:r>
            <a:r>
              <a:rPr lang="en-US" altLang="ru-RU" sz="1800" dirty="0">
                <a:latin typeface="+mn-lt"/>
                <a:cs typeface="+mn-cs"/>
              </a:rPr>
              <a:t> </a:t>
            </a:r>
            <a:r>
              <a:rPr lang="en-US" altLang="ru-RU" sz="1800" dirty="0" err="1">
                <a:latin typeface="+mn-lt"/>
                <a:cs typeface="+mn-cs"/>
              </a:rPr>
              <a:t>газа</a:t>
            </a:r>
            <a:r>
              <a:rPr lang="en-US" altLang="ru-RU" sz="1800" dirty="0">
                <a:latin typeface="+mn-lt"/>
                <a:cs typeface="+mn-cs"/>
              </a:rPr>
              <a:t> </a:t>
            </a:r>
            <a:r>
              <a:rPr lang="en-US" altLang="ru-RU" sz="1800" dirty="0" err="1">
                <a:latin typeface="+mn-lt"/>
                <a:cs typeface="+mn-cs"/>
              </a:rPr>
              <a:t>на</a:t>
            </a:r>
            <a:r>
              <a:rPr lang="en-US" altLang="ru-RU" sz="1800" dirty="0">
                <a:latin typeface="+mn-lt"/>
                <a:cs typeface="+mn-cs"/>
              </a:rPr>
              <a:t> </a:t>
            </a:r>
            <a:r>
              <a:rPr lang="en-US" altLang="ru-RU" sz="1800" dirty="0" smtClean="0">
                <a:latin typeface="+mn-lt"/>
                <a:cs typeface="+mn-cs"/>
              </a:rPr>
              <a:t>ГРС</a:t>
            </a:r>
            <a:endParaRPr lang="ru-RU" altLang="ru-RU" sz="1800" dirty="0" smtClean="0">
              <a:latin typeface="+mn-lt"/>
              <a:cs typeface="+mn-cs"/>
            </a:endParaRPr>
          </a:p>
          <a:p>
            <a:pPr fontAlgn="base">
              <a:lnSpc>
                <a:spcPct val="150000"/>
              </a:lnSpc>
              <a:spcBef>
                <a:spcPts val="200"/>
              </a:spcBef>
              <a:spcAft>
                <a:spcPct val="0"/>
              </a:spcAft>
            </a:pPr>
            <a:r>
              <a:rPr lang="ru-RU" altLang="ru-RU" sz="1800" dirty="0" smtClean="0">
                <a:latin typeface="+mn-lt"/>
                <a:cs typeface="+mn-cs"/>
              </a:rPr>
              <a:t>Узлы учета в сетях газораспределения и </a:t>
            </a:r>
            <a:r>
              <a:rPr lang="ru-RU" altLang="ru-RU" sz="1800" dirty="0" err="1" smtClean="0">
                <a:latin typeface="+mn-lt"/>
                <a:cs typeface="+mn-cs"/>
              </a:rPr>
              <a:t>газопотребления</a:t>
            </a:r>
            <a:endParaRPr lang="ru-RU" altLang="ru-RU" sz="1800" dirty="0">
              <a:latin typeface="+mn-lt"/>
              <a:cs typeface="+mn-cs"/>
            </a:endParaRPr>
          </a:p>
        </p:txBody>
      </p:sp>
      <p:pic>
        <p:nvPicPr>
          <p:cNvPr id="61445" name="Picture 2" descr="C:\Documents and Settings\lomovni\Desktop\Газораспределительные станции и системы газоснабжения_2010\Самарская ТЭЦ.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949950" y="3690938"/>
            <a:ext cx="3756025" cy="281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Заголовок 1"/>
          <p:cNvSpPr txBox="1">
            <a:spLocks/>
          </p:cNvSpPr>
          <p:nvPr/>
        </p:nvSpPr>
        <p:spPr bwMode="auto">
          <a:xfrm>
            <a:off x="204788" y="88900"/>
            <a:ext cx="6526213" cy="720725"/>
          </a:xfrm>
          <a:prstGeom prst="rect">
            <a:avLst/>
          </a:prstGeom>
        </p:spPr>
        <p:txBody>
          <a:bodyPr vert="horz" lIns="0" tIns="0" rIns="0" bIns="0" rtlCol="0" anchor="t" anchorCtr="0">
            <a:normAutofit fontScale="97500"/>
          </a:bodyPr>
          <a:lstStyle>
            <a:lvl1pPr>
              <a:lnSpc>
                <a:spcPct val="80000"/>
              </a:lnSpc>
              <a:spcBef>
                <a:spcPct val="0"/>
              </a:spcBef>
              <a:buNone/>
              <a:defRPr sz="2200" cap="all" baseline="0">
                <a:solidFill>
                  <a:srgbClr val="0070C0"/>
                </a:solidFill>
                <a:latin typeface="+mj-lt"/>
                <a:ea typeface="+mj-ea"/>
                <a:cs typeface="+mj-cs"/>
              </a:defRPr>
            </a:lvl1pPr>
          </a:lstStyle>
          <a:p>
            <a:endParaRPr lang="ru-RU" altLang="en-US" sz="2000" dirty="0"/>
          </a:p>
          <a:p>
            <a:r>
              <a:rPr lang="ru-RU" altLang="en-US" sz="2000" dirty="0"/>
              <a:t>коммерческий учет газа</a:t>
            </a:r>
          </a:p>
        </p:txBody>
      </p:sp>
      <p:sp>
        <p:nvSpPr>
          <p:cNvPr id="9" name="Нижний колонтитул 3"/>
          <p:cNvSpPr txBox="1">
            <a:spLocks/>
          </p:cNvSpPr>
          <p:nvPr/>
        </p:nvSpPr>
        <p:spPr>
          <a:xfrm>
            <a:off x="1560000" y="6660000"/>
            <a:ext cx="6786000" cy="1800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l" rtl="0" eaLnBrk="0" fontAlgn="base" hangingPunct="0">
              <a:spcBef>
                <a:spcPct val="20000"/>
              </a:spcBef>
              <a:spcAft>
                <a:spcPct val="0"/>
              </a:spcAft>
              <a:buClr>
                <a:srgbClr val="0084C2"/>
              </a:buClr>
              <a:buSzPct val="130000"/>
              <a:buFont typeface="Arial" charset="0"/>
              <a:buChar char=":"/>
              <a:defRPr sz="1700" kern="1200">
                <a:solidFill>
                  <a:schemeClr val="tx1"/>
                </a:solidFill>
                <a:latin typeface="Arial" charset="0"/>
                <a:ea typeface="+mn-ea"/>
                <a:cs typeface="Arial" charset="0"/>
              </a:defRPr>
            </a:lvl1pPr>
            <a:lvl2pPr marL="742950" indent="-285750" algn="l" rtl="0" eaLnBrk="0" fontAlgn="base" hangingPunct="0">
              <a:spcBef>
                <a:spcPct val="20000"/>
              </a:spcBef>
              <a:spcAft>
                <a:spcPct val="0"/>
              </a:spcAft>
              <a:buClr>
                <a:srgbClr val="0084C2"/>
              </a:buClr>
              <a:buFont typeface="Arial" charset="0"/>
              <a:buChar char="-"/>
              <a:defRPr sz="1600" kern="1200">
                <a:solidFill>
                  <a:schemeClr val="tx1"/>
                </a:solidFill>
                <a:latin typeface="Arial" charset="0"/>
                <a:ea typeface="+mn-ea"/>
                <a:cs typeface="Arial" charset="0"/>
              </a:defRPr>
            </a:lvl2pPr>
            <a:lvl3pPr marL="11430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3pPr>
            <a:lvl4pPr marL="16002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4pPr>
            <a:lvl5pPr marL="2057400" indent="-228600" algn="l" rtl="0" eaLnBrk="0" fontAlgn="base" hangingPunct="0">
              <a:spcBef>
                <a:spcPct val="20000"/>
              </a:spcBef>
              <a:spcAft>
                <a:spcPct val="0"/>
              </a:spcAft>
              <a:buChar char="»"/>
              <a:defRPr sz="1600" kern="1200">
                <a:solidFill>
                  <a:schemeClr val="tx1"/>
                </a:solidFill>
                <a:latin typeface="Arial" charset="0"/>
                <a:ea typeface="+mn-ea"/>
                <a:cs typeface="Arial" charset="0"/>
              </a:defRPr>
            </a:lvl5pPr>
            <a:lvl6pPr marL="25146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6pPr>
            <a:lvl7pPr marL="29718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7pPr>
            <a:lvl8pPr marL="34290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8pPr>
            <a:lvl9pPr marL="38862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9pPr>
          </a:lstStyle>
          <a:p>
            <a:pPr eaLnBrk="1" hangingPunct="1">
              <a:spcBef>
                <a:spcPct val="0"/>
              </a:spcBef>
              <a:buClrTx/>
              <a:buSzTx/>
              <a:buFontTx/>
              <a:buNone/>
            </a:pPr>
            <a:endParaRPr lang="ru-RU" altLang="ru-RU" sz="900" dirty="0" smtClean="0">
              <a:solidFill>
                <a:srgbClr val="4F81BD"/>
              </a:solidFill>
            </a:endParaRPr>
          </a:p>
        </p:txBody>
      </p:sp>
      <p:sp>
        <p:nvSpPr>
          <p:cNvPr id="11" name="Номер слайда 3"/>
          <p:cNvSpPr txBox="1">
            <a:spLocks/>
          </p:cNvSpPr>
          <p:nvPr/>
        </p:nvSpPr>
        <p:spPr>
          <a:xfrm>
            <a:off x="8515075" y="6660000"/>
            <a:ext cx="975000" cy="1800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l" rtl="0" eaLnBrk="0" fontAlgn="base" hangingPunct="0">
              <a:spcBef>
                <a:spcPct val="20000"/>
              </a:spcBef>
              <a:spcAft>
                <a:spcPct val="0"/>
              </a:spcAft>
              <a:buClr>
                <a:srgbClr val="0084C2"/>
              </a:buClr>
              <a:buSzPct val="130000"/>
              <a:buFont typeface="Arial" charset="0"/>
              <a:buChar char=":"/>
              <a:defRPr sz="1700" kern="1200">
                <a:solidFill>
                  <a:schemeClr val="tx1"/>
                </a:solidFill>
                <a:latin typeface="Arial" charset="0"/>
                <a:ea typeface="+mn-ea"/>
                <a:cs typeface="Arial" charset="0"/>
              </a:defRPr>
            </a:lvl1pPr>
            <a:lvl2pPr marL="742950" indent="-285750" algn="l" rtl="0" eaLnBrk="0" fontAlgn="base" hangingPunct="0">
              <a:spcBef>
                <a:spcPct val="20000"/>
              </a:spcBef>
              <a:spcAft>
                <a:spcPct val="0"/>
              </a:spcAft>
              <a:buClr>
                <a:srgbClr val="0084C2"/>
              </a:buClr>
              <a:buFont typeface="Arial" charset="0"/>
              <a:buChar char="-"/>
              <a:defRPr sz="1600" kern="1200">
                <a:solidFill>
                  <a:schemeClr val="tx1"/>
                </a:solidFill>
                <a:latin typeface="Arial" charset="0"/>
                <a:ea typeface="+mn-ea"/>
                <a:cs typeface="Arial" charset="0"/>
              </a:defRPr>
            </a:lvl2pPr>
            <a:lvl3pPr marL="11430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3pPr>
            <a:lvl4pPr marL="16002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4pPr>
            <a:lvl5pPr marL="2057400" indent="-228600" algn="l" rtl="0" eaLnBrk="0" fontAlgn="base" hangingPunct="0">
              <a:spcBef>
                <a:spcPct val="20000"/>
              </a:spcBef>
              <a:spcAft>
                <a:spcPct val="0"/>
              </a:spcAft>
              <a:buChar char="»"/>
              <a:defRPr sz="1600" kern="1200">
                <a:solidFill>
                  <a:schemeClr val="tx1"/>
                </a:solidFill>
                <a:latin typeface="Arial" charset="0"/>
                <a:ea typeface="+mn-ea"/>
                <a:cs typeface="Arial" charset="0"/>
              </a:defRPr>
            </a:lvl5pPr>
            <a:lvl6pPr marL="25146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6pPr>
            <a:lvl7pPr marL="29718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7pPr>
            <a:lvl8pPr marL="34290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8pPr>
            <a:lvl9pPr marL="38862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9pPr>
          </a:lstStyle>
          <a:p>
            <a:pPr eaLnBrk="1" hangingPunct="1">
              <a:spcBef>
                <a:spcPct val="0"/>
              </a:spcBef>
              <a:buClrTx/>
              <a:buSzTx/>
              <a:buFontTx/>
              <a:buNone/>
            </a:pPr>
            <a:fld id="{4B6285FC-5835-4793-9B68-FB9188E4F645}" type="slidenum">
              <a:rPr lang="en-US" altLang="en-US" sz="900" smtClean="0">
                <a:solidFill>
                  <a:srgbClr val="4F81BD"/>
                </a:solidFill>
              </a:rPr>
              <a:pPr eaLnBrk="1" hangingPunct="1">
                <a:spcBef>
                  <a:spcPct val="0"/>
                </a:spcBef>
                <a:buClrTx/>
                <a:buSzTx/>
                <a:buFontTx/>
                <a:buNone/>
              </a:pPr>
              <a:t>5</a:t>
            </a:fld>
            <a:endParaRPr lang="en-US" altLang="en-US" sz="900" dirty="0" smtClean="0">
              <a:solidFill>
                <a:srgbClr val="4F81BD"/>
              </a:solidFill>
            </a:endParaRPr>
          </a:p>
        </p:txBody>
      </p:sp>
      <p:pic>
        <p:nvPicPr>
          <p:cNvPr id="52226" name="Picture 2" descr="C:\Users\larisa\Desktop\Минск\IMG_20161006_121141_1.jp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136576" y="3696430"/>
            <a:ext cx="3728847" cy="2796635"/>
          </a:xfrm>
          <a:prstGeom prst="rect">
            <a:avLst/>
          </a:prstGeom>
          <a:noFill/>
          <a:extLst>
            <a:ext uri="{909E8E84-426E-40DD-AFC4-6F175D3DCCD1}">
              <a14:hiddenFill xmlns:a14="http://schemas.microsoft.com/office/drawing/2010/main">
                <a:solidFill>
                  <a:srgbClr val="FFFFFF"/>
                </a:solidFill>
              </a14:hiddenFill>
            </a:ext>
          </a:extLst>
        </p:spPr>
      </p:pic>
      <p:pic>
        <p:nvPicPr>
          <p:cNvPr id="52227" name="Picture 3"/>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949951" y="980729"/>
            <a:ext cx="3756024" cy="2606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228" name="Picture 4"/>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745089" y="980730"/>
            <a:ext cx="3960886" cy="2623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038658"/>
      </p:ext>
    </p:extLst>
  </p:cSld>
  <p:clrMapOvr>
    <a:masterClrMapping/>
  </p:clrMapOvr>
  <p:transition spd="med">
    <p:wipe dir="d"/>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Заголовок 1"/>
          <p:cNvSpPr>
            <a:spLocks noGrp="1"/>
          </p:cNvSpPr>
          <p:nvPr>
            <p:ph type="title"/>
          </p:nvPr>
        </p:nvSpPr>
        <p:spPr/>
        <p:txBody>
          <a:bodyPr>
            <a:normAutofit fontScale="90000"/>
          </a:bodyPr>
          <a:lstStyle/>
          <a:p>
            <a:pPr>
              <a:defRPr/>
            </a:pPr>
            <a:r>
              <a:rPr lang="ru-RU" sz="2200" dirty="0">
                <a:solidFill>
                  <a:srgbClr val="0070C0"/>
                </a:solidFill>
              </a:rPr>
              <a:t>Референс</a:t>
            </a:r>
            <a:r>
              <a:rPr lang="en-US" sz="2200" dirty="0">
                <a:solidFill>
                  <a:srgbClr val="0070C0"/>
                </a:solidFill>
              </a:rPr>
              <a:t>: </a:t>
            </a:r>
            <a:r>
              <a:rPr lang="ru-RU" sz="2200" dirty="0">
                <a:solidFill>
                  <a:srgbClr val="0070C0"/>
                </a:solidFill>
              </a:rPr>
              <a:t>Коммерческий учет газа</a:t>
            </a:r>
            <a:r>
              <a:rPr lang="ru-RU" sz="2000" dirty="0">
                <a:solidFill>
                  <a:schemeClr val="accent1"/>
                </a:solidFill>
                <a:ea typeface="+mn-ea"/>
              </a:rPr>
              <a:t/>
            </a:r>
            <a:br>
              <a:rPr lang="ru-RU" sz="2000" dirty="0">
                <a:solidFill>
                  <a:schemeClr val="accent1"/>
                </a:solidFill>
                <a:ea typeface="+mn-ea"/>
              </a:rPr>
            </a:br>
            <a:r>
              <a:rPr lang="ru-RU" sz="2000" dirty="0">
                <a:ea typeface="+mn-ea"/>
              </a:rPr>
              <a:t/>
            </a:r>
            <a:br>
              <a:rPr lang="ru-RU" sz="2000" dirty="0">
                <a:ea typeface="+mn-ea"/>
              </a:rPr>
            </a:br>
            <a:r>
              <a:rPr lang="de-DE" altLang="ru-RU" dirty="0" smtClean="0"/>
              <a:t/>
            </a:r>
            <a:br>
              <a:rPr lang="de-DE" altLang="ru-RU" dirty="0" smtClean="0"/>
            </a:br>
            <a:endParaRPr lang="ru-RU" altLang="ru-RU" dirty="0" smtClean="0"/>
          </a:p>
        </p:txBody>
      </p:sp>
      <p:sp>
        <p:nvSpPr>
          <p:cNvPr id="7" name="Номер слайда 3"/>
          <p:cNvSpPr txBox="1">
            <a:spLocks/>
          </p:cNvSpPr>
          <p:nvPr/>
        </p:nvSpPr>
        <p:spPr>
          <a:xfrm>
            <a:off x="8515075" y="6660000"/>
            <a:ext cx="975000" cy="1800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l" rtl="0" eaLnBrk="0" fontAlgn="base" hangingPunct="0">
              <a:spcBef>
                <a:spcPct val="20000"/>
              </a:spcBef>
              <a:spcAft>
                <a:spcPct val="0"/>
              </a:spcAft>
              <a:buClr>
                <a:srgbClr val="0084C2"/>
              </a:buClr>
              <a:buSzPct val="130000"/>
              <a:buFont typeface="Arial" charset="0"/>
              <a:buChar char=":"/>
              <a:defRPr sz="1700" kern="1200">
                <a:solidFill>
                  <a:schemeClr val="tx1"/>
                </a:solidFill>
                <a:latin typeface="Arial" charset="0"/>
                <a:ea typeface="+mn-ea"/>
                <a:cs typeface="Arial" charset="0"/>
              </a:defRPr>
            </a:lvl1pPr>
            <a:lvl2pPr marL="742950" indent="-285750" algn="l" rtl="0" eaLnBrk="0" fontAlgn="base" hangingPunct="0">
              <a:spcBef>
                <a:spcPct val="20000"/>
              </a:spcBef>
              <a:spcAft>
                <a:spcPct val="0"/>
              </a:spcAft>
              <a:buClr>
                <a:srgbClr val="0084C2"/>
              </a:buClr>
              <a:buFont typeface="Arial" charset="0"/>
              <a:buChar char="-"/>
              <a:defRPr sz="1600" kern="1200">
                <a:solidFill>
                  <a:schemeClr val="tx1"/>
                </a:solidFill>
                <a:latin typeface="Arial" charset="0"/>
                <a:ea typeface="+mn-ea"/>
                <a:cs typeface="Arial" charset="0"/>
              </a:defRPr>
            </a:lvl2pPr>
            <a:lvl3pPr marL="11430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3pPr>
            <a:lvl4pPr marL="16002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4pPr>
            <a:lvl5pPr marL="2057400" indent="-228600" algn="l" rtl="0" eaLnBrk="0" fontAlgn="base" hangingPunct="0">
              <a:spcBef>
                <a:spcPct val="20000"/>
              </a:spcBef>
              <a:spcAft>
                <a:spcPct val="0"/>
              </a:spcAft>
              <a:buChar char="»"/>
              <a:defRPr sz="1600" kern="1200">
                <a:solidFill>
                  <a:schemeClr val="tx1"/>
                </a:solidFill>
                <a:latin typeface="Arial" charset="0"/>
                <a:ea typeface="+mn-ea"/>
                <a:cs typeface="Arial" charset="0"/>
              </a:defRPr>
            </a:lvl5pPr>
            <a:lvl6pPr marL="25146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6pPr>
            <a:lvl7pPr marL="29718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7pPr>
            <a:lvl8pPr marL="34290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8pPr>
            <a:lvl9pPr marL="38862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9pPr>
          </a:lstStyle>
          <a:p>
            <a:pPr eaLnBrk="1" hangingPunct="1">
              <a:spcBef>
                <a:spcPct val="0"/>
              </a:spcBef>
              <a:buClrTx/>
              <a:buSzTx/>
              <a:buFontTx/>
              <a:buNone/>
            </a:pPr>
            <a:fld id="{4B6285FC-5835-4793-9B68-FB9188E4F645}" type="slidenum">
              <a:rPr lang="en-US" altLang="en-US" sz="900" smtClean="0">
                <a:solidFill>
                  <a:srgbClr val="4F81BD"/>
                </a:solidFill>
              </a:rPr>
              <a:pPr eaLnBrk="1" hangingPunct="1">
                <a:spcBef>
                  <a:spcPct val="0"/>
                </a:spcBef>
                <a:buClrTx/>
                <a:buSzTx/>
                <a:buFontTx/>
                <a:buNone/>
              </a:pPr>
              <a:t>6</a:t>
            </a:fld>
            <a:endParaRPr lang="en-US" altLang="en-US" sz="900" dirty="0" smtClean="0">
              <a:solidFill>
                <a:srgbClr val="4F81BD"/>
              </a:solidFill>
            </a:endParaRPr>
          </a:p>
        </p:txBody>
      </p:sp>
      <p:sp>
        <p:nvSpPr>
          <p:cNvPr id="14" name="Содержимое 2"/>
          <p:cNvSpPr txBox="1">
            <a:spLocks/>
          </p:cNvSpPr>
          <p:nvPr/>
        </p:nvSpPr>
        <p:spPr bwMode="auto">
          <a:xfrm>
            <a:off x="214312" y="976313"/>
            <a:ext cx="9635231" cy="55483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68288" indent="-268288" algn="l" rtl="0" eaLnBrk="0" fontAlgn="base" hangingPunct="0">
              <a:spcBef>
                <a:spcPct val="20000"/>
              </a:spcBef>
              <a:spcAft>
                <a:spcPct val="0"/>
              </a:spcAft>
              <a:buClr>
                <a:srgbClr val="0084C2"/>
              </a:buClr>
              <a:buSzPct val="130000"/>
              <a:buFont typeface="Arial" charset="0"/>
              <a:buChar char=":"/>
              <a:defRPr sz="1700">
                <a:solidFill>
                  <a:schemeClr val="tx1"/>
                </a:solidFill>
                <a:latin typeface="+mn-lt"/>
                <a:ea typeface="+mn-ea"/>
                <a:cs typeface="+mn-cs"/>
              </a:defRPr>
            </a:lvl1pPr>
            <a:lvl2pPr marL="541338" indent="-271463" algn="l" rtl="0" eaLnBrk="0" fontAlgn="base" hangingPunct="0">
              <a:spcBef>
                <a:spcPct val="20000"/>
              </a:spcBef>
              <a:spcAft>
                <a:spcPct val="0"/>
              </a:spcAft>
              <a:buClr>
                <a:srgbClr val="0084C2"/>
              </a:buClr>
              <a:buFont typeface="Arial" charset="0"/>
              <a:buChar char="-"/>
              <a:defRPr sz="1600">
                <a:solidFill>
                  <a:schemeClr val="tx1"/>
                </a:solidFill>
                <a:latin typeface="+mn-lt"/>
                <a:cs typeface="+mn-cs"/>
              </a:defRPr>
            </a:lvl2pPr>
            <a:lvl3pPr marL="809625" indent="-266700" algn="l" rtl="0" eaLnBrk="0" fontAlgn="base" hangingPunct="0">
              <a:spcBef>
                <a:spcPct val="20000"/>
              </a:spcBef>
              <a:spcAft>
                <a:spcPct val="0"/>
              </a:spcAft>
              <a:buClr>
                <a:srgbClr val="0084C2"/>
              </a:buClr>
              <a:buSzPct val="50000"/>
              <a:buFont typeface="Arial" charset="0"/>
              <a:buChar char="▪"/>
              <a:defRPr sz="1600">
                <a:solidFill>
                  <a:schemeClr val="tx1"/>
                </a:solidFill>
                <a:latin typeface="+mn-lt"/>
                <a:cs typeface="+mn-cs"/>
              </a:defRPr>
            </a:lvl3pPr>
            <a:lvl4pPr marL="1073150" indent="-261938" algn="l" rtl="0" eaLnBrk="0" fontAlgn="base" hangingPunct="0">
              <a:spcBef>
                <a:spcPct val="20000"/>
              </a:spcBef>
              <a:spcAft>
                <a:spcPct val="0"/>
              </a:spcAft>
              <a:buClr>
                <a:srgbClr val="0084C2"/>
              </a:buClr>
              <a:buSzPct val="50000"/>
              <a:buFont typeface="Arial" charset="0"/>
              <a:buChar char="▪"/>
              <a:defRPr sz="1600">
                <a:solidFill>
                  <a:schemeClr val="tx1"/>
                </a:solidFill>
                <a:latin typeface="+mn-lt"/>
                <a:cs typeface="+mn-cs"/>
              </a:defRPr>
            </a:lvl4pPr>
            <a:lvl5pPr marL="2157413" indent="-228600" algn="l" rtl="0" eaLnBrk="0" fontAlgn="base" hangingPunct="0">
              <a:spcBef>
                <a:spcPct val="20000"/>
              </a:spcBef>
              <a:spcAft>
                <a:spcPct val="0"/>
              </a:spcAft>
              <a:buChar char="»"/>
              <a:defRPr sz="1600">
                <a:solidFill>
                  <a:schemeClr val="tx1"/>
                </a:solidFill>
                <a:latin typeface="+mn-lt"/>
                <a:cs typeface="+mn-cs"/>
              </a:defRPr>
            </a:lvl5pPr>
            <a:lvl6pPr marL="2614613" indent="-228600" algn="l" rtl="0" fontAlgn="base">
              <a:spcBef>
                <a:spcPct val="20000"/>
              </a:spcBef>
              <a:spcAft>
                <a:spcPct val="0"/>
              </a:spcAft>
              <a:buChar char="»"/>
              <a:defRPr sz="1600">
                <a:solidFill>
                  <a:schemeClr val="tx1"/>
                </a:solidFill>
                <a:latin typeface="+mn-lt"/>
                <a:cs typeface="+mn-cs"/>
              </a:defRPr>
            </a:lvl6pPr>
            <a:lvl7pPr marL="3071813" indent="-228600" algn="l" rtl="0" fontAlgn="base">
              <a:spcBef>
                <a:spcPct val="20000"/>
              </a:spcBef>
              <a:spcAft>
                <a:spcPct val="0"/>
              </a:spcAft>
              <a:buChar char="»"/>
              <a:defRPr sz="1600">
                <a:solidFill>
                  <a:schemeClr val="tx1"/>
                </a:solidFill>
                <a:latin typeface="+mn-lt"/>
                <a:cs typeface="+mn-cs"/>
              </a:defRPr>
            </a:lvl7pPr>
            <a:lvl8pPr marL="3529013" indent="-228600" algn="l" rtl="0" fontAlgn="base">
              <a:spcBef>
                <a:spcPct val="20000"/>
              </a:spcBef>
              <a:spcAft>
                <a:spcPct val="0"/>
              </a:spcAft>
              <a:buChar char="»"/>
              <a:defRPr sz="1600">
                <a:solidFill>
                  <a:schemeClr val="tx1"/>
                </a:solidFill>
                <a:latin typeface="+mn-lt"/>
                <a:cs typeface="+mn-cs"/>
              </a:defRPr>
            </a:lvl8pPr>
            <a:lvl9pPr marL="3986213" indent="-228600" algn="l" rtl="0" fontAlgn="base">
              <a:spcBef>
                <a:spcPct val="20000"/>
              </a:spcBef>
              <a:spcAft>
                <a:spcPct val="0"/>
              </a:spcAft>
              <a:buChar char="»"/>
              <a:defRPr sz="1600">
                <a:solidFill>
                  <a:schemeClr val="tx1"/>
                </a:solidFill>
                <a:latin typeface="+mn-lt"/>
                <a:cs typeface="+mn-cs"/>
              </a:defRPr>
            </a:lvl9pPr>
          </a:lstStyle>
          <a:p>
            <a:pPr marL="0" indent="0">
              <a:buNone/>
              <a:defRPr/>
            </a:pPr>
            <a:endParaRPr lang="ru-RU" kern="0" dirty="0">
              <a:solidFill>
                <a:srgbClr val="AAC2DD">
                  <a:lumMod val="50000"/>
                </a:srgbClr>
              </a:solidFill>
              <a:latin typeface="Arial"/>
              <a:cs typeface="Arial"/>
            </a:endParaRPr>
          </a:p>
          <a:p>
            <a:pPr>
              <a:defRPr/>
            </a:pPr>
            <a:endParaRPr lang="ru-RU" sz="2000" dirty="0" smtClean="0"/>
          </a:p>
          <a:p>
            <a:pPr>
              <a:defRPr/>
            </a:pPr>
            <a:r>
              <a:rPr lang="ru-RU" sz="2000" dirty="0" err="1" smtClean="0"/>
              <a:t>Референс</a:t>
            </a:r>
            <a:r>
              <a:rPr lang="ru-RU" sz="2000" dirty="0" smtClean="0"/>
              <a:t> </a:t>
            </a:r>
            <a:r>
              <a:rPr lang="ru-RU" sz="2000" dirty="0"/>
              <a:t>поставок решений для коммерческого учета </a:t>
            </a:r>
            <a:r>
              <a:rPr lang="ru-RU" sz="2000" dirty="0" smtClean="0"/>
              <a:t>на объекты в России </a:t>
            </a:r>
            <a:r>
              <a:rPr lang="ru-RU" sz="2000" dirty="0"/>
              <a:t>за последние 10 лет</a:t>
            </a:r>
            <a:endParaRPr lang="en-US" sz="2000" dirty="0"/>
          </a:p>
          <a:p>
            <a:pPr marL="0" indent="0">
              <a:buNone/>
              <a:defRPr/>
            </a:pPr>
            <a:endParaRPr lang="ru-RU" sz="2000" dirty="0"/>
          </a:p>
          <a:p>
            <a:pPr marL="0" indent="0">
              <a:buFont typeface="Arial" charset="0"/>
              <a:buNone/>
              <a:defRPr/>
            </a:pPr>
            <a:r>
              <a:rPr lang="ru-RU" sz="2000" dirty="0"/>
              <a:t>     </a:t>
            </a:r>
            <a:r>
              <a:rPr lang="en-US" sz="2000" dirty="0"/>
              <a:t>FLOWSIC600</a:t>
            </a:r>
            <a:r>
              <a:rPr lang="ru-RU" sz="2000" dirty="0"/>
              <a:t> – около 460 установок             </a:t>
            </a:r>
            <a:r>
              <a:rPr lang="ru-RU" sz="2000" dirty="0" smtClean="0"/>
              <a:t>              </a:t>
            </a:r>
            <a:r>
              <a:rPr lang="en-US" sz="2000" dirty="0"/>
              <a:t>FLOWSIC</a:t>
            </a:r>
            <a:r>
              <a:rPr lang="ru-RU" sz="2000" dirty="0"/>
              <a:t>6</a:t>
            </a:r>
            <a:r>
              <a:rPr lang="en-US" sz="2000" dirty="0"/>
              <a:t>00</a:t>
            </a:r>
            <a:r>
              <a:rPr lang="ru-RU" sz="2000" dirty="0"/>
              <a:t> </a:t>
            </a:r>
            <a:r>
              <a:rPr lang="en-US" sz="2000" dirty="0" err="1"/>
              <a:t>Quatro</a:t>
            </a:r>
            <a:r>
              <a:rPr lang="en-US" sz="2000" dirty="0"/>
              <a:t> –</a:t>
            </a:r>
            <a:r>
              <a:rPr lang="ru-RU" sz="2000" dirty="0"/>
              <a:t> около 70 установок</a:t>
            </a:r>
          </a:p>
          <a:p>
            <a:pPr>
              <a:defRPr/>
            </a:pPr>
            <a:endParaRPr lang="ru-RU" kern="0" dirty="0" smtClean="0">
              <a:solidFill>
                <a:srgbClr val="000000"/>
              </a:solidFill>
              <a:latin typeface="Arial"/>
              <a:cs typeface="Arial"/>
            </a:endParaRPr>
          </a:p>
          <a:p>
            <a:pPr>
              <a:defRPr/>
            </a:pPr>
            <a:endParaRPr lang="ru-RU" kern="0" dirty="0" smtClean="0">
              <a:solidFill>
                <a:srgbClr val="000000"/>
              </a:solidFill>
              <a:latin typeface="Arial"/>
              <a:cs typeface="Arial"/>
            </a:endParaRPr>
          </a:p>
          <a:p>
            <a:pPr>
              <a:defRPr/>
            </a:pPr>
            <a:endParaRPr lang="ru-RU" kern="0" dirty="0" smtClean="0">
              <a:solidFill>
                <a:srgbClr val="000000"/>
              </a:solidFill>
              <a:latin typeface="Arial"/>
              <a:cs typeface="Arial"/>
            </a:endParaRPr>
          </a:p>
          <a:p>
            <a:pPr marL="0" indent="0">
              <a:buFont typeface="Arial" charset="0"/>
              <a:buNone/>
              <a:defRPr/>
            </a:pPr>
            <a:endParaRPr lang="ru-RU" kern="0" dirty="0" smtClean="0">
              <a:solidFill>
                <a:srgbClr val="000000"/>
              </a:solidFill>
              <a:latin typeface="Arial"/>
              <a:cs typeface="Arial"/>
            </a:endParaRPr>
          </a:p>
          <a:p>
            <a:pPr>
              <a:defRPr/>
            </a:pPr>
            <a:endParaRPr lang="ru-RU" kern="0" dirty="0" smtClean="0">
              <a:solidFill>
                <a:srgbClr val="000000"/>
              </a:solidFill>
              <a:latin typeface="Arial"/>
              <a:cs typeface="Arial"/>
            </a:endParaRPr>
          </a:p>
        </p:txBody>
      </p:sp>
      <p:pic>
        <p:nvPicPr>
          <p:cNvPr id="8"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24508" y="2924943"/>
            <a:ext cx="3888432" cy="2916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178"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237136" y="2924943"/>
            <a:ext cx="4324376" cy="2916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9785080"/>
      </p:ext>
    </p:extLst>
  </p:cSld>
  <p:clrMapOvr>
    <a:masterClrMapping/>
  </p:clrMapOvr>
  <p:transition>
    <p:zo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2" name="Picture 4" descr="http://www.gazprom.ru/f/posts/34/784381/map_transport_rus_1.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034224" y="2060848"/>
            <a:ext cx="7065408" cy="4295768"/>
          </a:xfrm>
          <a:prstGeom prst="rect">
            <a:avLst/>
          </a:prstGeom>
          <a:noFill/>
          <a:extLst>
            <a:ext uri="{909E8E84-426E-40DD-AFC4-6F175D3DCCD1}">
              <a14:hiddenFill xmlns:a14="http://schemas.microsoft.com/office/drawing/2010/main">
                <a:solidFill>
                  <a:srgbClr val="FFFFFF"/>
                </a:solidFill>
              </a14:hiddenFill>
            </a:ext>
          </a:extLst>
        </p:spPr>
      </p:pic>
      <p:sp>
        <p:nvSpPr>
          <p:cNvPr id="62467" name="Прямоугольник 19"/>
          <p:cNvSpPr>
            <a:spLocks noChangeArrowheads="1"/>
          </p:cNvSpPr>
          <p:nvPr/>
        </p:nvSpPr>
        <p:spPr bwMode="auto">
          <a:xfrm>
            <a:off x="116728" y="974658"/>
            <a:ext cx="5640387" cy="1398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8288" indent="-268288"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fontAlgn="base">
              <a:lnSpc>
                <a:spcPct val="150000"/>
              </a:lnSpc>
              <a:spcAft>
                <a:spcPct val="0"/>
              </a:spcAft>
            </a:pPr>
            <a:r>
              <a:rPr lang="ru-RU" altLang="ru-RU" sz="1800" dirty="0">
                <a:latin typeface="+mn-lt"/>
                <a:cs typeface="+mn-cs"/>
              </a:rPr>
              <a:t>Северный поток – </a:t>
            </a:r>
            <a:r>
              <a:rPr lang="en-US" altLang="ru-RU" sz="1800" dirty="0">
                <a:latin typeface="+mn-lt"/>
                <a:cs typeface="+mn-cs"/>
              </a:rPr>
              <a:t>Nord Stream</a:t>
            </a:r>
            <a:r>
              <a:rPr lang="ru-RU" altLang="ru-RU" sz="1800" dirty="0">
                <a:latin typeface="+mn-lt"/>
                <a:cs typeface="+mn-cs"/>
              </a:rPr>
              <a:t> </a:t>
            </a:r>
          </a:p>
          <a:p>
            <a:pPr fontAlgn="base">
              <a:lnSpc>
                <a:spcPct val="150000"/>
              </a:lnSpc>
              <a:spcAft>
                <a:spcPct val="0"/>
              </a:spcAft>
            </a:pPr>
            <a:r>
              <a:rPr lang="ru-RU" altLang="ru-RU" sz="1800" dirty="0">
                <a:latin typeface="+mn-lt"/>
                <a:cs typeface="+mn-cs"/>
              </a:rPr>
              <a:t>Южный поток/Турецкий поток/…?</a:t>
            </a:r>
          </a:p>
          <a:p>
            <a:pPr fontAlgn="base">
              <a:lnSpc>
                <a:spcPct val="150000"/>
              </a:lnSpc>
              <a:spcAft>
                <a:spcPct val="0"/>
              </a:spcAft>
            </a:pPr>
            <a:r>
              <a:rPr lang="ru-RU" altLang="ru-RU" sz="1800" dirty="0">
                <a:latin typeface="+mn-lt"/>
                <a:cs typeface="+mn-cs"/>
              </a:rPr>
              <a:t>Сила Сибири</a:t>
            </a:r>
          </a:p>
        </p:txBody>
      </p:sp>
      <p:sp>
        <p:nvSpPr>
          <p:cNvPr id="13" name="Номер слайда 3"/>
          <p:cNvSpPr txBox="1">
            <a:spLocks/>
          </p:cNvSpPr>
          <p:nvPr/>
        </p:nvSpPr>
        <p:spPr>
          <a:xfrm>
            <a:off x="8515075" y="6660000"/>
            <a:ext cx="975000" cy="1800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l" rtl="0" eaLnBrk="0" fontAlgn="base" hangingPunct="0">
              <a:spcBef>
                <a:spcPct val="20000"/>
              </a:spcBef>
              <a:spcAft>
                <a:spcPct val="0"/>
              </a:spcAft>
              <a:buClr>
                <a:srgbClr val="0084C2"/>
              </a:buClr>
              <a:buSzPct val="130000"/>
              <a:buFont typeface="Arial" charset="0"/>
              <a:buChar char=":"/>
              <a:defRPr sz="1700" kern="1200">
                <a:solidFill>
                  <a:schemeClr val="tx1"/>
                </a:solidFill>
                <a:latin typeface="Arial" charset="0"/>
                <a:ea typeface="+mn-ea"/>
                <a:cs typeface="Arial" charset="0"/>
              </a:defRPr>
            </a:lvl1pPr>
            <a:lvl2pPr marL="742950" indent="-285750" algn="l" rtl="0" eaLnBrk="0" fontAlgn="base" hangingPunct="0">
              <a:spcBef>
                <a:spcPct val="20000"/>
              </a:spcBef>
              <a:spcAft>
                <a:spcPct val="0"/>
              </a:spcAft>
              <a:buClr>
                <a:srgbClr val="0084C2"/>
              </a:buClr>
              <a:buFont typeface="Arial" charset="0"/>
              <a:buChar char="-"/>
              <a:defRPr sz="1600" kern="1200">
                <a:solidFill>
                  <a:schemeClr val="tx1"/>
                </a:solidFill>
                <a:latin typeface="Arial" charset="0"/>
                <a:ea typeface="+mn-ea"/>
                <a:cs typeface="Arial" charset="0"/>
              </a:defRPr>
            </a:lvl2pPr>
            <a:lvl3pPr marL="11430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3pPr>
            <a:lvl4pPr marL="16002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4pPr>
            <a:lvl5pPr marL="2057400" indent="-228600" algn="l" rtl="0" eaLnBrk="0" fontAlgn="base" hangingPunct="0">
              <a:spcBef>
                <a:spcPct val="20000"/>
              </a:spcBef>
              <a:spcAft>
                <a:spcPct val="0"/>
              </a:spcAft>
              <a:buChar char="»"/>
              <a:defRPr sz="1600" kern="1200">
                <a:solidFill>
                  <a:schemeClr val="tx1"/>
                </a:solidFill>
                <a:latin typeface="Arial" charset="0"/>
                <a:ea typeface="+mn-ea"/>
                <a:cs typeface="Arial" charset="0"/>
              </a:defRPr>
            </a:lvl5pPr>
            <a:lvl6pPr marL="25146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6pPr>
            <a:lvl7pPr marL="29718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7pPr>
            <a:lvl8pPr marL="34290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8pPr>
            <a:lvl9pPr marL="38862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9pPr>
          </a:lstStyle>
          <a:p>
            <a:pPr eaLnBrk="1" hangingPunct="1">
              <a:spcBef>
                <a:spcPct val="0"/>
              </a:spcBef>
              <a:buClrTx/>
              <a:buSzTx/>
              <a:buFontTx/>
              <a:buNone/>
            </a:pPr>
            <a:fld id="{4B6285FC-5835-4793-9B68-FB9188E4F645}" type="slidenum">
              <a:rPr lang="en-US" altLang="en-US" sz="900" smtClean="0">
                <a:solidFill>
                  <a:srgbClr val="4F81BD"/>
                </a:solidFill>
              </a:rPr>
              <a:pPr eaLnBrk="1" hangingPunct="1">
                <a:spcBef>
                  <a:spcPct val="0"/>
                </a:spcBef>
                <a:buClrTx/>
                <a:buSzTx/>
                <a:buFontTx/>
                <a:buNone/>
              </a:pPr>
              <a:t>7</a:t>
            </a:fld>
            <a:endParaRPr lang="en-US" altLang="en-US" sz="900" dirty="0" smtClean="0">
              <a:solidFill>
                <a:srgbClr val="4F81BD"/>
              </a:solidFill>
            </a:endParaRPr>
          </a:p>
        </p:txBody>
      </p:sp>
      <p:sp>
        <p:nvSpPr>
          <p:cNvPr id="7" name="Заголовок 1"/>
          <p:cNvSpPr>
            <a:spLocks noGrp="1"/>
          </p:cNvSpPr>
          <p:nvPr>
            <p:ph type="title"/>
          </p:nvPr>
        </p:nvSpPr>
        <p:spPr>
          <a:xfrm>
            <a:off x="416496" y="288000"/>
            <a:ext cx="7731110" cy="404696"/>
          </a:xfrm>
        </p:spPr>
        <p:txBody>
          <a:bodyPr>
            <a:normAutofit fontScale="90000"/>
          </a:bodyPr>
          <a:lstStyle/>
          <a:p>
            <a:pPr>
              <a:defRPr/>
            </a:pPr>
            <a:r>
              <a:rPr lang="ru-RU" sz="2000" dirty="0">
                <a:solidFill>
                  <a:srgbClr val="0070C0"/>
                </a:solidFill>
              </a:rPr>
              <a:t>Коммерческий учет при ПОСТАВКах природного ГАЗА НА ЭКСПОРТ</a:t>
            </a:r>
            <a:r>
              <a:rPr lang="ru-RU" sz="2000" dirty="0">
                <a:solidFill>
                  <a:schemeClr val="accent1"/>
                </a:solidFill>
                <a:ea typeface="+mn-ea"/>
              </a:rPr>
              <a:t/>
            </a:r>
            <a:br>
              <a:rPr lang="ru-RU" sz="2000" dirty="0">
                <a:solidFill>
                  <a:schemeClr val="accent1"/>
                </a:solidFill>
                <a:ea typeface="+mn-ea"/>
              </a:rPr>
            </a:br>
            <a:r>
              <a:rPr lang="ru-RU" sz="2000" dirty="0">
                <a:ea typeface="+mn-ea"/>
              </a:rPr>
              <a:t/>
            </a:r>
            <a:br>
              <a:rPr lang="ru-RU" sz="2000" dirty="0">
                <a:ea typeface="+mn-ea"/>
              </a:rPr>
            </a:br>
            <a:r>
              <a:rPr lang="de-DE" altLang="ru-RU" dirty="0" smtClean="0"/>
              <a:t/>
            </a:r>
            <a:br>
              <a:rPr lang="de-DE" altLang="ru-RU" dirty="0" smtClean="0"/>
            </a:br>
            <a:endParaRPr lang="ru-RU" altLang="ru-RU" dirty="0" smtClean="0"/>
          </a:p>
        </p:txBody>
      </p:sp>
      <p:pic>
        <p:nvPicPr>
          <p:cNvPr id="8" name="Picture 2"/>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992560" y="3017792"/>
            <a:ext cx="1770368" cy="1209873"/>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2" name="Picture 2"/>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76536" y="4941168"/>
            <a:ext cx="1701180" cy="1057123"/>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44" name="Picture 4"/>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7245909" y="4725144"/>
            <a:ext cx="1853723" cy="1019646"/>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41887970"/>
      </p:ext>
    </p:extLst>
  </p:cSld>
  <p:clrMapOvr>
    <a:masterClrMapping/>
  </p:clrMapOvr>
  <p:transition spd="med">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46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246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45" presetClass="entr" presetSubtype="0" fill="hold" nodeType="clickEffect">
                                  <p:stCondLst>
                                    <p:cond delay="0"/>
                                  </p:stCondLst>
                                  <p:childTnLst>
                                    <p:set>
                                      <p:cBhvr>
                                        <p:cTn id="18" dur="1" fill="hold">
                                          <p:stCondLst>
                                            <p:cond delay="0"/>
                                          </p:stCondLst>
                                        </p:cTn>
                                        <p:tgtEl>
                                          <p:spTgt spid="61442"/>
                                        </p:tgtEl>
                                        <p:attrNameLst>
                                          <p:attrName>style.visibility</p:attrName>
                                        </p:attrNameLst>
                                      </p:cBhvr>
                                      <p:to>
                                        <p:strVal val="visible"/>
                                      </p:to>
                                    </p:set>
                                    <p:animEffect transition="in" filter="fade">
                                      <p:cBhvr>
                                        <p:cTn id="19" dur="2000"/>
                                        <p:tgtEl>
                                          <p:spTgt spid="61442"/>
                                        </p:tgtEl>
                                      </p:cBhvr>
                                    </p:animEffect>
                                    <p:anim calcmode="lin" valueType="num">
                                      <p:cBhvr>
                                        <p:cTn id="20" dur="2000" fill="hold"/>
                                        <p:tgtEl>
                                          <p:spTgt spid="61442"/>
                                        </p:tgtEl>
                                        <p:attrNameLst>
                                          <p:attrName>ppt_w</p:attrName>
                                        </p:attrNameLst>
                                      </p:cBhvr>
                                      <p:tavLst>
                                        <p:tav tm="0" fmla="#ppt_w*sin(2.5*pi*$)">
                                          <p:val>
                                            <p:fltVal val="0"/>
                                          </p:val>
                                        </p:tav>
                                        <p:tav tm="100000">
                                          <p:val>
                                            <p:fltVal val="1"/>
                                          </p:val>
                                        </p:tav>
                                      </p:tavLst>
                                    </p:anim>
                                    <p:anim calcmode="lin" valueType="num">
                                      <p:cBhvr>
                                        <p:cTn id="21" dur="2000" fill="hold"/>
                                        <p:tgtEl>
                                          <p:spTgt spid="61442"/>
                                        </p:tgtEl>
                                        <p:attrNameLst>
                                          <p:attrName>ppt_h</p:attrName>
                                        </p:attrNameLst>
                                      </p:cBhvr>
                                      <p:tavLst>
                                        <p:tav tm="0">
                                          <p:val>
                                            <p:strVal val="#ppt_h"/>
                                          </p:val>
                                        </p:tav>
                                        <p:tav tm="100000">
                                          <p:val>
                                            <p:strVal val="#ppt_h"/>
                                          </p:val>
                                        </p:tav>
                                      </p:tavLst>
                                    </p:anim>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62467">
                                            <p:txEl>
                                              <p:pRg st="2" end="2"/>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1444"/>
                                        </p:tgtEl>
                                        <p:attrNameLst>
                                          <p:attrName>style.visibility</p:attrName>
                                        </p:attrNameLst>
                                      </p:cBhvr>
                                      <p:to>
                                        <p:strVal val="visible"/>
                                      </p:to>
                                    </p:set>
                                    <p:animEffect transition="in" filter="fade">
                                      <p:cBhvr>
                                        <p:cTn id="30" dur="500"/>
                                        <p:tgtEl>
                                          <p:spTgt spid="614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Grafik 1"/>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0" y="928688"/>
            <a:ext cx="9910763" cy="567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6" name="Rectangle 2"/>
          <p:cNvSpPr>
            <a:spLocks noChangeArrowheads="1"/>
          </p:cNvSpPr>
          <p:nvPr/>
        </p:nvSpPr>
        <p:spPr bwMode="auto">
          <a:xfrm>
            <a:off x="341313" y="147638"/>
            <a:ext cx="776446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65113" indent="-265113"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fontAlgn="base" hangingPunct="1">
              <a:spcBef>
                <a:spcPct val="0"/>
              </a:spcBef>
              <a:spcAft>
                <a:spcPct val="0"/>
              </a:spcAft>
              <a:buClrTx/>
              <a:buSzTx/>
            </a:pPr>
            <a:endParaRPr lang="ru-RU" altLang="en-US" sz="2600" dirty="0">
              <a:solidFill>
                <a:srgbClr val="0084C2"/>
              </a:solidFill>
            </a:endParaRPr>
          </a:p>
        </p:txBody>
      </p:sp>
      <p:sp>
        <p:nvSpPr>
          <p:cNvPr id="33797" name="AutoShape 3"/>
          <p:cNvSpPr>
            <a:spLocks noChangeArrowheads="1"/>
          </p:cNvSpPr>
          <p:nvPr/>
        </p:nvSpPr>
        <p:spPr bwMode="auto">
          <a:xfrm>
            <a:off x="8077200" y="3036888"/>
            <a:ext cx="1628775" cy="1614487"/>
          </a:xfrm>
          <a:prstGeom prst="roundRect">
            <a:avLst>
              <a:gd name="adj" fmla="val 16667"/>
            </a:avLst>
          </a:prstGeom>
          <a:solidFill>
            <a:schemeClr val="bg1"/>
          </a:solidFill>
          <a:ln w="9525">
            <a:solidFill>
              <a:schemeClr val="tx1"/>
            </a:solidFill>
            <a:round/>
            <a:headEnd/>
            <a:tailEnd/>
          </a:ln>
        </p:spPr>
        <p:txBody>
          <a:bodyPr wrap="none" anchor="ct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fontAlgn="base" hangingPunct="1">
              <a:spcBef>
                <a:spcPct val="0"/>
              </a:spcBef>
              <a:spcAft>
                <a:spcPct val="0"/>
              </a:spcAft>
              <a:buClrTx/>
              <a:buSzTx/>
              <a:buFontTx/>
              <a:buNone/>
            </a:pPr>
            <a:endParaRPr lang="ru-RU" altLang="en-US" sz="1900" dirty="0">
              <a:solidFill>
                <a:srgbClr val="000000"/>
              </a:solidFill>
            </a:endParaRPr>
          </a:p>
        </p:txBody>
      </p:sp>
      <p:sp>
        <p:nvSpPr>
          <p:cNvPr id="33798" name="AutoShape 4"/>
          <p:cNvSpPr>
            <a:spLocks noChangeArrowheads="1"/>
          </p:cNvSpPr>
          <p:nvPr/>
        </p:nvSpPr>
        <p:spPr bwMode="auto">
          <a:xfrm>
            <a:off x="595313" y="2071688"/>
            <a:ext cx="1700212" cy="1500187"/>
          </a:xfrm>
          <a:prstGeom prst="roundRect">
            <a:avLst>
              <a:gd name="adj" fmla="val 16667"/>
            </a:avLst>
          </a:prstGeom>
          <a:solidFill>
            <a:schemeClr val="bg1"/>
          </a:solidFill>
          <a:ln w="9525">
            <a:solidFill>
              <a:schemeClr val="tx1"/>
            </a:solidFill>
            <a:round/>
            <a:headEnd/>
            <a:tailEnd/>
          </a:ln>
        </p:spPr>
        <p:txBody>
          <a:bodyPr wrap="none" anchor="ct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fontAlgn="base" hangingPunct="1">
              <a:spcBef>
                <a:spcPct val="0"/>
              </a:spcBef>
              <a:spcAft>
                <a:spcPct val="0"/>
              </a:spcAft>
              <a:buClrTx/>
              <a:buSzTx/>
              <a:buFontTx/>
              <a:buNone/>
            </a:pPr>
            <a:endParaRPr lang="ru-RU" altLang="en-US" sz="1900" dirty="0">
              <a:solidFill>
                <a:srgbClr val="000000"/>
              </a:solidFill>
            </a:endParaRPr>
          </a:p>
        </p:txBody>
      </p:sp>
      <p:sp>
        <p:nvSpPr>
          <p:cNvPr id="33799" name="AutoShape 5"/>
          <p:cNvSpPr>
            <a:spLocks noChangeArrowheads="1"/>
          </p:cNvSpPr>
          <p:nvPr/>
        </p:nvSpPr>
        <p:spPr bwMode="auto">
          <a:xfrm>
            <a:off x="3722688" y="3441700"/>
            <a:ext cx="2527300" cy="923925"/>
          </a:xfrm>
          <a:prstGeom prst="roundRect">
            <a:avLst>
              <a:gd name="adj" fmla="val 16667"/>
            </a:avLst>
          </a:prstGeom>
          <a:solidFill>
            <a:schemeClr val="bg1"/>
          </a:solidFill>
          <a:ln w="9525">
            <a:solidFill>
              <a:schemeClr val="tx1"/>
            </a:solidFill>
            <a:round/>
            <a:headEnd/>
            <a:tailEnd/>
          </a:ln>
        </p:spPr>
        <p:txBody>
          <a:bodyPr wrap="none" anchor="ct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fontAlgn="base" hangingPunct="1">
              <a:spcBef>
                <a:spcPct val="0"/>
              </a:spcBef>
              <a:spcAft>
                <a:spcPct val="0"/>
              </a:spcAft>
              <a:buClrTx/>
              <a:buSzTx/>
              <a:buFontTx/>
              <a:buNone/>
            </a:pPr>
            <a:endParaRPr lang="ru-RU" altLang="en-US" sz="1900" dirty="0">
              <a:solidFill>
                <a:srgbClr val="000000"/>
              </a:solidFill>
            </a:endParaRPr>
          </a:p>
        </p:txBody>
      </p:sp>
      <p:sp>
        <p:nvSpPr>
          <p:cNvPr id="33800" name="Text Box 7"/>
          <p:cNvSpPr txBox="1">
            <a:spLocks noChangeArrowheads="1"/>
          </p:cNvSpPr>
          <p:nvPr/>
        </p:nvSpPr>
        <p:spPr bwMode="auto">
          <a:xfrm>
            <a:off x="7507288" y="2498725"/>
            <a:ext cx="184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fontAlgn="base">
              <a:spcBef>
                <a:spcPct val="0"/>
              </a:spcBef>
              <a:spcAft>
                <a:spcPct val="0"/>
              </a:spcAft>
              <a:buClrTx/>
              <a:buSzTx/>
              <a:buFontTx/>
              <a:buNone/>
            </a:pPr>
            <a:endParaRPr lang="ru-RU" altLang="en-US" sz="1400" dirty="0">
              <a:solidFill>
                <a:srgbClr val="000000"/>
              </a:solidFill>
            </a:endParaRPr>
          </a:p>
        </p:txBody>
      </p:sp>
      <p:sp>
        <p:nvSpPr>
          <p:cNvPr id="15370" name="Text Box 8"/>
          <p:cNvSpPr txBox="1">
            <a:spLocks noChangeArrowheads="1"/>
          </p:cNvSpPr>
          <p:nvPr/>
        </p:nvSpPr>
        <p:spPr bwMode="auto">
          <a:xfrm>
            <a:off x="595313" y="2286000"/>
            <a:ext cx="1714500" cy="923925"/>
          </a:xfrm>
          <a:prstGeom prst="rect">
            <a:avLst/>
          </a:prstGeom>
          <a:noFill/>
          <a:ln w="9525">
            <a:noFill/>
            <a:miter lim="800000"/>
            <a:headEnd/>
            <a:tailEnd/>
          </a:ln>
        </p:spPr>
        <p:txBody>
          <a:bodyPr>
            <a:spAutoFit/>
          </a:bodyPr>
          <a:lstStyle/>
          <a:p>
            <a:pPr algn="ctr" eaLnBrk="0" fontAlgn="base" hangingPunct="0">
              <a:spcBef>
                <a:spcPct val="0"/>
              </a:spcBef>
              <a:spcAft>
                <a:spcPct val="0"/>
              </a:spcAft>
              <a:defRPr/>
            </a:pPr>
            <a:r>
              <a:rPr lang="ru-RU" altLang="en-US" dirty="0">
                <a:solidFill>
                  <a:prstClr val="white">
                    <a:lumMod val="65000"/>
                  </a:prstClr>
                </a:solidFill>
                <a:cs typeface="Arial" pitchFamily="34" charset="0"/>
              </a:rPr>
              <a:t>Добыча газа,</a:t>
            </a:r>
          </a:p>
          <a:p>
            <a:pPr algn="ctr" eaLnBrk="0" fontAlgn="base" hangingPunct="0">
              <a:spcBef>
                <a:spcPct val="0"/>
              </a:spcBef>
              <a:spcAft>
                <a:spcPct val="0"/>
              </a:spcAft>
              <a:defRPr/>
            </a:pPr>
            <a:r>
              <a:rPr lang="ru-RU" altLang="en-US" dirty="0">
                <a:solidFill>
                  <a:prstClr val="white">
                    <a:lumMod val="65000"/>
                  </a:prstClr>
                </a:solidFill>
                <a:cs typeface="Arial" pitchFamily="34" charset="0"/>
              </a:rPr>
              <a:t> учет газа на скважинах</a:t>
            </a:r>
            <a:endParaRPr lang="en-US" altLang="en-US" dirty="0">
              <a:solidFill>
                <a:prstClr val="white">
                  <a:lumMod val="65000"/>
                </a:prstClr>
              </a:solidFill>
              <a:cs typeface="Arial" pitchFamily="34" charset="0"/>
            </a:endParaRPr>
          </a:p>
        </p:txBody>
      </p:sp>
      <p:sp>
        <p:nvSpPr>
          <p:cNvPr id="33802" name="Text Box 9"/>
          <p:cNvSpPr txBox="1">
            <a:spLocks noChangeArrowheads="1"/>
          </p:cNvSpPr>
          <p:nvPr/>
        </p:nvSpPr>
        <p:spPr bwMode="auto">
          <a:xfrm>
            <a:off x="3722688" y="3429000"/>
            <a:ext cx="25273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algn="ctr" fontAlgn="base">
              <a:spcBef>
                <a:spcPct val="0"/>
              </a:spcBef>
              <a:spcAft>
                <a:spcPct val="0"/>
              </a:spcAft>
              <a:buClrTx/>
              <a:buSzTx/>
              <a:buFontTx/>
              <a:buNone/>
            </a:pPr>
            <a:r>
              <a:rPr lang="ru-RU" altLang="en-US" sz="1800" dirty="0">
                <a:latin typeface="+mn-lt"/>
              </a:rPr>
              <a:t>Транспортировка</a:t>
            </a:r>
          </a:p>
          <a:p>
            <a:pPr algn="ctr" fontAlgn="base">
              <a:spcBef>
                <a:spcPct val="0"/>
              </a:spcBef>
              <a:spcAft>
                <a:spcPct val="0"/>
              </a:spcAft>
              <a:buClrTx/>
              <a:buSzTx/>
              <a:buFontTx/>
              <a:buNone/>
            </a:pPr>
            <a:r>
              <a:rPr lang="ru-RU" altLang="en-US" sz="1800" dirty="0">
                <a:latin typeface="+mn-lt"/>
              </a:rPr>
              <a:t>ГРС</a:t>
            </a:r>
          </a:p>
          <a:p>
            <a:pPr algn="ctr" fontAlgn="base">
              <a:spcBef>
                <a:spcPct val="0"/>
              </a:spcBef>
              <a:spcAft>
                <a:spcPct val="0"/>
              </a:spcAft>
              <a:buClrTx/>
              <a:buSzTx/>
              <a:buFontTx/>
              <a:buNone/>
            </a:pPr>
            <a:r>
              <a:rPr lang="ru-RU" altLang="en-US" sz="1800" dirty="0">
                <a:latin typeface="+mn-lt"/>
              </a:rPr>
              <a:t>Крупные потребители</a:t>
            </a:r>
            <a:endParaRPr lang="en-US" altLang="en-US" sz="1800" dirty="0">
              <a:latin typeface="+mn-lt"/>
            </a:endParaRPr>
          </a:p>
        </p:txBody>
      </p:sp>
      <p:sp>
        <p:nvSpPr>
          <p:cNvPr id="15372" name="Text Box 11"/>
          <p:cNvSpPr txBox="1">
            <a:spLocks noChangeArrowheads="1"/>
          </p:cNvSpPr>
          <p:nvPr/>
        </p:nvSpPr>
        <p:spPr bwMode="auto">
          <a:xfrm>
            <a:off x="8240110" y="3500438"/>
            <a:ext cx="1391855" cy="584775"/>
          </a:xfrm>
          <a:prstGeom prst="rect">
            <a:avLst/>
          </a:prstGeom>
          <a:noFill/>
          <a:ln w="9525">
            <a:noFill/>
            <a:miter lim="800000"/>
            <a:headEnd/>
            <a:tailEnd/>
          </a:ln>
        </p:spPr>
        <p:txBody>
          <a:bodyPr wrap="none">
            <a:spAutoFit/>
          </a:bodyPr>
          <a:lstStyle/>
          <a:p>
            <a:pPr algn="ctr" eaLnBrk="0" fontAlgn="base" hangingPunct="0">
              <a:spcBef>
                <a:spcPct val="0"/>
              </a:spcBef>
              <a:spcAft>
                <a:spcPct val="0"/>
              </a:spcAft>
              <a:defRPr/>
            </a:pPr>
            <a:r>
              <a:rPr lang="ru-RU" altLang="en-US" sz="1600" dirty="0">
                <a:solidFill>
                  <a:prstClr val="white">
                    <a:lumMod val="65000"/>
                  </a:prstClr>
                </a:solidFill>
                <a:latin typeface="Arial" pitchFamily="34" charset="0"/>
                <a:cs typeface="Arial" pitchFamily="34" charset="0"/>
              </a:rPr>
              <a:t>Бытовые </a:t>
            </a:r>
          </a:p>
          <a:p>
            <a:pPr algn="ctr" eaLnBrk="0" fontAlgn="base" hangingPunct="0">
              <a:spcBef>
                <a:spcPct val="0"/>
              </a:spcBef>
              <a:spcAft>
                <a:spcPct val="0"/>
              </a:spcAft>
              <a:defRPr/>
            </a:pPr>
            <a:r>
              <a:rPr lang="ru-RU" altLang="en-US" sz="1600" dirty="0">
                <a:solidFill>
                  <a:prstClr val="white">
                    <a:lumMod val="65000"/>
                  </a:prstClr>
                </a:solidFill>
                <a:latin typeface="Arial" pitchFamily="34" charset="0"/>
                <a:cs typeface="Arial" pitchFamily="34" charset="0"/>
              </a:rPr>
              <a:t>потребители</a:t>
            </a:r>
          </a:p>
        </p:txBody>
      </p:sp>
      <p:sp>
        <p:nvSpPr>
          <p:cNvPr id="33804" name="AutoShape 12"/>
          <p:cNvSpPr>
            <a:spLocks noChangeArrowheads="1"/>
          </p:cNvSpPr>
          <p:nvPr/>
        </p:nvSpPr>
        <p:spPr bwMode="auto">
          <a:xfrm>
            <a:off x="2309813" y="2428875"/>
            <a:ext cx="1433512" cy="2500313"/>
          </a:xfrm>
          <a:prstGeom prst="roundRect">
            <a:avLst>
              <a:gd name="adj" fmla="val 16667"/>
            </a:avLst>
          </a:prstGeom>
          <a:solidFill>
            <a:schemeClr val="bg1"/>
          </a:solidFill>
          <a:ln w="9525">
            <a:solidFill>
              <a:schemeClr val="tx1"/>
            </a:solidFill>
            <a:round/>
            <a:headEnd/>
            <a:tailEnd/>
          </a:ln>
        </p:spPr>
        <p:txBody>
          <a:bodyPr wrap="none" anchor="ct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fontAlgn="base" hangingPunct="1">
              <a:spcBef>
                <a:spcPct val="0"/>
              </a:spcBef>
              <a:spcAft>
                <a:spcPct val="0"/>
              </a:spcAft>
              <a:buClrTx/>
              <a:buSzTx/>
              <a:buFontTx/>
              <a:buNone/>
            </a:pPr>
            <a:endParaRPr lang="ru-RU" altLang="en-US" sz="1900" dirty="0">
              <a:solidFill>
                <a:srgbClr val="000000"/>
              </a:solidFill>
            </a:endParaRPr>
          </a:p>
        </p:txBody>
      </p:sp>
      <p:sp>
        <p:nvSpPr>
          <p:cNvPr id="15374" name="Text Box 13"/>
          <p:cNvSpPr txBox="1">
            <a:spLocks noChangeArrowheads="1"/>
          </p:cNvSpPr>
          <p:nvPr/>
        </p:nvSpPr>
        <p:spPr bwMode="auto">
          <a:xfrm>
            <a:off x="2238375" y="2571750"/>
            <a:ext cx="1593850" cy="2031325"/>
          </a:xfrm>
          <a:prstGeom prst="rect">
            <a:avLst/>
          </a:prstGeom>
          <a:noFill/>
          <a:ln w="9525">
            <a:noFill/>
            <a:miter lim="800000"/>
            <a:headEnd/>
            <a:tailEnd/>
          </a:ln>
        </p:spPr>
        <p:txBody>
          <a:bodyPr>
            <a:spAutoFit/>
          </a:bodyPr>
          <a:lstStyle/>
          <a:p>
            <a:pPr algn="ctr" eaLnBrk="0" fontAlgn="base" hangingPunct="0">
              <a:spcBef>
                <a:spcPct val="0"/>
              </a:spcBef>
              <a:spcAft>
                <a:spcPct val="0"/>
              </a:spcAft>
              <a:defRPr/>
            </a:pPr>
            <a:r>
              <a:rPr lang="ru-RU" altLang="en-US" dirty="0">
                <a:solidFill>
                  <a:prstClr val="white">
                    <a:lumMod val="65000"/>
                  </a:prstClr>
                </a:solidFill>
                <a:cs typeface="Arial" pitchFamily="34" charset="0"/>
              </a:rPr>
              <a:t>Подготовка,</a:t>
            </a:r>
          </a:p>
          <a:p>
            <a:pPr algn="ctr" eaLnBrk="0" fontAlgn="base" hangingPunct="0">
              <a:spcBef>
                <a:spcPct val="0"/>
              </a:spcBef>
              <a:spcAft>
                <a:spcPct val="0"/>
              </a:spcAft>
              <a:defRPr/>
            </a:pPr>
            <a:r>
              <a:rPr lang="ru-RU" altLang="en-US" dirty="0">
                <a:solidFill>
                  <a:prstClr val="white">
                    <a:lumMod val="65000"/>
                  </a:prstClr>
                </a:solidFill>
                <a:cs typeface="Arial" pitchFamily="34" charset="0"/>
              </a:rPr>
              <a:t>переработка газа,</a:t>
            </a:r>
          </a:p>
          <a:p>
            <a:pPr algn="ctr" eaLnBrk="0" fontAlgn="base" hangingPunct="0">
              <a:spcBef>
                <a:spcPct val="0"/>
              </a:spcBef>
              <a:spcAft>
                <a:spcPct val="0"/>
              </a:spcAft>
              <a:defRPr/>
            </a:pPr>
            <a:r>
              <a:rPr lang="ru-RU" altLang="en-US" dirty="0">
                <a:solidFill>
                  <a:prstClr val="white">
                    <a:lumMod val="65000"/>
                  </a:prstClr>
                </a:solidFill>
                <a:cs typeface="Arial" pitchFamily="34" charset="0"/>
              </a:rPr>
              <a:t>Факельные газы,</a:t>
            </a:r>
          </a:p>
          <a:p>
            <a:pPr algn="ctr" eaLnBrk="0" fontAlgn="base" hangingPunct="0">
              <a:spcBef>
                <a:spcPct val="0"/>
              </a:spcBef>
              <a:spcAft>
                <a:spcPct val="0"/>
              </a:spcAft>
              <a:defRPr/>
            </a:pPr>
            <a:r>
              <a:rPr lang="ru-RU" altLang="en-US" dirty="0">
                <a:solidFill>
                  <a:prstClr val="white">
                    <a:lumMod val="65000"/>
                  </a:prstClr>
                </a:solidFill>
                <a:cs typeface="Arial" pitchFamily="34" charset="0"/>
              </a:rPr>
              <a:t>Технические </a:t>
            </a:r>
            <a:r>
              <a:rPr lang="ru-RU" altLang="en-US" dirty="0" smtClean="0">
                <a:solidFill>
                  <a:prstClr val="white">
                    <a:lumMod val="65000"/>
                  </a:prstClr>
                </a:solidFill>
                <a:cs typeface="Arial" pitchFamily="34" charset="0"/>
              </a:rPr>
              <a:t>газы</a:t>
            </a:r>
          </a:p>
        </p:txBody>
      </p:sp>
      <p:sp>
        <p:nvSpPr>
          <p:cNvPr id="104464" name="Rectangle 48"/>
          <p:cNvSpPr>
            <a:spLocks noChangeArrowheads="1"/>
          </p:cNvSpPr>
          <p:nvPr/>
        </p:nvSpPr>
        <p:spPr bwMode="auto">
          <a:xfrm>
            <a:off x="415925" y="151991"/>
            <a:ext cx="7921625" cy="720725"/>
          </a:xfrm>
          <a:prstGeom prst="rect">
            <a:avLst/>
          </a:prstGeom>
          <a:noFill/>
          <a:ln>
            <a:noFill/>
          </a:ln>
          <a:extLst/>
        </p:spPr>
        <p:txBody>
          <a:bodyPr tIns="3600"/>
          <a:lstStyle/>
          <a:p>
            <a:pPr fontAlgn="base">
              <a:spcBef>
                <a:spcPct val="0"/>
              </a:spcBef>
              <a:spcAft>
                <a:spcPct val="0"/>
              </a:spcAft>
              <a:defRPr/>
            </a:pPr>
            <a:r>
              <a:rPr lang="ru-RU" sz="2000" cap="all" dirty="0" smtClean="0">
                <a:solidFill>
                  <a:srgbClr val="4F81BD"/>
                </a:solidFill>
                <a:latin typeface="SICK Franklin"/>
                <a:cs typeface="Arial" charset="0"/>
              </a:rPr>
              <a:t>Новое поколение </a:t>
            </a:r>
            <a:r>
              <a:rPr lang="en-US" sz="2000" cap="all" dirty="0" smtClean="0">
                <a:solidFill>
                  <a:srgbClr val="4F81BD"/>
                </a:solidFill>
                <a:latin typeface="SICK Franklin"/>
                <a:cs typeface="Arial" charset="0"/>
              </a:rPr>
              <a:t>FLOWSIC600 </a:t>
            </a:r>
            <a:r>
              <a:rPr lang="ru-RU" sz="2000" cap="all" dirty="0" smtClean="0">
                <a:solidFill>
                  <a:srgbClr val="4F81BD"/>
                </a:solidFill>
                <a:latin typeface="SICK Franklin"/>
                <a:cs typeface="Arial" charset="0"/>
              </a:rPr>
              <a:t>ДЛЯ ЗАДАЧ КОММЕРЧЕСКОГО УЧЕТА – </a:t>
            </a:r>
            <a:r>
              <a:rPr lang="en-US" sz="2000" b="1" cap="all" dirty="0" smtClean="0">
                <a:solidFill>
                  <a:srgbClr val="4F81BD"/>
                </a:solidFill>
                <a:latin typeface="SICK Franklin"/>
                <a:cs typeface="Arial" charset="0"/>
              </a:rPr>
              <a:t>FLOWSIC600-XT</a:t>
            </a:r>
            <a:endParaRPr lang="en-US" sz="2000" b="1" cap="all" dirty="0">
              <a:solidFill>
                <a:srgbClr val="4F81BD"/>
              </a:solidFill>
              <a:latin typeface="SICK Franklin"/>
              <a:cs typeface="Arial" charset="0"/>
            </a:endParaRPr>
          </a:p>
        </p:txBody>
      </p:sp>
      <p:sp>
        <p:nvSpPr>
          <p:cNvPr id="33807" name="Rectangle 60"/>
          <p:cNvSpPr>
            <a:spLocks noChangeArrowheads="1"/>
          </p:cNvSpPr>
          <p:nvPr/>
        </p:nvSpPr>
        <p:spPr bwMode="auto">
          <a:xfrm>
            <a:off x="415925" y="2701925"/>
            <a:ext cx="5329238"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fontAlgn="base" hangingPunct="1">
              <a:spcBef>
                <a:spcPct val="0"/>
              </a:spcBef>
              <a:spcAft>
                <a:spcPct val="0"/>
              </a:spcAft>
              <a:buClrTx/>
              <a:buSzTx/>
              <a:buFontTx/>
              <a:buNone/>
            </a:pPr>
            <a:endParaRPr lang="ru-RU" altLang="en-US" sz="1900" dirty="0">
              <a:solidFill>
                <a:srgbClr val="000000"/>
              </a:solidFill>
            </a:endParaRPr>
          </a:p>
        </p:txBody>
      </p:sp>
      <p:sp>
        <p:nvSpPr>
          <p:cNvPr id="33808" name="Rectangle 61"/>
          <p:cNvSpPr>
            <a:spLocks noChangeArrowheads="1"/>
          </p:cNvSpPr>
          <p:nvPr/>
        </p:nvSpPr>
        <p:spPr bwMode="auto">
          <a:xfrm>
            <a:off x="7202488" y="2781300"/>
            <a:ext cx="2447925" cy="208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fontAlgn="base" hangingPunct="1">
              <a:spcBef>
                <a:spcPct val="0"/>
              </a:spcBef>
              <a:spcAft>
                <a:spcPct val="0"/>
              </a:spcAft>
              <a:buClrTx/>
              <a:buSzTx/>
              <a:buFontTx/>
              <a:buNone/>
            </a:pPr>
            <a:endParaRPr lang="ru-RU" altLang="en-US" sz="1900" dirty="0">
              <a:solidFill>
                <a:srgbClr val="000000"/>
              </a:solidFill>
            </a:endParaRPr>
          </a:p>
        </p:txBody>
      </p:sp>
      <p:grpSp>
        <p:nvGrpSpPr>
          <p:cNvPr id="2" name="Group 65"/>
          <p:cNvGrpSpPr>
            <a:grpSpLocks/>
          </p:cNvGrpSpPr>
          <p:nvPr/>
        </p:nvGrpSpPr>
        <p:grpSpPr bwMode="auto">
          <a:xfrm>
            <a:off x="6249287" y="3213552"/>
            <a:ext cx="1828932" cy="1283304"/>
            <a:chOff x="3771" y="1975"/>
            <a:chExt cx="1261" cy="1061"/>
          </a:xfrm>
          <a:solidFill>
            <a:schemeClr val="bg1"/>
          </a:solidFill>
        </p:grpSpPr>
        <p:sp>
          <p:nvSpPr>
            <p:cNvPr id="447494" name="AutoShape 6"/>
            <p:cNvSpPr>
              <a:spLocks noChangeArrowheads="1"/>
            </p:cNvSpPr>
            <p:nvPr/>
          </p:nvSpPr>
          <p:spPr bwMode="auto">
            <a:xfrm>
              <a:off x="3771" y="1975"/>
              <a:ext cx="1261" cy="1061"/>
            </a:xfrm>
            <a:prstGeom prst="roundRect">
              <a:avLst>
                <a:gd name="adj" fmla="val 16667"/>
              </a:avLst>
            </a:prstGeom>
            <a:grpFill/>
            <a:ln w="9525">
              <a:solidFill>
                <a:schemeClr val="tx1"/>
              </a:solidFill>
              <a:round/>
              <a:headEnd/>
              <a:tailEnd/>
            </a:ln>
            <a:effectLst/>
            <a:extLst/>
          </p:spPr>
          <p:txBody>
            <a:bodyPr wrap="none" anchor="ctr"/>
            <a:lstStyle/>
            <a:p>
              <a:pPr fontAlgn="base">
                <a:spcBef>
                  <a:spcPct val="0"/>
                </a:spcBef>
                <a:spcAft>
                  <a:spcPct val="0"/>
                </a:spcAft>
                <a:defRPr/>
              </a:pPr>
              <a:endParaRPr lang="en-US" sz="1900" dirty="0">
                <a:solidFill>
                  <a:prstClr val="white">
                    <a:lumMod val="65000"/>
                  </a:prstClr>
                </a:solidFill>
                <a:latin typeface="Arial" charset="0"/>
                <a:cs typeface="Arial" charset="0"/>
              </a:endParaRPr>
            </a:p>
          </p:txBody>
        </p:sp>
        <p:sp>
          <p:nvSpPr>
            <p:cNvPr id="3097" name="Text Box 10"/>
            <p:cNvSpPr txBox="1">
              <a:spLocks noChangeArrowheads="1"/>
            </p:cNvSpPr>
            <p:nvPr/>
          </p:nvSpPr>
          <p:spPr bwMode="auto">
            <a:xfrm>
              <a:off x="3790" y="2151"/>
              <a:ext cx="1242" cy="687"/>
            </a:xfrm>
            <a:prstGeom prst="rect">
              <a:avLst/>
            </a:prstGeom>
            <a:grpFill/>
            <a:ln>
              <a:noFill/>
            </a:ln>
            <a:effectLst/>
            <a:extLst/>
          </p:spPr>
          <p:txBody>
            <a:bodyPr>
              <a:spAutoFit/>
            </a:bodyPr>
            <a:lstStyle>
              <a:lvl1pPr eaLnBrk="0" hangingPunct="0">
                <a:defRPr sz="1700" b="1">
                  <a:solidFill>
                    <a:schemeClr val="tx1"/>
                  </a:solidFill>
                  <a:latin typeface="Arial" charset="0"/>
                  <a:cs typeface="Arial" charset="0"/>
                </a:defRPr>
              </a:lvl1pPr>
              <a:lvl2pPr marL="742950" indent="-285750" eaLnBrk="0" hangingPunct="0">
                <a:defRPr sz="1700" b="1">
                  <a:solidFill>
                    <a:schemeClr val="tx1"/>
                  </a:solidFill>
                  <a:latin typeface="Arial" charset="0"/>
                  <a:cs typeface="Arial" charset="0"/>
                </a:defRPr>
              </a:lvl2pPr>
              <a:lvl3pPr marL="1143000" indent="-228600" eaLnBrk="0" hangingPunct="0">
                <a:defRPr sz="1700" b="1">
                  <a:solidFill>
                    <a:schemeClr val="tx1"/>
                  </a:solidFill>
                  <a:latin typeface="Arial" charset="0"/>
                  <a:cs typeface="Arial" charset="0"/>
                </a:defRPr>
              </a:lvl3pPr>
              <a:lvl4pPr marL="1600200" indent="-228600" eaLnBrk="0" hangingPunct="0">
                <a:defRPr sz="1700" b="1">
                  <a:solidFill>
                    <a:schemeClr val="tx1"/>
                  </a:solidFill>
                  <a:latin typeface="Arial" charset="0"/>
                  <a:cs typeface="Arial" charset="0"/>
                </a:defRPr>
              </a:lvl4pPr>
              <a:lvl5pPr marL="2057400" indent="-228600" eaLnBrk="0" hangingPunct="0">
                <a:defRPr sz="1700" b="1">
                  <a:solidFill>
                    <a:schemeClr val="tx1"/>
                  </a:solidFill>
                  <a:latin typeface="Arial" charset="0"/>
                  <a:cs typeface="Arial" charset="0"/>
                </a:defRPr>
              </a:lvl5pPr>
              <a:lvl6pPr marL="2514600" indent="-228600" eaLnBrk="0" fontAlgn="base" hangingPunct="0">
                <a:spcBef>
                  <a:spcPct val="20000"/>
                </a:spcBef>
                <a:spcAft>
                  <a:spcPct val="0"/>
                </a:spcAft>
                <a:buClr>
                  <a:srgbClr val="0084C2"/>
                </a:buClr>
                <a:buSzPct val="130000"/>
                <a:buFont typeface="Times New Roman" pitchFamily="18" charset="0"/>
                <a:defRPr sz="1700" b="1">
                  <a:solidFill>
                    <a:schemeClr val="tx1"/>
                  </a:solidFill>
                  <a:latin typeface="Arial" charset="0"/>
                  <a:cs typeface="Arial" charset="0"/>
                </a:defRPr>
              </a:lvl6pPr>
              <a:lvl7pPr marL="2971800" indent="-228600" eaLnBrk="0" fontAlgn="base" hangingPunct="0">
                <a:spcBef>
                  <a:spcPct val="20000"/>
                </a:spcBef>
                <a:spcAft>
                  <a:spcPct val="0"/>
                </a:spcAft>
                <a:buClr>
                  <a:srgbClr val="0084C2"/>
                </a:buClr>
                <a:buSzPct val="130000"/>
                <a:buFont typeface="Times New Roman" pitchFamily="18" charset="0"/>
                <a:defRPr sz="1700" b="1">
                  <a:solidFill>
                    <a:schemeClr val="tx1"/>
                  </a:solidFill>
                  <a:latin typeface="Arial" charset="0"/>
                  <a:cs typeface="Arial" charset="0"/>
                </a:defRPr>
              </a:lvl7pPr>
              <a:lvl8pPr marL="3429000" indent="-228600" eaLnBrk="0" fontAlgn="base" hangingPunct="0">
                <a:spcBef>
                  <a:spcPct val="20000"/>
                </a:spcBef>
                <a:spcAft>
                  <a:spcPct val="0"/>
                </a:spcAft>
                <a:buClr>
                  <a:srgbClr val="0084C2"/>
                </a:buClr>
                <a:buSzPct val="130000"/>
                <a:buFont typeface="Times New Roman" pitchFamily="18" charset="0"/>
                <a:defRPr sz="1700" b="1">
                  <a:solidFill>
                    <a:schemeClr val="tx1"/>
                  </a:solidFill>
                  <a:latin typeface="Arial" charset="0"/>
                  <a:cs typeface="Arial" charset="0"/>
                </a:defRPr>
              </a:lvl8pPr>
              <a:lvl9pPr marL="3886200" indent="-228600" eaLnBrk="0" fontAlgn="base" hangingPunct="0">
                <a:spcBef>
                  <a:spcPct val="20000"/>
                </a:spcBef>
                <a:spcAft>
                  <a:spcPct val="0"/>
                </a:spcAft>
                <a:buClr>
                  <a:srgbClr val="0084C2"/>
                </a:buClr>
                <a:buSzPct val="130000"/>
                <a:buFont typeface="Times New Roman" pitchFamily="18" charset="0"/>
                <a:defRPr sz="1700" b="1">
                  <a:solidFill>
                    <a:schemeClr val="tx1"/>
                  </a:solidFill>
                  <a:latin typeface="Arial" charset="0"/>
                  <a:cs typeface="Arial" charset="0"/>
                </a:defRPr>
              </a:lvl9pPr>
            </a:lstStyle>
            <a:p>
              <a:pPr algn="ctr" fontAlgn="base">
                <a:spcBef>
                  <a:spcPct val="0"/>
                </a:spcBef>
                <a:spcAft>
                  <a:spcPct val="0"/>
                </a:spcAft>
                <a:defRPr/>
              </a:pPr>
              <a:r>
                <a:rPr lang="ru-RU" sz="1600" b="0" dirty="0">
                  <a:solidFill>
                    <a:prstClr val="white">
                      <a:lumMod val="65000"/>
                    </a:prstClr>
                  </a:solidFill>
                  <a:latin typeface="+mn-lt"/>
                </a:rPr>
                <a:t>Сети газораспределения и </a:t>
              </a:r>
              <a:r>
                <a:rPr lang="ru-RU" sz="1600" b="0" dirty="0" err="1">
                  <a:solidFill>
                    <a:prstClr val="white">
                      <a:lumMod val="65000"/>
                    </a:prstClr>
                  </a:solidFill>
                  <a:latin typeface="+mn-lt"/>
                </a:rPr>
                <a:t>газопотребления</a:t>
              </a:r>
              <a:endParaRPr lang="ru-RU" sz="1600" b="0" dirty="0">
                <a:solidFill>
                  <a:prstClr val="white">
                    <a:lumMod val="65000"/>
                  </a:prstClr>
                </a:solidFill>
                <a:latin typeface="+mn-lt"/>
              </a:endParaRPr>
            </a:p>
          </p:txBody>
        </p:sp>
      </p:grpSp>
      <p:sp>
        <p:nvSpPr>
          <p:cNvPr id="33810" name="Rectangle 68"/>
          <p:cNvSpPr>
            <a:spLocks noChangeArrowheads="1"/>
          </p:cNvSpPr>
          <p:nvPr/>
        </p:nvSpPr>
        <p:spPr bwMode="auto">
          <a:xfrm>
            <a:off x="4808538" y="5445125"/>
            <a:ext cx="144462"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fontAlgn="base" hangingPunct="1">
              <a:spcBef>
                <a:spcPct val="0"/>
              </a:spcBef>
              <a:spcAft>
                <a:spcPct val="0"/>
              </a:spcAft>
              <a:buClrTx/>
              <a:buSzTx/>
              <a:buFontTx/>
              <a:buNone/>
            </a:pPr>
            <a:endParaRPr lang="ru-RU" altLang="en-US" sz="1900" dirty="0">
              <a:solidFill>
                <a:srgbClr val="000000"/>
              </a:solidFill>
            </a:endParaRPr>
          </a:p>
        </p:txBody>
      </p:sp>
      <p:pic>
        <p:nvPicPr>
          <p:cNvPr id="33811" name="Grafik 30"/>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52875" y="4572000"/>
            <a:ext cx="1960563" cy="142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12" name="Rechteck 1"/>
          <p:cNvSpPr>
            <a:spLocks noChangeArrowheads="1"/>
          </p:cNvSpPr>
          <p:nvPr/>
        </p:nvSpPr>
        <p:spPr bwMode="auto">
          <a:xfrm>
            <a:off x="3738563" y="920750"/>
            <a:ext cx="2500312" cy="5676900"/>
          </a:xfrm>
          <a:prstGeom prst="rect">
            <a:avLst/>
          </a:prstGeom>
          <a:noFill/>
          <a:ln w="412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algn="ctr" eaLnBrk="1" fontAlgn="base" hangingPunct="1">
              <a:spcAft>
                <a:spcPct val="0"/>
              </a:spcAft>
              <a:buFont typeface="Times New Roman" pitchFamily="18" charset="0"/>
              <a:buNone/>
            </a:pPr>
            <a:endParaRPr lang="ru-RU" altLang="en-US" sz="1900" dirty="0">
              <a:solidFill>
                <a:prstClr val="black"/>
              </a:solidFill>
            </a:endParaRPr>
          </a:p>
        </p:txBody>
      </p:sp>
      <p:sp>
        <p:nvSpPr>
          <p:cNvPr id="33813" name="AutoShape 4"/>
          <p:cNvSpPr>
            <a:spLocks noChangeArrowheads="1"/>
          </p:cNvSpPr>
          <p:nvPr/>
        </p:nvSpPr>
        <p:spPr bwMode="auto">
          <a:xfrm>
            <a:off x="595313" y="3714750"/>
            <a:ext cx="1700212" cy="1500188"/>
          </a:xfrm>
          <a:prstGeom prst="roundRect">
            <a:avLst>
              <a:gd name="adj" fmla="val 16667"/>
            </a:avLst>
          </a:prstGeom>
          <a:solidFill>
            <a:schemeClr val="bg1"/>
          </a:solidFill>
          <a:ln w="9525">
            <a:solidFill>
              <a:schemeClr val="tx1"/>
            </a:solidFill>
            <a:round/>
            <a:headEnd/>
            <a:tailEnd/>
          </a:ln>
        </p:spPr>
        <p:txBody>
          <a:bodyPr wrap="none" anchor="ctr"/>
          <a:lstStyle>
            <a:lvl1pPr eaLnBrk="0" hangingPunct="0">
              <a:spcBef>
                <a:spcPct val="20000"/>
              </a:spcBef>
              <a:buClr>
                <a:srgbClr val="0084C2"/>
              </a:buClr>
              <a:buSzPct val="130000"/>
              <a:buFont typeface="Arial" charset="0"/>
              <a:buChar char=":"/>
              <a:defRPr sz="1700">
                <a:solidFill>
                  <a:schemeClr val="tx1"/>
                </a:solidFill>
                <a:latin typeface="Arial" charset="0"/>
                <a:cs typeface="Arial" charset="0"/>
              </a:defRPr>
            </a:lvl1pPr>
            <a:lvl2pPr marL="742950" indent="-285750" eaLnBrk="0" hangingPunct="0">
              <a:spcBef>
                <a:spcPct val="20000"/>
              </a:spcBef>
              <a:buClr>
                <a:srgbClr val="0084C2"/>
              </a:buClr>
              <a:buFont typeface="Arial" charset="0"/>
              <a:buChar char="-"/>
              <a:defRPr sz="1600">
                <a:solidFill>
                  <a:schemeClr val="tx1"/>
                </a:solidFill>
                <a:latin typeface="Arial" charset="0"/>
                <a:cs typeface="Arial" charset="0"/>
              </a:defRPr>
            </a:lvl2pPr>
            <a:lvl3pPr marL="11430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3pPr>
            <a:lvl4pPr marL="1600200" indent="-228600" eaLnBrk="0" hangingPunct="0">
              <a:spcBef>
                <a:spcPct val="20000"/>
              </a:spcBef>
              <a:buClr>
                <a:srgbClr val="0084C2"/>
              </a:buClr>
              <a:buSzPct val="50000"/>
              <a:buFont typeface="Arial" charset="0"/>
              <a:buChar char="▪"/>
              <a:defRPr sz="1600">
                <a:solidFill>
                  <a:schemeClr val="tx1"/>
                </a:solidFill>
                <a:latin typeface="Arial" charset="0"/>
                <a:cs typeface="Arial" charset="0"/>
              </a:defRPr>
            </a:lvl4pPr>
            <a:lvl5pPr marL="2057400" indent="-228600" eaLnBrk="0" hangingPunct="0">
              <a:spcBef>
                <a:spcPct val="20000"/>
              </a:spcBef>
              <a:buChar char="»"/>
              <a:defRPr sz="1600">
                <a:solidFill>
                  <a:schemeClr val="tx1"/>
                </a:solidFill>
                <a:latin typeface="Arial" charset="0"/>
                <a:cs typeface="Arial" charset="0"/>
              </a:defRPr>
            </a:lvl5pPr>
            <a:lvl6pPr marL="2514600" indent="-228600" eaLnBrk="0" fontAlgn="base" hangingPunct="0">
              <a:spcBef>
                <a:spcPct val="20000"/>
              </a:spcBef>
              <a:spcAft>
                <a:spcPct val="0"/>
              </a:spcAft>
              <a:buChar char="»"/>
              <a:defRPr sz="1600">
                <a:solidFill>
                  <a:schemeClr val="tx1"/>
                </a:solidFill>
                <a:latin typeface="Arial" charset="0"/>
                <a:cs typeface="Arial" charset="0"/>
              </a:defRPr>
            </a:lvl6pPr>
            <a:lvl7pPr marL="2971800" indent="-228600" eaLnBrk="0" fontAlgn="base" hangingPunct="0">
              <a:spcBef>
                <a:spcPct val="20000"/>
              </a:spcBef>
              <a:spcAft>
                <a:spcPct val="0"/>
              </a:spcAft>
              <a:buChar char="»"/>
              <a:defRPr sz="1600">
                <a:solidFill>
                  <a:schemeClr val="tx1"/>
                </a:solidFill>
                <a:latin typeface="Arial" charset="0"/>
                <a:cs typeface="Arial" charset="0"/>
              </a:defRPr>
            </a:lvl7pPr>
            <a:lvl8pPr marL="3429000" indent="-228600" eaLnBrk="0" fontAlgn="base" hangingPunct="0">
              <a:spcBef>
                <a:spcPct val="20000"/>
              </a:spcBef>
              <a:spcAft>
                <a:spcPct val="0"/>
              </a:spcAft>
              <a:buChar char="»"/>
              <a:defRPr sz="1600">
                <a:solidFill>
                  <a:schemeClr val="tx1"/>
                </a:solidFill>
                <a:latin typeface="Arial" charset="0"/>
                <a:cs typeface="Arial" charset="0"/>
              </a:defRPr>
            </a:lvl8pPr>
            <a:lvl9pPr marL="3886200" indent="-228600" eaLnBrk="0" fontAlgn="base" hangingPunct="0">
              <a:spcBef>
                <a:spcPct val="20000"/>
              </a:spcBef>
              <a:spcAft>
                <a:spcPct val="0"/>
              </a:spcAft>
              <a:buChar char="»"/>
              <a:defRPr sz="1600">
                <a:solidFill>
                  <a:schemeClr val="tx1"/>
                </a:solidFill>
                <a:latin typeface="Arial" charset="0"/>
                <a:cs typeface="Arial" charset="0"/>
              </a:defRPr>
            </a:lvl9pPr>
          </a:lstStyle>
          <a:p>
            <a:pPr eaLnBrk="1" fontAlgn="base" hangingPunct="1">
              <a:spcBef>
                <a:spcPct val="0"/>
              </a:spcBef>
              <a:spcAft>
                <a:spcPct val="0"/>
              </a:spcAft>
              <a:buClrTx/>
              <a:buSzTx/>
              <a:buFontTx/>
              <a:buNone/>
            </a:pPr>
            <a:endParaRPr lang="ru-RU" altLang="en-US" sz="1900" dirty="0">
              <a:solidFill>
                <a:srgbClr val="000000"/>
              </a:solidFill>
            </a:endParaRPr>
          </a:p>
        </p:txBody>
      </p:sp>
      <p:sp>
        <p:nvSpPr>
          <p:cNvPr id="15386" name="Text Box 8"/>
          <p:cNvSpPr txBox="1">
            <a:spLocks noChangeArrowheads="1"/>
          </p:cNvSpPr>
          <p:nvPr/>
        </p:nvSpPr>
        <p:spPr bwMode="auto">
          <a:xfrm>
            <a:off x="595313" y="3857625"/>
            <a:ext cx="1714500" cy="923330"/>
          </a:xfrm>
          <a:prstGeom prst="rect">
            <a:avLst/>
          </a:prstGeom>
          <a:noFill/>
          <a:ln w="9525">
            <a:noFill/>
            <a:miter lim="800000"/>
            <a:headEnd/>
            <a:tailEnd/>
          </a:ln>
        </p:spPr>
        <p:txBody>
          <a:bodyPr>
            <a:spAutoFit/>
          </a:bodyPr>
          <a:lstStyle/>
          <a:p>
            <a:pPr algn="ctr" eaLnBrk="0" fontAlgn="base" hangingPunct="0">
              <a:spcBef>
                <a:spcPct val="0"/>
              </a:spcBef>
              <a:spcAft>
                <a:spcPct val="0"/>
              </a:spcAft>
              <a:defRPr/>
            </a:pPr>
            <a:r>
              <a:rPr lang="ru-RU" altLang="en-US" dirty="0">
                <a:solidFill>
                  <a:prstClr val="white">
                    <a:lumMod val="65000"/>
                  </a:prstClr>
                </a:solidFill>
                <a:cs typeface="Arial" pitchFamily="34" charset="0"/>
              </a:rPr>
              <a:t>Учет попутного нефтяного газа - АГЗУ</a:t>
            </a:r>
            <a:endParaRPr lang="en-US" altLang="en-US" dirty="0">
              <a:solidFill>
                <a:prstClr val="white">
                  <a:lumMod val="65000"/>
                </a:prstClr>
              </a:solidFill>
              <a:cs typeface="Arial" pitchFamily="34" charset="0"/>
            </a:endParaRPr>
          </a:p>
        </p:txBody>
      </p:sp>
      <p:sp>
        <p:nvSpPr>
          <p:cNvPr id="27" name="Номер слайда 3"/>
          <p:cNvSpPr txBox="1">
            <a:spLocks/>
          </p:cNvSpPr>
          <p:nvPr/>
        </p:nvSpPr>
        <p:spPr>
          <a:xfrm>
            <a:off x="8515075" y="6660000"/>
            <a:ext cx="975000" cy="1800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l" rtl="0" eaLnBrk="0" fontAlgn="base" hangingPunct="0">
              <a:spcBef>
                <a:spcPct val="20000"/>
              </a:spcBef>
              <a:spcAft>
                <a:spcPct val="0"/>
              </a:spcAft>
              <a:buClr>
                <a:srgbClr val="0084C2"/>
              </a:buClr>
              <a:buSzPct val="130000"/>
              <a:buFont typeface="Arial" charset="0"/>
              <a:buChar char=":"/>
              <a:defRPr sz="1700" kern="1200">
                <a:solidFill>
                  <a:schemeClr val="tx1"/>
                </a:solidFill>
                <a:latin typeface="Arial" charset="0"/>
                <a:ea typeface="+mn-ea"/>
                <a:cs typeface="Arial" charset="0"/>
              </a:defRPr>
            </a:lvl1pPr>
            <a:lvl2pPr marL="742950" indent="-285750" algn="l" rtl="0" eaLnBrk="0" fontAlgn="base" hangingPunct="0">
              <a:spcBef>
                <a:spcPct val="20000"/>
              </a:spcBef>
              <a:spcAft>
                <a:spcPct val="0"/>
              </a:spcAft>
              <a:buClr>
                <a:srgbClr val="0084C2"/>
              </a:buClr>
              <a:buFont typeface="Arial" charset="0"/>
              <a:buChar char="-"/>
              <a:defRPr sz="1600" kern="1200">
                <a:solidFill>
                  <a:schemeClr val="tx1"/>
                </a:solidFill>
                <a:latin typeface="Arial" charset="0"/>
                <a:ea typeface="+mn-ea"/>
                <a:cs typeface="Arial" charset="0"/>
              </a:defRPr>
            </a:lvl2pPr>
            <a:lvl3pPr marL="11430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3pPr>
            <a:lvl4pPr marL="1600200" indent="-228600" algn="l" rtl="0" eaLnBrk="0" fontAlgn="base" hangingPunct="0">
              <a:spcBef>
                <a:spcPct val="20000"/>
              </a:spcBef>
              <a:spcAft>
                <a:spcPct val="0"/>
              </a:spcAft>
              <a:buClr>
                <a:srgbClr val="0084C2"/>
              </a:buClr>
              <a:buSzPct val="50000"/>
              <a:buFont typeface="Arial" charset="0"/>
              <a:buChar char="▪"/>
              <a:defRPr sz="1600" kern="1200">
                <a:solidFill>
                  <a:schemeClr val="tx1"/>
                </a:solidFill>
                <a:latin typeface="Arial" charset="0"/>
                <a:ea typeface="+mn-ea"/>
                <a:cs typeface="Arial" charset="0"/>
              </a:defRPr>
            </a:lvl4pPr>
            <a:lvl5pPr marL="2057400" indent="-228600" algn="l" rtl="0" eaLnBrk="0" fontAlgn="base" hangingPunct="0">
              <a:spcBef>
                <a:spcPct val="20000"/>
              </a:spcBef>
              <a:spcAft>
                <a:spcPct val="0"/>
              </a:spcAft>
              <a:buChar char="»"/>
              <a:defRPr sz="1600" kern="1200">
                <a:solidFill>
                  <a:schemeClr val="tx1"/>
                </a:solidFill>
                <a:latin typeface="Arial" charset="0"/>
                <a:ea typeface="+mn-ea"/>
                <a:cs typeface="Arial" charset="0"/>
              </a:defRPr>
            </a:lvl5pPr>
            <a:lvl6pPr marL="25146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6pPr>
            <a:lvl7pPr marL="29718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7pPr>
            <a:lvl8pPr marL="34290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8pPr>
            <a:lvl9pPr marL="3886200" indent="-228600" algn="l" defTabSz="914400" rtl="0" eaLnBrk="0" fontAlgn="base" latinLnBrk="0" hangingPunct="0">
              <a:spcBef>
                <a:spcPct val="20000"/>
              </a:spcBef>
              <a:spcAft>
                <a:spcPct val="0"/>
              </a:spcAft>
              <a:buChar char="»"/>
              <a:defRPr sz="1600" kern="1200">
                <a:solidFill>
                  <a:schemeClr val="tx1"/>
                </a:solidFill>
                <a:latin typeface="Arial" charset="0"/>
                <a:ea typeface="+mn-ea"/>
                <a:cs typeface="Arial" charset="0"/>
              </a:defRPr>
            </a:lvl9pPr>
          </a:lstStyle>
          <a:p>
            <a:pPr eaLnBrk="1" hangingPunct="1">
              <a:spcBef>
                <a:spcPct val="0"/>
              </a:spcBef>
              <a:buClrTx/>
              <a:buSzTx/>
              <a:buFontTx/>
              <a:buNone/>
            </a:pPr>
            <a:fld id="{4B6285FC-5835-4793-9B68-FB9188E4F645}" type="slidenum">
              <a:rPr lang="en-US" altLang="en-US" sz="900" smtClean="0">
                <a:solidFill>
                  <a:srgbClr val="4F81BD"/>
                </a:solidFill>
              </a:rPr>
              <a:pPr eaLnBrk="1" hangingPunct="1">
                <a:spcBef>
                  <a:spcPct val="0"/>
                </a:spcBef>
                <a:buClrTx/>
                <a:buSzTx/>
                <a:buFontTx/>
                <a:buNone/>
              </a:pPr>
              <a:t>8</a:t>
            </a:fld>
            <a:endParaRPr lang="en-US" altLang="en-US" sz="900" dirty="0" smtClean="0">
              <a:solidFill>
                <a:srgbClr val="4F81BD"/>
              </a:solidFill>
            </a:endParaRPr>
          </a:p>
        </p:txBody>
      </p:sp>
      <p:pic>
        <p:nvPicPr>
          <p:cNvPr id="54275" name="Picture 3"/>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125951" y="1637190"/>
            <a:ext cx="1720774" cy="1723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745390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4275"/>
                                        </p:tgtEl>
                                        <p:attrNameLst>
                                          <p:attrName>style.visibility</p:attrName>
                                        </p:attrNameLst>
                                      </p:cBhvr>
                                      <p:to>
                                        <p:strVal val="visible"/>
                                      </p:to>
                                    </p:set>
                                    <p:animEffect transition="in" filter="fade">
                                      <p:cBhvr>
                                        <p:cTn id="7" dur="1000"/>
                                        <p:tgtEl>
                                          <p:spTgt spid="54275"/>
                                        </p:tgtEl>
                                      </p:cBhvr>
                                    </p:animEffect>
                                    <p:anim calcmode="lin" valueType="num">
                                      <p:cBhvr>
                                        <p:cTn id="8" dur="1000" fill="hold"/>
                                        <p:tgtEl>
                                          <p:spTgt spid="54275"/>
                                        </p:tgtEl>
                                        <p:attrNameLst>
                                          <p:attrName>ppt_x</p:attrName>
                                        </p:attrNameLst>
                                      </p:cBhvr>
                                      <p:tavLst>
                                        <p:tav tm="0">
                                          <p:val>
                                            <p:strVal val="#ppt_x"/>
                                          </p:val>
                                        </p:tav>
                                        <p:tav tm="100000">
                                          <p:val>
                                            <p:strVal val="#ppt_x"/>
                                          </p:val>
                                        </p:tav>
                                      </p:tavLst>
                                    </p:anim>
                                    <p:anim calcmode="lin" valueType="num">
                                      <p:cBhvr>
                                        <p:cTn id="9" dur="1000" fill="hold"/>
                                        <p:tgtEl>
                                          <p:spTgt spid="5427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525463" y="287338"/>
            <a:ext cx="7307262" cy="261937"/>
          </a:xfrm>
        </p:spPr>
        <p:txBody>
          <a:bodyPr/>
          <a:lstStyle/>
          <a:p>
            <a:pPr fontAlgn="auto">
              <a:spcAft>
                <a:spcPts val="0"/>
              </a:spcAft>
              <a:defRPr/>
            </a:pPr>
            <a:r>
              <a:rPr lang="en-US" dirty="0" smtClean="0"/>
              <a:t>Flowsic600-XT</a:t>
            </a:r>
            <a:endParaRPr lang="en-US" dirty="0"/>
          </a:p>
        </p:txBody>
      </p:sp>
      <p:sp>
        <p:nvSpPr>
          <p:cNvPr id="95241" name="Foliennummernplatzhalter 1"/>
          <p:cNvSpPr>
            <a:spLocks noGrp="1"/>
          </p:cNvSpPr>
          <p:nvPr>
            <p:ph type="sldNum" sz="quarter" idx="14"/>
          </p:nvPr>
        </p:nvSpPr>
        <p:spPr bwMode="auto">
          <a:noFill/>
          <a:ln>
            <a:miter lim="800000"/>
            <a:headEnd/>
            <a:tailEnd/>
          </a:ln>
        </p:spPr>
        <p:txBody>
          <a:bodyPr wrap="square" numCol="1" compatLnSpc="1">
            <a:prstTxWarp prst="textNoShape">
              <a:avLst/>
            </a:prstTxWarp>
          </a:bodyPr>
          <a:lstStyle/>
          <a:p>
            <a:pPr fontAlgn="base">
              <a:spcBef>
                <a:spcPct val="0"/>
              </a:spcBef>
              <a:spcAft>
                <a:spcPct val="0"/>
              </a:spcAft>
            </a:pPr>
            <a:fld id="{0583ABD8-67FB-4D82-BC35-BFB06CAB9211}" type="slidenum">
              <a:rPr lang="de-DE">
                <a:cs typeface="Arial" charset="0"/>
              </a:rPr>
              <a:pPr fontAlgn="base">
                <a:spcBef>
                  <a:spcPct val="0"/>
                </a:spcBef>
                <a:spcAft>
                  <a:spcPct val="0"/>
                </a:spcAft>
              </a:pPr>
              <a:t>9</a:t>
            </a:fld>
            <a:endParaRPr lang="de-DE">
              <a:cs typeface="Arial" charset="0"/>
            </a:endParaRPr>
          </a:p>
        </p:txBody>
      </p:sp>
      <p:sp>
        <p:nvSpPr>
          <p:cNvPr id="27" name="Datumsplatzhalter 3"/>
          <p:cNvSpPr>
            <a:spLocks noGrp="1"/>
          </p:cNvSpPr>
          <p:nvPr>
            <p:ph type="dt" sz="quarter" idx="16"/>
          </p:nvPr>
        </p:nvSpPr>
        <p:spPr bwMode="auto">
          <a:xfrm>
            <a:off x="525463" y="6653213"/>
            <a:ext cx="903287" cy="179387"/>
          </a:xfrm>
          <a:noFill/>
          <a:ln>
            <a:miter lim="800000"/>
            <a:headEnd/>
            <a:tailEnd/>
          </a:ln>
        </p:spPr>
        <p:txBody>
          <a:bodyPr wrap="square" numCol="1" compatLnSpc="1">
            <a:prstTxWarp prst="textNoShape">
              <a:avLst/>
            </a:prstTxWarp>
          </a:bodyPr>
          <a:lstStyle/>
          <a:p>
            <a:pPr fontAlgn="base">
              <a:spcBef>
                <a:spcPct val="0"/>
              </a:spcBef>
              <a:spcAft>
                <a:spcPct val="0"/>
              </a:spcAft>
            </a:pPr>
            <a:endParaRPr lang="en-US" dirty="0" smtClean="0">
              <a:solidFill>
                <a:schemeClr val="tx1"/>
              </a:solidFill>
              <a:cs typeface="Arial" charset="0"/>
            </a:endParaRPr>
          </a:p>
        </p:txBody>
      </p:sp>
      <p:sp>
        <p:nvSpPr>
          <p:cNvPr id="31" name="Fußzeilenplatzhalter 2"/>
          <p:cNvSpPr>
            <a:spLocks noGrp="1"/>
          </p:cNvSpPr>
          <p:nvPr>
            <p:ph type="ftr" sz="quarter" idx="15"/>
          </p:nvPr>
        </p:nvSpPr>
        <p:spPr bwMode="auto">
          <a:xfrm>
            <a:off x="1560513" y="6653213"/>
            <a:ext cx="6784975" cy="179387"/>
          </a:xfrm>
          <a:noFill/>
          <a:ln>
            <a:miter lim="800000"/>
            <a:headEnd/>
            <a:tailEnd/>
          </a:ln>
        </p:spPr>
        <p:txBody>
          <a:bodyPr wrap="square" numCol="1" compatLnSpc="1">
            <a:prstTxWarp prst="textNoShape">
              <a:avLst/>
            </a:prstTxWarp>
          </a:bodyPr>
          <a:lstStyle/>
          <a:p>
            <a:pPr fontAlgn="base">
              <a:spcBef>
                <a:spcPct val="0"/>
              </a:spcBef>
              <a:spcAft>
                <a:spcPct val="0"/>
              </a:spcAft>
            </a:pPr>
            <a:endParaRPr lang="de-DE" dirty="0" smtClean="0">
              <a:solidFill>
                <a:schemeClr val="tx2"/>
              </a:solidFill>
              <a:cs typeface="Arial" charset="0"/>
            </a:endParaRPr>
          </a:p>
        </p:txBody>
      </p:sp>
      <p:pic>
        <p:nvPicPr>
          <p:cNvPr id="53250"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257762" y="980728"/>
            <a:ext cx="7475658" cy="5602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91835796"/>
      </p:ext>
    </p:extLst>
  </p:cSld>
  <p:clrMapOvr>
    <a:masterClrMapping/>
  </p:clrMapOvr>
  <p:transition>
    <p:zoom/>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CK-Master_en">
  <a:themeElements>
    <a:clrScheme name="SICK-Master">
      <a:dk1>
        <a:srgbClr val="000000"/>
      </a:dk1>
      <a:lt1>
        <a:srgbClr val="FFFFFF"/>
      </a:lt1>
      <a:dk2>
        <a:srgbClr val="007FC3"/>
      </a:dk2>
      <a:lt2>
        <a:srgbClr val="D8E0E3"/>
      </a:lt2>
      <a:accent1>
        <a:srgbClr val="58A8DB"/>
      </a:accent1>
      <a:accent2>
        <a:srgbClr val="F29400"/>
      </a:accent2>
      <a:accent3>
        <a:srgbClr val="FCBC75"/>
      </a:accent3>
      <a:accent4>
        <a:srgbClr val="6E7A82"/>
      </a:accent4>
      <a:accent5>
        <a:srgbClr val="DC0A0A"/>
      </a:accent5>
      <a:accent6>
        <a:srgbClr val="339966"/>
      </a:accent6>
      <a:hlink>
        <a:srgbClr val="F29400"/>
      </a:hlink>
      <a:folHlink>
        <a:srgbClr val="F29400"/>
      </a:folHlink>
    </a:clrScheme>
    <a:fontScheme name="SICK_Masterfonts_03-2014">
      <a:majorFont>
        <a:latin typeface="SICK Franklin"/>
        <a:ea typeface=""/>
        <a:cs typeface=""/>
      </a:majorFont>
      <a:minorFont>
        <a:latin typeface="SICK Franklin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lIns="72000" tIns="36000" rIns="72000" bIns="54000" rtlCol="0" anchor="ctr">
        <a:noAutofit/>
      </a:bodyPr>
      <a:lstStyle>
        <a:defPPr algn="ctr">
          <a:defRPr sz="20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54000" rtlCol="0">
        <a:spAutoFit/>
      </a:bodyPr>
      <a:lstStyle>
        <a:defPPr>
          <a:spcBef>
            <a:spcPts val="600"/>
          </a:spcBef>
          <a:buClr>
            <a:schemeClr val="accent4"/>
          </a:buClr>
          <a:defRPr sz="2000" dirty="0" err="1" smtClean="0"/>
        </a:defPPr>
      </a:lstStyle>
    </a:txDef>
  </a:objectDefaults>
  <a:extraClrSchemeLst/>
</a:theme>
</file>

<file path=ppt/theme/theme10.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ICK-Master_en">
  <a:themeElements>
    <a:clrScheme name="SICK-Master">
      <a:dk1>
        <a:srgbClr val="0E0E11"/>
      </a:dk1>
      <a:lt1>
        <a:srgbClr val="FFFFFF"/>
      </a:lt1>
      <a:dk2>
        <a:srgbClr val="007FC3"/>
      </a:dk2>
      <a:lt2>
        <a:srgbClr val="D8E0E3"/>
      </a:lt2>
      <a:accent1>
        <a:srgbClr val="58A8DB"/>
      </a:accent1>
      <a:accent2>
        <a:srgbClr val="F29400"/>
      </a:accent2>
      <a:accent3>
        <a:srgbClr val="FCBC75"/>
      </a:accent3>
      <a:accent4>
        <a:srgbClr val="6E7A82"/>
      </a:accent4>
      <a:accent5>
        <a:srgbClr val="DC0A0A"/>
      </a:accent5>
      <a:accent6>
        <a:srgbClr val="339966"/>
      </a:accent6>
      <a:hlink>
        <a:srgbClr val="F29400"/>
      </a:hlink>
      <a:folHlink>
        <a:srgbClr val="F29400"/>
      </a:folHlink>
    </a:clrScheme>
    <a:fontScheme name="SICK_Masterfonts_03-2014">
      <a:majorFont>
        <a:latin typeface="SICK Franklin"/>
        <a:ea typeface=""/>
        <a:cs typeface=""/>
      </a:majorFont>
      <a:minorFont>
        <a:latin typeface="SICK Franklin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lIns="72000" tIns="36000" rIns="72000" bIns="54000" rtlCol="0" anchor="ctr">
        <a:spAutoFit/>
      </a:bodyPr>
      <a:lstStyle>
        <a:defPPr algn="ctr">
          <a:defRPr sz="20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54000" rtlCol="0">
        <a:spAutoFit/>
      </a:bodyPr>
      <a:lstStyle>
        <a:defPPr>
          <a:spcBef>
            <a:spcPts val="600"/>
          </a:spcBef>
          <a:buClr>
            <a:schemeClr val="accent4"/>
          </a:buClr>
          <a:defRPr sz="2000" dirty="0" smtClean="0">
            <a:solidFill>
              <a:schemeClr val="accent4"/>
            </a:solidFill>
          </a:defRPr>
        </a:defPPr>
      </a:lstStyle>
    </a:txDef>
  </a:objectDefaults>
  <a:extraClrSchemeLst/>
</a:theme>
</file>

<file path=ppt/theme/theme3.xml><?xml version="1.0" encoding="utf-8"?>
<a:theme xmlns:a="http://schemas.openxmlformats.org/drawingml/2006/main" name="3_SICK_Master_e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ICK_Masterfonts_03-2014">
      <a:majorFont>
        <a:latin typeface="SICK Franklin"/>
        <a:ea typeface=""/>
        <a:cs typeface=""/>
      </a:majorFont>
      <a:minorFont>
        <a:latin typeface="SICK Franklin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lIns="72000" tIns="36000" rIns="72000" bIns="54000" rtlCol="0" anchor="ctr">
        <a:spAutoFit/>
      </a:bodyPr>
      <a:lstStyle>
        <a:defPPr algn="ctr">
          <a:defRPr sz="20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54000" rtlCol="0">
        <a:spAutoFit/>
      </a:bodyPr>
      <a:lstStyle>
        <a:defPPr>
          <a:spcBef>
            <a:spcPts val="600"/>
          </a:spcBef>
          <a:buClr>
            <a:schemeClr val="accent4"/>
          </a:buClr>
          <a:defRPr sz="2000" dirty="0" smtClean="0">
            <a:solidFill>
              <a:schemeClr val="accent4"/>
            </a:solidFill>
          </a:defRPr>
        </a:defPPr>
      </a:lstStyle>
    </a:txDef>
  </a:objectDefaults>
  <a:extraClrSchemeLst/>
</a:theme>
</file>

<file path=ppt/theme/theme4.xml><?xml version="1.0" encoding="utf-8"?>
<a:theme xmlns:a="http://schemas.openxmlformats.org/drawingml/2006/main" name="2_09 SICK_Template_MAIHAK_de">
  <a:themeElements>
    <a:clrScheme name="1_09 SICK_Template_MAIHAK_de 1">
      <a:dk1>
        <a:srgbClr val="000000"/>
      </a:dk1>
      <a:lt1>
        <a:srgbClr val="FFFFFF"/>
      </a:lt1>
      <a:dk2>
        <a:srgbClr val="FFCB37"/>
      </a:dk2>
      <a:lt2>
        <a:srgbClr val="FFFF99"/>
      </a:lt2>
      <a:accent1>
        <a:srgbClr val="0084C2"/>
      </a:accent1>
      <a:accent2>
        <a:srgbClr val="99CCFF"/>
      </a:accent2>
      <a:accent3>
        <a:srgbClr val="FFFFFF"/>
      </a:accent3>
      <a:accent4>
        <a:srgbClr val="000000"/>
      </a:accent4>
      <a:accent5>
        <a:srgbClr val="AAC2DD"/>
      </a:accent5>
      <a:accent6>
        <a:srgbClr val="8AB9E7"/>
      </a:accent6>
      <a:hlink>
        <a:srgbClr val="808080"/>
      </a:hlink>
      <a:folHlink>
        <a:srgbClr val="C0C0C0"/>
      </a:folHlink>
    </a:clrScheme>
    <a:fontScheme name="1_09 SICK_Template_MAIHAK_de">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
            <a:srgbClr val="0084C2"/>
          </a:buClr>
          <a:buSzPct val="130000"/>
          <a:buFont typeface="Times New Roman" pitchFamily="18" charset="0"/>
          <a:buNone/>
          <a:tabLst/>
          <a:defRPr kumimoji="0" lang="de-DE" sz="17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2"/>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
            <a:srgbClr val="0084C2"/>
          </a:buClr>
          <a:buSzPct val="130000"/>
          <a:buFont typeface="Times New Roman" pitchFamily="18" charset="0"/>
          <a:buNone/>
          <a:tabLst/>
          <a:defRPr kumimoji="0" lang="de-DE" sz="17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09 SICK_Template_MAIHAK_de 1">
        <a:dk1>
          <a:srgbClr val="000000"/>
        </a:dk1>
        <a:lt1>
          <a:srgbClr val="FFFFFF"/>
        </a:lt1>
        <a:dk2>
          <a:srgbClr val="FFCB37"/>
        </a:dk2>
        <a:lt2>
          <a:srgbClr val="FFFF99"/>
        </a:lt2>
        <a:accent1>
          <a:srgbClr val="0084C2"/>
        </a:accent1>
        <a:accent2>
          <a:srgbClr val="99CCFF"/>
        </a:accent2>
        <a:accent3>
          <a:srgbClr val="FFFFFF"/>
        </a:accent3>
        <a:accent4>
          <a:srgbClr val="000000"/>
        </a:accent4>
        <a:accent5>
          <a:srgbClr val="AAC2DD"/>
        </a:accent5>
        <a:accent6>
          <a:srgbClr val="8AB9E7"/>
        </a:accent6>
        <a:hlink>
          <a:srgbClr val="808080"/>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7_SICK_Master_e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ICK_Masterfonts_03-2014">
      <a:majorFont>
        <a:latin typeface="SICK Franklin"/>
        <a:ea typeface=""/>
        <a:cs typeface=""/>
      </a:majorFont>
      <a:minorFont>
        <a:latin typeface="SICK Franklin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lIns="72000" tIns="36000" rIns="72000" bIns="54000" rtlCol="0" anchor="ctr">
        <a:spAutoFit/>
      </a:bodyPr>
      <a:lstStyle>
        <a:defPPr algn="ctr">
          <a:defRPr sz="20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54000" rtlCol="0">
        <a:spAutoFit/>
      </a:bodyPr>
      <a:lstStyle>
        <a:defPPr>
          <a:spcBef>
            <a:spcPts val="600"/>
          </a:spcBef>
          <a:buClr>
            <a:schemeClr val="accent4"/>
          </a:buClr>
          <a:defRPr sz="2000" dirty="0" smtClean="0">
            <a:solidFill>
              <a:schemeClr val="accent4"/>
            </a:solidFill>
          </a:defRPr>
        </a:defPPr>
      </a:lstStyle>
    </a:txDef>
  </a:objectDefaults>
  <a:extraClrSchemeLst/>
</a:theme>
</file>

<file path=ppt/theme/theme6.xml><?xml version="1.0" encoding="utf-8"?>
<a:theme xmlns:a="http://schemas.openxmlformats.org/drawingml/2006/main" name="8_SICK_Master_e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ICK_Masterfonts_03-2014">
      <a:majorFont>
        <a:latin typeface="SICK Franklin"/>
        <a:ea typeface=""/>
        <a:cs typeface=""/>
      </a:majorFont>
      <a:minorFont>
        <a:latin typeface="SICK Franklin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lIns="72000" tIns="36000" rIns="72000" bIns="54000" rtlCol="0" anchor="ctr">
        <a:spAutoFit/>
      </a:bodyPr>
      <a:lstStyle>
        <a:defPPr algn="ctr">
          <a:defRPr sz="20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54000" rtlCol="0">
        <a:spAutoFit/>
      </a:bodyPr>
      <a:lstStyle>
        <a:defPPr>
          <a:spcBef>
            <a:spcPts val="600"/>
          </a:spcBef>
          <a:buClr>
            <a:schemeClr val="accent4"/>
          </a:buClr>
          <a:defRPr sz="2000" dirty="0" smtClean="0">
            <a:solidFill>
              <a:schemeClr val="accent4"/>
            </a:solidFill>
          </a:defRPr>
        </a:defPPr>
      </a:lstStyle>
    </a:txDef>
  </a:objectDefaults>
  <a:extraClrSchemeLst/>
</a:theme>
</file>

<file path=ppt/theme/theme7.xml><?xml version="1.0" encoding="utf-8"?>
<a:theme xmlns:a="http://schemas.openxmlformats.org/drawingml/2006/main" name="1_Blank">
  <a:themeElements>
    <a:clrScheme name="SICK-Master">
      <a:dk1>
        <a:srgbClr val="000000"/>
      </a:dk1>
      <a:lt1>
        <a:srgbClr val="FFFFFF"/>
      </a:lt1>
      <a:dk2>
        <a:srgbClr val="007FC3"/>
      </a:dk2>
      <a:lt2>
        <a:srgbClr val="D8E0E3"/>
      </a:lt2>
      <a:accent1>
        <a:srgbClr val="58A8DB"/>
      </a:accent1>
      <a:accent2>
        <a:srgbClr val="F29400"/>
      </a:accent2>
      <a:accent3>
        <a:srgbClr val="FCBC75"/>
      </a:accent3>
      <a:accent4>
        <a:srgbClr val="6E7A82"/>
      </a:accent4>
      <a:accent5>
        <a:srgbClr val="DC0A0A"/>
      </a:accent5>
      <a:accent6>
        <a:srgbClr val="339966"/>
      </a:accent6>
      <a:hlink>
        <a:srgbClr val="F29400"/>
      </a:hlink>
      <a:folHlink>
        <a:srgbClr val="F29400"/>
      </a:folHlink>
    </a:clrScheme>
    <a:fontScheme name="SICK_Masterfonts_03-2014">
      <a:majorFont>
        <a:latin typeface="SICK Franklin"/>
        <a:ea typeface=""/>
        <a:cs typeface=""/>
      </a:majorFont>
      <a:minorFont>
        <a:latin typeface="SICK Franklin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lIns="72000" tIns="36000" rIns="72000" bIns="54000" rtlCol="0" anchor="ctr">
        <a:noAutofit/>
      </a:bodyPr>
      <a:lstStyle>
        <a:defPPr algn="ctr">
          <a:defRPr sz="20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54000" rtlCol="0">
        <a:spAutoFit/>
      </a:bodyPr>
      <a:lstStyle>
        <a:defPPr>
          <a:spcBef>
            <a:spcPts val="600"/>
          </a:spcBef>
          <a:buClr>
            <a:schemeClr val="accent4"/>
          </a:buClr>
          <a:defRPr sz="2000" dirty="0" err="1" smtClean="0"/>
        </a:defPPr>
      </a:lstStyle>
    </a:txDef>
  </a:objectDefaults>
  <a:extraClrSchemeLst/>
</a:theme>
</file>

<file path=ppt/theme/theme8.xml><?xml version="1.0" encoding="utf-8"?>
<a:theme xmlns:a="http://schemas.openxmlformats.org/drawingml/2006/main" name="2_Blank">
  <a:themeElements>
    <a:clrScheme name="SICK-Master">
      <a:dk1>
        <a:srgbClr val="000000"/>
      </a:dk1>
      <a:lt1>
        <a:srgbClr val="FFFFFF"/>
      </a:lt1>
      <a:dk2>
        <a:srgbClr val="007FC3"/>
      </a:dk2>
      <a:lt2>
        <a:srgbClr val="D8E0E3"/>
      </a:lt2>
      <a:accent1>
        <a:srgbClr val="58A8DB"/>
      </a:accent1>
      <a:accent2>
        <a:srgbClr val="F29400"/>
      </a:accent2>
      <a:accent3>
        <a:srgbClr val="FCBC75"/>
      </a:accent3>
      <a:accent4>
        <a:srgbClr val="6E7A82"/>
      </a:accent4>
      <a:accent5>
        <a:srgbClr val="DC0A0A"/>
      </a:accent5>
      <a:accent6>
        <a:srgbClr val="339966"/>
      </a:accent6>
      <a:hlink>
        <a:srgbClr val="F29400"/>
      </a:hlink>
      <a:folHlink>
        <a:srgbClr val="F29400"/>
      </a:folHlink>
    </a:clrScheme>
    <a:fontScheme name="SICK_Masterfonts_03-2014">
      <a:majorFont>
        <a:latin typeface="SICK Franklin"/>
        <a:ea typeface=""/>
        <a:cs typeface=""/>
      </a:majorFont>
      <a:minorFont>
        <a:latin typeface="SICK Franklin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lIns="72000" tIns="36000" rIns="72000" bIns="54000" rtlCol="0" anchor="ctr">
        <a:noAutofit/>
      </a:bodyPr>
      <a:lstStyle>
        <a:defPPr algn="ctr">
          <a:defRPr sz="20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54000" rtlCol="0">
        <a:spAutoFit/>
      </a:bodyPr>
      <a:lstStyle>
        <a:defPPr>
          <a:spcBef>
            <a:spcPts val="600"/>
          </a:spcBef>
          <a:buClr>
            <a:schemeClr val="accent4"/>
          </a:buClr>
          <a:defRPr sz="2000" dirty="0" err="1" smtClean="0"/>
        </a:defPPr>
      </a:lstStyle>
    </a:txDef>
  </a:objectDefaults>
  <a:extraClrSchemeLst/>
</a:theme>
</file>

<file path=ppt/theme/theme9.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506</TotalTime>
  <Words>1545</Words>
  <Application>Microsoft Office PowerPoint</Application>
  <PresentationFormat>Лист A4 (210x297 мм)</PresentationFormat>
  <Paragraphs>276</Paragraphs>
  <Slides>25</Slides>
  <Notes>16</Notes>
  <HiddenSlides>0</HiddenSlides>
  <MMClips>1</MMClips>
  <ScaleCrop>false</ScaleCrop>
  <HeadingPairs>
    <vt:vector size="6" baseType="variant">
      <vt:variant>
        <vt:lpstr>Тема</vt:lpstr>
      </vt:variant>
      <vt:variant>
        <vt:i4>8</vt:i4>
      </vt:variant>
      <vt:variant>
        <vt:lpstr>Внедренные серверы OLE</vt:lpstr>
      </vt:variant>
      <vt:variant>
        <vt:i4>1</vt:i4>
      </vt:variant>
      <vt:variant>
        <vt:lpstr>Заголовки слайдов</vt:lpstr>
      </vt:variant>
      <vt:variant>
        <vt:i4>25</vt:i4>
      </vt:variant>
    </vt:vector>
  </HeadingPairs>
  <TitlesOfParts>
    <vt:vector size="34" baseType="lpstr">
      <vt:lpstr>SICK-Master_en</vt:lpstr>
      <vt:lpstr>1_SICK-Master_en</vt:lpstr>
      <vt:lpstr>3_SICK_Master_en</vt:lpstr>
      <vt:lpstr>2_09 SICK_Template_MAIHAK_de</vt:lpstr>
      <vt:lpstr>7_SICK_Master_en</vt:lpstr>
      <vt:lpstr>8_SICK_Master_en</vt:lpstr>
      <vt:lpstr>1_Blank</vt:lpstr>
      <vt:lpstr>2_Blank</vt:lpstr>
      <vt:lpstr>think-cell Folie</vt:lpstr>
      <vt:lpstr>         </vt:lpstr>
      <vt:lpstr>Решения  SICK для учета расхода газа</vt:lpstr>
      <vt:lpstr>Оперативный учет газа</vt:lpstr>
      <vt:lpstr>РефЕренс: Оперативный учет газа  </vt:lpstr>
      <vt:lpstr>Презентация PowerPoint</vt:lpstr>
      <vt:lpstr>Референс: Коммерческий учет газа   </vt:lpstr>
      <vt:lpstr>Коммерческий учет при ПОСТАВКах природного ГАЗА НА ЭКСПОРТ   </vt:lpstr>
      <vt:lpstr>Презентация PowerPoint</vt:lpstr>
      <vt:lpstr>Flowsic600-XT</vt:lpstr>
      <vt:lpstr>FLOWSIC600-XT</vt:lpstr>
      <vt:lpstr>FLOWSIC600-XT fORTE</vt:lpstr>
      <vt:lpstr>FLOWSIC600-XT</vt:lpstr>
      <vt:lpstr>FLOWSIC600-XT</vt:lpstr>
      <vt:lpstr>FLOWSIC600-XT</vt:lpstr>
      <vt:lpstr>FLOWSIC600-XT</vt:lpstr>
      <vt:lpstr>FLOWSIC600-XT</vt:lpstr>
      <vt:lpstr>Flowsic600-XT</vt:lpstr>
      <vt:lpstr>примеры оптимизации затрат</vt:lpstr>
      <vt:lpstr>примеры оптимизации затрат</vt:lpstr>
      <vt:lpstr>примеры оптимизации затрат</vt:lpstr>
      <vt:lpstr>примеры оптимизации затрат</vt:lpstr>
      <vt:lpstr>примеры оптимизации затрат</vt:lpstr>
      <vt:lpstr>примеры оптимизации затрат</vt:lpstr>
      <vt:lpstr>FLOWSIC600-XT fORTE</vt:lpstr>
      <vt:lpstr>Спасибо за внимание!</vt:lpstr>
    </vt:vector>
  </TitlesOfParts>
  <Company>SIC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ny presentation basic package</dc:title>
  <dc:subject>Mastertemplate 10-2014</dc:subject>
  <dc:creator>Katja Leist</dc:creator>
  <cp:lastModifiedBy>InstAdmin</cp:lastModifiedBy>
  <cp:revision>549</cp:revision>
  <cp:lastPrinted>2016-03-15T09:52:22Z</cp:lastPrinted>
  <dcterms:created xsi:type="dcterms:W3CDTF">2014-10-30T10:57:34Z</dcterms:created>
  <dcterms:modified xsi:type="dcterms:W3CDTF">2016-10-26T09:01:03Z</dcterms:modified>
  <cp:contentStatus>as of 2014-10</cp:contentStatus>
</cp:coreProperties>
</file>